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9.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10.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notesSlides/notesSlide13.xml" ContentType="application/vnd.openxmlformats-officedocument.presentationml.notesSlide+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85" r:id="rId4"/>
    <p:sldMasterId id="2147483696" r:id="rId5"/>
    <p:sldMasterId id="2147483715" r:id="rId6"/>
  </p:sldMasterIdLst>
  <p:notesMasterIdLst>
    <p:notesMasterId r:id="rId96"/>
  </p:notesMasterIdLst>
  <p:handoutMasterIdLst>
    <p:handoutMasterId r:id="rId97"/>
  </p:handoutMasterIdLst>
  <p:sldIdLst>
    <p:sldId id="1752" r:id="rId7"/>
    <p:sldId id="1486" r:id="rId8"/>
    <p:sldId id="1771" r:id="rId9"/>
    <p:sldId id="1838" r:id="rId10"/>
    <p:sldId id="1839" r:id="rId11"/>
    <p:sldId id="1840" r:id="rId12"/>
    <p:sldId id="1837" r:id="rId13"/>
    <p:sldId id="1774" r:id="rId14"/>
    <p:sldId id="452" r:id="rId15"/>
    <p:sldId id="294" r:id="rId16"/>
    <p:sldId id="1835" r:id="rId17"/>
    <p:sldId id="1772" r:id="rId18"/>
    <p:sldId id="1810" r:id="rId19"/>
    <p:sldId id="541" r:id="rId20"/>
    <p:sldId id="1798" r:id="rId21"/>
    <p:sldId id="1776" r:id="rId22"/>
    <p:sldId id="1777" r:id="rId23"/>
    <p:sldId id="315" r:id="rId24"/>
    <p:sldId id="267" r:id="rId25"/>
    <p:sldId id="1779" r:id="rId26"/>
    <p:sldId id="329" r:id="rId27"/>
    <p:sldId id="335" r:id="rId28"/>
    <p:sldId id="334" r:id="rId29"/>
    <p:sldId id="332" r:id="rId30"/>
    <p:sldId id="1781" r:id="rId31"/>
    <p:sldId id="1782" r:id="rId32"/>
    <p:sldId id="1784" r:id="rId33"/>
    <p:sldId id="1842" r:id="rId34"/>
    <p:sldId id="1841" r:id="rId35"/>
    <p:sldId id="313" r:id="rId36"/>
    <p:sldId id="1786" r:id="rId37"/>
    <p:sldId id="1787" r:id="rId38"/>
    <p:sldId id="1788" r:id="rId39"/>
    <p:sldId id="1522" r:id="rId40"/>
    <p:sldId id="1527" r:id="rId41"/>
    <p:sldId id="1525" r:id="rId42"/>
    <p:sldId id="1836" r:id="rId43"/>
    <p:sldId id="1533" r:id="rId44"/>
    <p:sldId id="1834" r:id="rId45"/>
    <p:sldId id="1843" r:id="rId46"/>
    <p:sldId id="1733" r:id="rId47"/>
    <p:sldId id="1801" r:id="rId48"/>
    <p:sldId id="1803" r:id="rId49"/>
    <p:sldId id="1804" r:id="rId50"/>
    <p:sldId id="1864" r:id="rId51"/>
    <p:sldId id="1866" r:id="rId52"/>
    <p:sldId id="1806" r:id="rId53"/>
    <p:sldId id="1867" r:id="rId54"/>
    <p:sldId id="1807" r:id="rId55"/>
    <p:sldId id="1865" r:id="rId56"/>
    <p:sldId id="1815" r:id="rId57"/>
    <p:sldId id="1812" r:id="rId58"/>
    <p:sldId id="327" r:id="rId59"/>
    <p:sldId id="1814" r:id="rId60"/>
    <p:sldId id="325" r:id="rId61"/>
    <p:sldId id="323" r:id="rId62"/>
    <p:sldId id="1818" r:id="rId63"/>
    <p:sldId id="1813" r:id="rId64"/>
    <p:sldId id="1768" r:id="rId65"/>
    <p:sldId id="1767" r:id="rId66"/>
    <p:sldId id="1817" r:id="rId67"/>
    <p:sldId id="1766" r:id="rId68"/>
    <p:sldId id="1793" r:id="rId69"/>
    <p:sldId id="1794" r:id="rId70"/>
    <p:sldId id="1795" r:id="rId71"/>
    <p:sldId id="1792" r:id="rId72"/>
    <p:sldId id="1748" r:id="rId73"/>
    <p:sldId id="1822" r:id="rId74"/>
    <p:sldId id="256" r:id="rId75"/>
    <p:sldId id="285" r:id="rId76"/>
    <p:sldId id="1825" r:id="rId77"/>
    <p:sldId id="1826" r:id="rId78"/>
    <p:sldId id="1824" r:id="rId79"/>
    <p:sldId id="1830" r:id="rId80"/>
    <p:sldId id="1511" r:id="rId81"/>
    <p:sldId id="1770" r:id="rId82"/>
    <p:sldId id="1831" r:id="rId83"/>
    <p:sldId id="1868" r:id="rId84"/>
    <p:sldId id="1833" r:id="rId85"/>
    <p:sldId id="1869" r:id="rId86"/>
    <p:sldId id="320" r:id="rId87"/>
    <p:sldId id="381" r:id="rId88"/>
    <p:sldId id="382" r:id="rId89"/>
    <p:sldId id="383" r:id="rId90"/>
    <p:sldId id="384" r:id="rId91"/>
    <p:sldId id="386" r:id="rId92"/>
    <p:sldId id="387" r:id="rId93"/>
    <p:sldId id="1799" r:id="rId94"/>
    <p:sldId id="1534" r:id="rId95"/>
  </p:sldIdLst>
  <p:sldSz cx="8961438" cy="6721475"/>
  <p:notesSz cx="7010400" cy="9236075"/>
  <p:custDataLst>
    <p:tags r:id="rId98"/>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4233">
          <p15:clr>
            <a:srgbClr val="A4A3A4"/>
          </p15:clr>
        </p15:guide>
        <p15:guide id="2">
          <p15:clr>
            <a:srgbClr val="A4A3A4"/>
          </p15:clr>
        </p15:guide>
      </p15:sldGuideLst>
    </p:ext>
    <p:ext uri="{2D200454-40CA-4A62-9FC3-DE9A4176ACB9}">
      <p15:notesGuideLst xmlns:p15="http://schemas.microsoft.com/office/powerpoint/2012/main">
        <p15:guide id="1" orient="horz" pos="2909"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uthor" initials="A" lastIdx="1" clrIdx="6"/>
  <p:cmAuthor id="1" name="Melanie Renshaw" initials="MR" lastIdx="164" clrIdx="0"/>
  <p:cmAuthor id="2" name="Stephen Rooke" initials="SR" lastIdx="1" clrIdx="1"/>
  <p:cmAuthor id="3" name="Elizabeth Katwan" initials="EK" lastIdx="6" clrIdx="2"/>
  <p:cmAuthor id="4" name="diego duque" initials="dd" lastIdx="25" clrIdx="3"/>
  <p:cmAuthor id="5" name="Anne Gasasira" initials="AG" lastIdx="30" clrIdx="4"/>
  <p:cmAuthor id="6" name="James Banda" initials="JB" lastIdx="3" clrIdx="5">
    <p:extLst>
      <p:ext uri="{19B8F6BF-5375-455C-9EA6-DF929625EA0E}">
        <p15:presenceInfo xmlns:p15="http://schemas.microsoft.com/office/powerpoint/2012/main" userId="S::JBanda@alma2030.org::20d879e8-996f-477a-ac93-dc4a7cdac4a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9B93A"/>
    <a:srgbClr val="6F0710"/>
    <a:srgbClr val="FAFFBD"/>
    <a:srgbClr val="FFFF66"/>
    <a:srgbClr val="6F1926"/>
    <a:srgbClr val="DFAF00"/>
    <a:srgbClr val="EDBB00"/>
    <a:srgbClr val="E9B800"/>
    <a:srgbClr val="55000B"/>
    <a:srgbClr val="54000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599" autoAdjust="0"/>
    <p:restoredTop sz="93750" autoAdjust="0"/>
  </p:normalViewPr>
  <p:slideViewPr>
    <p:cSldViewPr snapToGrid="0" snapToObjects="1">
      <p:cViewPr varScale="1">
        <p:scale>
          <a:sx n="117" d="100"/>
          <a:sy n="117" d="100"/>
        </p:scale>
        <p:origin x="2352" y="176"/>
      </p:cViewPr>
      <p:guideLst>
        <p:guide orient="horz" pos="4233"/>
        <p:guide/>
      </p:guideLst>
    </p:cSldViewPr>
  </p:slideViewPr>
  <p:outlineViewPr>
    <p:cViewPr>
      <p:scale>
        <a:sx n="33" d="100"/>
        <a:sy n="33" d="100"/>
      </p:scale>
      <p:origin x="0" y="-378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50" d="100"/>
          <a:sy n="50" d="100"/>
        </p:scale>
        <p:origin x="2684" y="36"/>
      </p:cViewPr>
      <p:guideLst>
        <p:guide orient="horz" pos="2909"/>
        <p:guide pos="220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slide" Target="slides/slide78.xml"/><Relationship Id="rId89" Type="http://schemas.openxmlformats.org/officeDocument/2006/relationships/slide" Target="slides/slide83.xml"/><Relationship Id="rId16" Type="http://schemas.openxmlformats.org/officeDocument/2006/relationships/slide" Target="slides/slide10.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slide" Target="slides/slide73.xml"/><Relationship Id="rId102" Type="http://schemas.openxmlformats.org/officeDocument/2006/relationships/theme" Target="theme/theme1.xml"/><Relationship Id="rId5" Type="http://schemas.openxmlformats.org/officeDocument/2006/relationships/slideMaster" Target="slideMasters/slideMaster2.xml"/><Relationship Id="rId90" Type="http://schemas.openxmlformats.org/officeDocument/2006/relationships/slide" Target="slides/slide84.xml"/><Relationship Id="rId95" Type="http://schemas.openxmlformats.org/officeDocument/2006/relationships/slide" Target="slides/slide89.xml"/><Relationship Id="rId22" Type="http://schemas.openxmlformats.org/officeDocument/2006/relationships/slide" Target="slides/slide16.xml"/><Relationship Id="rId27" Type="http://schemas.openxmlformats.org/officeDocument/2006/relationships/slide" Target="slides/slide21.xml"/><Relationship Id="rId43" Type="http://schemas.openxmlformats.org/officeDocument/2006/relationships/slide" Target="slides/slide37.xml"/><Relationship Id="rId48" Type="http://schemas.openxmlformats.org/officeDocument/2006/relationships/slide" Target="slides/slide42.xml"/><Relationship Id="rId64" Type="http://schemas.openxmlformats.org/officeDocument/2006/relationships/slide" Target="slides/slide58.xml"/><Relationship Id="rId69" Type="http://schemas.openxmlformats.org/officeDocument/2006/relationships/slide" Target="slides/slide63.xml"/><Relationship Id="rId80" Type="http://schemas.openxmlformats.org/officeDocument/2006/relationships/slide" Target="slides/slide74.xml"/><Relationship Id="rId85" Type="http://schemas.openxmlformats.org/officeDocument/2006/relationships/slide" Target="slides/slide79.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103" Type="http://schemas.openxmlformats.org/officeDocument/2006/relationships/tableStyles" Target="tableStyle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slide" Target="slides/slide77.xml"/><Relationship Id="rId88" Type="http://schemas.openxmlformats.org/officeDocument/2006/relationships/slide" Target="slides/slide82.xml"/><Relationship Id="rId91" Type="http://schemas.openxmlformats.org/officeDocument/2006/relationships/slide" Target="slides/slide85.xml"/><Relationship Id="rId96"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slide" Target="slides/slide80.xml"/><Relationship Id="rId94" Type="http://schemas.openxmlformats.org/officeDocument/2006/relationships/slide" Target="slides/slide88.xml"/><Relationship Id="rId99" Type="http://schemas.openxmlformats.org/officeDocument/2006/relationships/commentAuthors" Target="commentAuthors.xml"/><Relationship Id="rId10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handoutMaster" Target="handoutMasters/handoutMaster1.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2" Type="http://schemas.openxmlformats.org/officeDocument/2006/relationships/customXml" Target="../customXml/item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slide" Target="slides/slide81.xml"/><Relationship Id="rId61" Type="http://schemas.openxmlformats.org/officeDocument/2006/relationships/slide" Target="slides/slide55.xml"/><Relationship Id="rId82" Type="http://schemas.openxmlformats.org/officeDocument/2006/relationships/slide" Target="slides/slide76.xml"/><Relationship Id="rId19" Type="http://schemas.openxmlformats.org/officeDocument/2006/relationships/slide" Target="slides/slide13.xml"/><Relationship Id="rId14" Type="http://schemas.openxmlformats.org/officeDocument/2006/relationships/slide" Target="slides/slide8.xml"/><Relationship Id="rId30" Type="http://schemas.openxmlformats.org/officeDocument/2006/relationships/slide" Target="slides/slide24.xml"/><Relationship Id="rId35" Type="http://schemas.openxmlformats.org/officeDocument/2006/relationships/slide" Target="slides/slide29.xml"/><Relationship Id="rId56" Type="http://schemas.openxmlformats.org/officeDocument/2006/relationships/slide" Target="slides/slide50.xml"/><Relationship Id="rId77" Type="http://schemas.openxmlformats.org/officeDocument/2006/relationships/slide" Target="slides/slide71.xml"/><Relationship Id="rId100" Type="http://schemas.openxmlformats.org/officeDocument/2006/relationships/presProps" Target="presProps.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93" Type="http://schemas.openxmlformats.org/officeDocument/2006/relationships/slide" Target="slides/slide87.xml"/><Relationship Id="rId98" Type="http://schemas.openxmlformats.org/officeDocument/2006/relationships/tags" Target="tags/tag1.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0"/>
      <c:rotY val="0"/>
      <c:depthPercent val="60"/>
      <c:rAngAx val="0"/>
      <c:perspective val="100"/>
    </c:view3D>
    <c:floor>
      <c:thickness val="0"/>
      <c:spPr>
        <a:solidFill>
          <a:schemeClr val="lt1">
            <a:lumMod val="95000"/>
          </a:schemeClr>
        </a:solid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clustered"/>
        <c:varyColors val="0"/>
        <c:dLbls>
          <c:showLegendKey val="0"/>
          <c:showVal val="0"/>
          <c:showCatName val="0"/>
          <c:showSerName val="0"/>
          <c:showPercent val="0"/>
          <c:showBubbleSize val="0"/>
        </c:dLbls>
        <c:gapWidth val="65"/>
        <c:shape val="box"/>
        <c:axId val="272719280"/>
        <c:axId val="272716480"/>
        <c:axId val="0"/>
      </c:bar3DChart>
      <c:catAx>
        <c:axId val="272719280"/>
        <c:scaling>
          <c:orientation val="minMax"/>
        </c:scaling>
        <c:delete val="1"/>
        <c:axPos val="b"/>
        <c:numFmt formatCode="General" sourceLinked="1"/>
        <c:majorTickMark val="none"/>
        <c:minorTickMark val="none"/>
        <c:tickLblPos val="nextTo"/>
        <c:crossAx val="272716480"/>
        <c:crosses val="autoZero"/>
        <c:auto val="1"/>
        <c:lblAlgn val="ctr"/>
        <c:lblOffset val="100"/>
        <c:noMultiLvlLbl val="0"/>
      </c:catAx>
      <c:valAx>
        <c:axId val="272716480"/>
        <c:scaling>
          <c:orientation val="minMax"/>
        </c:scaling>
        <c:delete val="1"/>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crossAx val="2727192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dk1">
                  <a:lumMod val="75000"/>
                  <a:lumOff val="25000"/>
                </a:schemeClr>
              </a:solidFill>
              <a:latin typeface="+mn-lt"/>
              <a:ea typeface="+mn-ea"/>
              <a:cs typeface="+mn-cs"/>
            </a:defRPr>
          </a:pPr>
          <a:endParaRPr lang="en-US"/>
        </a:p>
      </c:txPr>
    </c:legend>
    <c:plotVisOnly val="1"/>
    <c:dispBlanksAs val="gap"/>
    <c:showDLblsOverMax val="0"/>
  </c:chart>
  <c:spPr>
    <a:noFill/>
    <a:ln w="9525" cap="flat" cmpd="sng" algn="ctr">
      <a:no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88">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lt1"/>
    </cs:fontRef>
    <cs:spPr>
      <a:solidFill>
        <a:schemeClr val="dk1">
          <a:lumMod val="65000"/>
          <a:lumOff val="35000"/>
          <a:alpha val="75000"/>
        </a:schemeClr>
      </a:solidFill>
    </cs:spPr>
    <cs:defRPr sz="1197" b="1"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solidFill>
        <a:schemeClr val="phClr">
          <a:alpha val="85000"/>
        </a:schemeClr>
      </a:solidFill>
      <a:ln w="9525" cap="flat" cmpd="sng" algn="ctr">
        <a:solidFill>
          <a:schemeClr val="phClr">
            <a:lumMod val="75000"/>
          </a:schemeClr>
        </a:solidFill>
        <a:round/>
      </a:ln>
    </cs:spPr>
  </cs:dataPoint>
  <cs:dataPoint3D>
    <cs:lnRef idx="0">
      <cs:styleClr val="auto"/>
    </cs:lnRef>
    <cs:fillRef idx="0">
      <cs:styleClr val="auto"/>
    </cs:fillRef>
    <cs:effectRef idx="0">
      <cs:styleClr val="auto"/>
    </cs:effectRef>
    <cs:fontRef idx="minor">
      <a:schemeClr val="dk1"/>
    </cs:fontRef>
    <cs:spPr>
      <a:solidFill>
        <a:schemeClr val="phClr">
          <a:alpha val="85000"/>
        </a:schemeClr>
      </a:solidFill>
      <a:ln w="9525" cap="flat" cmpd="sng" algn="ctr">
        <a:solidFill>
          <a:schemeClr val="phClr">
            <a:lumMod val="75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spPr>
      <a:solidFill>
        <a:schemeClr val="lt1">
          <a:lumMod val="95000"/>
        </a:schemeClr>
      </a:solidFill>
      <a:sp3d/>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798513" y="579438"/>
            <a:ext cx="5419725" cy="4064000"/>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auto">
          <a:xfrm>
            <a:off x="567700" y="4962911"/>
            <a:ext cx="5974023" cy="12231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127" name="Rectangle 7"/>
          <p:cNvSpPr>
            <a:spLocks noGrp="1" noChangeArrowheads="1"/>
          </p:cNvSpPr>
          <p:nvPr>
            <p:ph type="sldNum" sz="quarter" idx="5"/>
          </p:nvPr>
        </p:nvSpPr>
        <p:spPr bwMode="auto">
          <a:xfrm>
            <a:off x="6256224" y="8870550"/>
            <a:ext cx="556145" cy="1834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r">
              <a:defRPr sz="1200"/>
            </a:lvl1pPr>
          </a:lstStyle>
          <a:p>
            <a:pPr>
              <a:defRPr/>
            </a:pPr>
            <a:fld id="{3C3A632B-FBDE-46D4-BF6F-6D14421E6342}" type="slidenum">
              <a:rPr lang="en-US"/>
              <a:pPr>
                <a:defRPr/>
              </a:pPr>
              <a:t>‹#›</a:t>
            </a:fld>
            <a:endParaRPr lang="en-US" dirty="0"/>
          </a:p>
        </p:txBody>
      </p:sp>
      <p:sp>
        <p:nvSpPr>
          <p:cNvPr id="2" name="Footer Placeholder 1">
            <a:extLst>
              <a:ext uri="{FF2B5EF4-FFF2-40B4-BE49-F238E27FC236}">
                <a16:creationId xmlns:a16="http://schemas.microsoft.com/office/drawing/2014/main" id="{73393C63-23D2-4629-8846-0F140FD9F87D}"/>
              </a:ext>
            </a:extLst>
          </p:cNvPr>
          <p:cNvSpPr>
            <a:spLocks noGrp="1"/>
          </p:cNvSpPr>
          <p:nvPr>
            <p:ph type="ftr" sz="quarter" idx="4"/>
          </p:nvPr>
        </p:nvSpPr>
        <p:spPr>
          <a:xfrm>
            <a:off x="0" y="8772525"/>
            <a:ext cx="3038475" cy="463550"/>
          </a:xfrm>
          <a:prstGeom prst="rect">
            <a:avLst/>
          </a:prstGeom>
        </p:spPr>
        <p:txBody>
          <a:bodyPr vert="horz" lIns="91440" tIns="45720" rIns="91440" bIns="45720" rtlCol="0" anchor="b"/>
          <a:lstStyle>
            <a:lvl1pPr algn="l">
              <a:defRPr sz="1200"/>
            </a:lvl1pPr>
          </a:lstStyle>
          <a:p>
            <a:endParaRPr lang="fr-FR"/>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hf dt="0"/>
  <p:notesStyle>
    <a:lvl1pPr algn="l" defTabSz="895350"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7475" indent="-115888"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0038" indent="-180975"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27038" indent="-125413" algn="l" defTabSz="895350"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42925" indent="-114300" algn="l" defTabSz="895350"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ooter Placeholder 4">
            <a:extLst>
              <a:ext uri="{FF2B5EF4-FFF2-40B4-BE49-F238E27FC236}">
                <a16:creationId xmlns:a16="http://schemas.microsoft.com/office/drawing/2014/main" id="{308C5E09-04BF-466F-956E-A891F90B3418}"/>
              </a:ext>
            </a:extLst>
          </p:cNvPr>
          <p:cNvSpPr>
            <a:spLocks noGrp="1"/>
          </p:cNvSpPr>
          <p:nvPr>
            <p:ph type="ftr" sz="quarter" idx="4"/>
          </p:nvPr>
        </p:nvSpPr>
        <p:spPr>
          <a:xfrm>
            <a:off x="6812301" y="95270"/>
            <a:ext cx="66" cy="122312"/>
          </a:xfrm>
          <a:prstGeom prst="rect">
            <a:avLst/>
          </a:prstGeom>
        </p:spPr>
        <p:txBody>
          <a:bodyPr/>
          <a:lstStyle/>
          <a:p>
            <a:pPr>
              <a:defRPr/>
            </a:pPr>
            <a:endParaRPr lang="en-US" dirty="0"/>
          </a:p>
        </p:txBody>
      </p:sp>
    </p:spTree>
    <p:extLst>
      <p:ext uri="{BB962C8B-B14F-4D97-AF65-F5344CB8AC3E}">
        <p14:creationId xmlns:p14="http://schemas.microsoft.com/office/powerpoint/2010/main" val="40827337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how can we use the scorecard to prioritize which problems to address?</a:t>
            </a:r>
          </a:p>
          <a:p>
            <a:endParaRPr lang="en-US" dirty="0"/>
          </a:p>
          <a:p>
            <a:r>
              <a:rPr lang="en-US" dirty="0"/>
              <a:t>Each cell on the scorecard has three dimensions to help guide your analysis: a colour, a data value, and sometimes an arrow.</a:t>
            </a:r>
          </a:p>
          <a:p>
            <a:endParaRPr lang="en-US" dirty="0"/>
          </a:p>
          <a:p>
            <a:r>
              <a:rPr lang="en-US" dirty="0"/>
              <a:t>The colour shows whether an indicator is performing well or poorly relative to the national target set by the country. If the indicator is showing red, it means the associated geographic region is not meeting target. If it is green, it is meeting target, and if yellow, more progress is need to achieve the target. A grey cell means the indicator is not applicable for that geographic location for that period and a white cell means there is no data. An indicator that is performing green may be worth highlighting as a best practice that can be scaled up to other regions.</a:t>
            </a:r>
          </a:p>
          <a:p>
            <a:endParaRPr lang="en-US" dirty="0"/>
          </a:p>
          <a:p>
            <a:r>
              <a:rPr lang="en-US" dirty="0"/>
              <a:t>The data values on the scorecard come from various existing local routine data sources. Most scorecard indicators are configured in percentage format, whole number, or decimal, though it is possible to include other formats. In some cases, it is better for the value of an indicator to go up. For example, in the case of Vitamin A coverage, a higher percentage is good and a lower percentage is bad. For other indicators a lower number is considered to be good. For example, in the case of malaria incidence, a lower number is considered to be good.</a:t>
            </a:r>
          </a:p>
          <a:p>
            <a:endParaRPr lang="en-US" dirty="0"/>
          </a:p>
          <a:p>
            <a:r>
              <a:rPr lang="en-US" dirty="0"/>
              <a:t>In addition to the colour and data value, sometimes the scorecard will show an arrow. An arrow will only appear if the performance has changed compared to the previous scorecard or the previous year. For example, if the arrow threshold set by a country is 5%, then an arrow will only show if the percentage increases or decreases by 5 or more points. So if there were a decrease from 50% in Q1 2020 to 45% in Q2 2020, the scorecard in Q2 2020 would show a down arrow, signifying the number has gone down.  It is important to note that a green colour indicator with a down arrow may also highlight a priority, since it means the gains are not being sustained and the green may turn to yellow or red eventually. </a:t>
            </a:r>
          </a:p>
          <a:p>
            <a:endParaRPr lang="en-US" dirty="0"/>
          </a:p>
          <a:p>
            <a:r>
              <a:rPr lang="en-US" dirty="0"/>
              <a:t>The colour, the arrow and data value can help to guide the scorecard analysis and prioritization. A red with an arrow showing that the performance is bad and getting worse, is a very high priority. </a:t>
            </a:r>
          </a:p>
        </p:txBody>
      </p:sp>
      <p:sp>
        <p:nvSpPr>
          <p:cNvPr id="4" name="Slide Number Placeholder 3"/>
          <p:cNvSpPr>
            <a:spLocks noGrp="1"/>
          </p:cNvSpPr>
          <p:nvPr>
            <p:ph type="sldNum" sz="quarter" idx="5"/>
          </p:nvPr>
        </p:nvSpPr>
        <p:spPr/>
        <p:txBody>
          <a:bodyPr/>
          <a:lstStyle/>
          <a:p>
            <a:fld id="{2DD8EC6B-DF06-45DB-A092-698F8158B631}" type="slidenum">
              <a:rPr lang="en-US" smtClean="0"/>
              <a:t>20</a:t>
            </a:fld>
            <a:endParaRPr lang="en-US"/>
          </a:p>
        </p:txBody>
      </p:sp>
    </p:spTree>
    <p:extLst>
      <p:ext uri="{BB962C8B-B14F-4D97-AF65-F5344CB8AC3E}">
        <p14:creationId xmlns:p14="http://schemas.microsoft.com/office/powerpoint/2010/main" val="29948119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ooter Placeholder 4">
            <a:extLst>
              <a:ext uri="{FF2B5EF4-FFF2-40B4-BE49-F238E27FC236}">
                <a16:creationId xmlns:a16="http://schemas.microsoft.com/office/drawing/2014/main" id="{5D05EC6F-14BA-48E8-ADDC-063D78C7AED4}"/>
              </a:ext>
            </a:extLst>
          </p:cNvPr>
          <p:cNvSpPr>
            <a:spLocks noGrp="1"/>
          </p:cNvSpPr>
          <p:nvPr>
            <p:ph type="ftr" sz="quarter" idx="4"/>
          </p:nvPr>
        </p:nvSpPr>
        <p:spPr>
          <a:xfrm>
            <a:off x="6812301" y="95270"/>
            <a:ext cx="66" cy="122312"/>
          </a:xfrm>
          <a:prstGeom prst="rect">
            <a:avLst/>
          </a:prstGeom>
        </p:spPr>
        <p:txBody>
          <a:bodyPr/>
          <a:lstStyle/>
          <a:p>
            <a:pPr>
              <a:defRPr/>
            </a:pPr>
            <a:endParaRPr lang="en-US" dirty="0"/>
          </a:p>
        </p:txBody>
      </p:sp>
    </p:spTree>
    <p:extLst>
      <p:ext uri="{BB962C8B-B14F-4D97-AF65-F5344CB8AC3E}">
        <p14:creationId xmlns:p14="http://schemas.microsoft.com/office/powerpoint/2010/main" val="14379492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ooter Placeholder 4">
            <a:extLst>
              <a:ext uri="{FF2B5EF4-FFF2-40B4-BE49-F238E27FC236}">
                <a16:creationId xmlns:a16="http://schemas.microsoft.com/office/drawing/2014/main" id="{43C16763-E82F-4538-BEE5-209B1E92A4FE}"/>
              </a:ext>
            </a:extLst>
          </p:cNvPr>
          <p:cNvSpPr>
            <a:spLocks noGrp="1"/>
          </p:cNvSpPr>
          <p:nvPr>
            <p:ph type="ftr" sz="quarter" idx="4"/>
          </p:nvPr>
        </p:nvSpPr>
        <p:spPr>
          <a:xfrm>
            <a:off x="6812301" y="95270"/>
            <a:ext cx="66" cy="122312"/>
          </a:xfrm>
          <a:prstGeom prst="rect">
            <a:avLst/>
          </a:prstGeom>
        </p:spPr>
        <p:txBody>
          <a:bodyPr/>
          <a:lstStyle/>
          <a:p>
            <a:pPr>
              <a:defRPr/>
            </a:pPr>
            <a:endParaRPr lang="en-US" dirty="0"/>
          </a:p>
        </p:txBody>
      </p:sp>
    </p:spTree>
    <p:extLst>
      <p:ext uri="{BB962C8B-B14F-4D97-AF65-F5344CB8AC3E}">
        <p14:creationId xmlns:p14="http://schemas.microsoft.com/office/powerpoint/2010/main" val="34314612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D6E2CA6-C0CB-4C7D-BDDD-C947E1BCC3DC}" type="slidenum">
              <a:rPr lang="en-GB" smtClean="0"/>
              <a:t>29</a:t>
            </a:fld>
            <a:endParaRPr lang="en-GB"/>
          </a:p>
        </p:txBody>
      </p:sp>
    </p:spTree>
    <p:extLst>
      <p:ext uri="{BB962C8B-B14F-4D97-AF65-F5344CB8AC3E}">
        <p14:creationId xmlns:p14="http://schemas.microsoft.com/office/powerpoint/2010/main" val="20571844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fr-FR"/>
              <a:t>Changer le surligné pour refléter une action...</a:t>
            </a:r>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solidFill>
                  <a:srgbClr val="000000"/>
                </a:solidFill>
              </a:rPr>
              <a:pPr>
                <a:defRPr/>
              </a:pPr>
              <a:t>31</a:t>
            </a:fld>
            <a:endParaRPr lang="fr-FR" dirty="0">
              <a:solidFill>
                <a:srgbClr val="000000"/>
              </a:solidFill>
            </a:endParaRPr>
          </a:p>
        </p:txBody>
      </p:sp>
    </p:spTree>
    <p:extLst>
      <p:ext uri="{BB962C8B-B14F-4D97-AF65-F5344CB8AC3E}">
        <p14:creationId xmlns:p14="http://schemas.microsoft.com/office/powerpoint/2010/main" val="9016083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2</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ooter Placeholder 4">
            <a:extLst>
              <a:ext uri="{FF2B5EF4-FFF2-40B4-BE49-F238E27FC236}">
                <a16:creationId xmlns:a16="http://schemas.microsoft.com/office/drawing/2014/main" id="{5D05EC6F-14BA-48E8-ADDC-063D78C7AED4}"/>
              </a:ext>
            </a:extLst>
          </p:cNvPr>
          <p:cNvSpPr>
            <a:spLocks noGrp="1"/>
          </p:cNvSpPr>
          <p:nvPr>
            <p:ph type="ftr" sz="quarter" idx="4"/>
          </p:nvPr>
        </p:nvSpPr>
        <p:spPr>
          <a:xfrm>
            <a:off x="6812301" y="95270"/>
            <a:ext cx="66" cy="122312"/>
          </a:xfrm>
          <a:prstGeom prst="rect">
            <a:avLst/>
          </a:prstGeom>
        </p:spPr>
        <p:txBody>
          <a:bodyPr/>
          <a:lstStyle/>
          <a:p>
            <a:pPr>
              <a:defRPr/>
            </a:pPr>
            <a:endParaRPr lang="en-US" dirty="0"/>
          </a:p>
        </p:txBody>
      </p:sp>
    </p:spTree>
    <p:extLst>
      <p:ext uri="{BB962C8B-B14F-4D97-AF65-F5344CB8AC3E}">
        <p14:creationId xmlns:p14="http://schemas.microsoft.com/office/powerpoint/2010/main" val="28882403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3</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ooter Placeholder 4">
            <a:extLst>
              <a:ext uri="{FF2B5EF4-FFF2-40B4-BE49-F238E27FC236}">
                <a16:creationId xmlns:a16="http://schemas.microsoft.com/office/drawing/2014/main" id="{43C16763-E82F-4538-BEE5-209B1E92A4FE}"/>
              </a:ext>
            </a:extLst>
          </p:cNvPr>
          <p:cNvSpPr>
            <a:spLocks noGrp="1"/>
          </p:cNvSpPr>
          <p:nvPr>
            <p:ph type="ftr" sz="quarter" idx="4"/>
          </p:nvPr>
        </p:nvSpPr>
        <p:spPr>
          <a:xfrm>
            <a:off x="6812301" y="95270"/>
            <a:ext cx="66" cy="122312"/>
          </a:xfrm>
          <a:prstGeom prst="rect">
            <a:avLst/>
          </a:prstGeom>
        </p:spPr>
        <p:txBody>
          <a:bodyPr/>
          <a:lstStyle/>
          <a:p>
            <a:pPr>
              <a:defRPr/>
            </a:pPr>
            <a:endParaRPr lang="en-US" dirty="0"/>
          </a:p>
        </p:txBody>
      </p:sp>
    </p:spTree>
    <p:extLst>
      <p:ext uri="{BB962C8B-B14F-4D97-AF65-F5344CB8AC3E}">
        <p14:creationId xmlns:p14="http://schemas.microsoft.com/office/powerpoint/2010/main" val="33739705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9</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ooter Placeholder 4">
            <a:extLst>
              <a:ext uri="{FF2B5EF4-FFF2-40B4-BE49-F238E27FC236}">
                <a16:creationId xmlns:a16="http://schemas.microsoft.com/office/drawing/2014/main" id="{5D05EC6F-14BA-48E8-ADDC-063D78C7AED4}"/>
              </a:ext>
            </a:extLst>
          </p:cNvPr>
          <p:cNvSpPr>
            <a:spLocks noGrp="1"/>
          </p:cNvSpPr>
          <p:nvPr>
            <p:ph type="ftr" sz="quarter" idx="4"/>
          </p:nvPr>
        </p:nvSpPr>
        <p:spPr>
          <a:xfrm>
            <a:off x="6812301" y="95270"/>
            <a:ext cx="66" cy="122312"/>
          </a:xfrm>
          <a:prstGeom prst="rect">
            <a:avLst/>
          </a:prstGeom>
        </p:spPr>
        <p:txBody>
          <a:bodyPr/>
          <a:lstStyle/>
          <a:p>
            <a:pPr>
              <a:defRPr/>
            </a:pPr>
            <a:endParaRPr lang="en-US" dirty="0"/>
          </a:p>
        </p:txBody>
      </p:sp>
    </p:spTree>
    <p:extLst>
      <p:ext uri="{BB962C8B-B14F-4D97-AF65-F5344CB8AC3E}">
        <p14:creationId xmlns:p14="http://schemas.microsoft.com/office/powerpoint/2010/main" val="27003365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pPr>
              <a:defRPr/>
            </a:pPr>
            <a:fld id="{3C3A632B-FBDE-46D4-BF6F-6D14421E6342}" type="slidenum">
              <a:rPr lang="en-US" smtClean="0"/>
              <a:pPr>
                <a:defRPr/>
              </a:pPr>
              <a:t>41</a:t>
            </a:fld>
            <a:endParaRPr lang="en-US" dirty="0"/>
          </a:p>
        </p:txBody>
      </p:sp>
      <p:sp>
        <p:nvSpPr>
          <p:cNvPr id="5" name="Footer Placeholder 4"/>
          <p:cNvSpPr>
            <a:spLocks noGrp="1"/>
          </p:cNvSpPr>
          <p:nvPr>
            <p:ph type="ftr" sz="quarter" idx="4"/>
          </p:nvPr>
        </p:nvSpPr>
        <p:spPr/>
        <p:txBody>
          <a:bodyPr/>
          <a:lstStyle/>
          <a:p>
            <a:endParaRPr lang="fr-FR"/>
          </a:p>
        </p:txBody>
      </p:sp>
    </p:spTree>
    <p:extLst>
      <p:ext uri="{BB962C8B-B14F-4D97-AF65-F5344CB8AC3E}">
        <p14:creationId xmlns:p14="http://schemas.microsoft.com/office/powerpoint/2010/main" val="41441723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45</a:t>
            </a:fld>
            <a:endParaRPr lang="en-US" dirty="0"/>
          </a:p>
        </p:txBody>
      </p:sp>
    </p:spTree>
    <p:extLst>
      <p:ext uri="{BB962C8B-B14F-4D97-AF65-F5344CB8AC3E}">
        <p14:creationId xmlns:p14="http://schemas.microsoft.com/office/powerpoint/2010/main" val="18790952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ooter Placeholder 4">
            <a:extLst>
              <a:ext uri="{FF2B5EF4-FFF2-40B4-BE49-F238E27FC236}">
                <a16:creationId xmlns:a16="http://schemas.microsoft.com/office/drawing/2014/main" id="{5D05EC6F-14BA-48E8-ADDC-063D78C7AED4}"/>
              </a:ext>
            </a:extLst>
          </p:cNvPr>
          <p:cNvSpPr>
            <a:spLocks noGrp="1"/>
          </p:cNvSpPr>
          <p:nvPr>
            <p:ph type="ftr" sz="quarter" idx="4"/>
          </p:nvPr>
        </p:nvSpPr>
        <p:spPr>
          <a:xfrm>
            <a:off x="6812301" y="95270"/>
            <a:ext cx="66" cy="122312"/>
          </a:xfrm>
          <a:prstGeom prst="rect">
            <a:avLst/>
          </a:prstGeom>
        </p:spPr>
        <p:txBody>
          <a:bodyPr/>
          <a:lstStyle/>
          <a:p>
            <a:pPr>
              <a:defRPr/>
            </a:pPr>
            <a:endParaRPr lang="en-US" dirty="0"/>
          </a:p>
        </p:txBody>
      </p:sp>
    </p:spTree>
    <p:extLst>
      <p:ext uri="{BB962C8B-B14F-4D97-AF65-F5344CB8AC3E}">
        <p14:creationId xmlns:p14="http://schemas.microsoft.com/office/powerpoint/2010/main" val="15449088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6</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ooter Placeholder 4">
            <a:extLst>
              <a:ext uri="{FF2B5EF4-FFF2-40B4-BE49-F238E27FC236}">
                <a16:creationId xmlns:a16="http://schemas.microsoft.com/office/drawing/2014/main" id="{5D05EC6F-14BA-48E8-ADDC-063D78C7AED4}"/>
              </a:ext>
            </a:extLst>
          </p:cNvPr>
          <p:cNvSpPr>
            <a:spLocks noGrp="1"/>
          </p:cNvSpPr>
          <p:nvPr>
            <p:ph type="ftr" sz="quarter" idx="4"/>
          </p:nvPr>
        </p:nvSpPr>
        <p:spPr>
          <a:xfrm>
            <a:off x="6812301" y="95270"/>
            <a:ext cx="66" cy="122312"/>
          </a:xfrm>
          <a:prstGeom prst="rect">
            <a:avLst/>
          </a:prstGeom>
        </p:spPr>
        <p:txBody>
          <a:bodyPr/>
          <a:lstStyle/>
          <a:p>
            <a:pPr>
              <a:defRPr/>
            </a:pPr>
            <a:endParaRPr lang="en-US" dirty="0"/>
          </a:p>
        </p:txBody>
      </p:sp>
    </p:spTree>
    <p:extLst>
      <p:ext uri="{BB962C8B-B14F-4D97-AF65-F5344CB8AC3E}">
        <p14:creationId xmlns:p14="http://schemas.microsoft.com/office/powerpoint/2010/main" val="25582800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1</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ooter Placeholder 4">
            <a:extLst>
              <a:ext uri="{FF2B5EF4-FFF2-40B4-BE49-F238E27FC236}">
                <a16:creationId xmlns:a16="http://schemas.microsoft.com/office/drawing/2014/main" id="{5D05EC6F-14BA-48E8-ADDC-063D78C7AED4}"/>
              </a:ext>
            </a:extLst>
          </p:cNvPr>
          <p:cNvSpPr>
            <a:spLocks noGrp="1"/>
          </p:cNvSpPr>
          <p:nvPr>
            <p:ph type="ftr" sz="quarter" idx="4"/>
          </p:nvPr>
        </p:nvSpPr>
        <p:spPr>
          <a:xfrm>
            <a:off x="6812301" y="95270"/>
            <a:ext cx="66" cy="122312"/>
          </a:xfrm>
          <a:prstGeom prst="rect">
            <a:avLst/>
          </a:prstGeom>
        </p:spPr>
        <p:txBody>
          <a:bodyPr/>
          <a:lstStyle/>
          <a:p>
            <a:pPr>
              <a:defRPr/>
            </a:pPr>
            <a:endParaRPr lang="en-US" dirty="0"/>
          </a:p>
        </p:txBody>
      </p:sp>
    </p:spTree>
    <p:extLst>
      <p:ext uri="{BB962C8B-B14F-4D97-AF65-F5344CB8AC3E}">
        <p14:creationId xmlns:p14="http://schemas.microsoft.com/office/powerpoint/2010/main" val="374072248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7</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ooter Placeholder 4">
            <a:extLst>
              <a:ext uri="{FF2B5EF4-FFF2-40B4-BE49-F238E27FC236}">
                <a16:creationId xmlns:a16="http://schemas.microsoft.com/office/drawing/2014/main" id="{5D05EC6F-14BA-48E8-ADDC-063D78C7AED4}"/>
              </a:ext>
            </a:extLst>
          </p:cNvPr>
          <p:cNvSpPr>
            <a:spLocks noGrp="1"/>
          </p:cNvSpPr>
          <p:nvPr>
            <p:ph type="ftr" sz="quarter" idx="4"/>
          </p:nvPr>
        </p:nvSpPr>
        <p:spPr>
          <a:xfrm>
            <a:off x="6812301" y="95270"/>
            <a:ext cx="66" cy="122312"/>
          </a:xfrm>
          <a:prstGeom prst="rect">
            <a:avLst/>
          </a:prstGeom>
        </p:spPr>
        <p:txBody>
          <a:bodyPr/>
          <a:lstStyle/>
          <a:p>
            <a:pPr>
              <a:defRPr/>
            </a:pPr>
            <a:endParaRPr lang="en-US" dirty="0"/>
          </a:p>
        </p:txBody>
      </p:sp>
    </p:spTree>
    <p:extLst>
      <p:ext uri="{BB962C8B-B14F-4D97-AF65-F5344CB8AC3E}">
        <p14:creationId xmlns:p14="http://schemas.microsoft.com/office/powerpoint/2010/main" val="137347679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63</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ooter Placeholder 4">
            <a:extLst>
              <a:ext uri="{FF2B5EF4-FFF2-40B4-BE49-F238E27FC236}">
                <a16:creationId xmlns:a16="http://schemas.microsoft.com/office/drawing/2014/main" id="{5D05EC6F-14BA-48E8-ADDC-063D78C7AED4}"/>
              </a:ext>
            </a:extLst>
          </p:cNvPr>
          <p:cNvSpPr>
            <a:spLocks noGrp="1"/>
          </p:cNvSpPr>
          <p:nvPr>
            <p:ph type="ftr" sz="quarter" idx="4"/>
          </p:nvPr>
        </p:nvSpPr>
        <p:spPr>
          <a:xfrm>
            <a:off x="6812301" y="95270"/>
            <a:ext cx="66" cy="122312"/>
          </a:xfrm>
          <a:prstGeom prst="rect">
            <a:avLst/>
          </a:prstGeom>
        </p:spPr>
        <p:txBody>
          <a:bodyPr/>
          <a:lstStyle/>
          <a:p>
            <a:pPr>
              <a:defRPr/>
            </a:pPr>
            <a:endParaRPr lang="en-US" dirty="0"/>
          </a:p>
        </p:txBody>
      </p:sp>
    </p:spTree>
    <p:extLst>
      <p:ext uri="{BB962C8B-B14F-4D97-AF65-F5344CB8AC3E}">
        <p14:creationId xmlns:p14="http://schemas.microsoft.com/office/powerpoint/2010/main" val="8505166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64</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ooter Placeholder 4">
            <a:extLst>
              <a:ext uri="{FF2B5EF4-FFF2-40B4-BE49-F238E27FC236}">
                <a16:creationId xmlns:a16="http://schemas.microsoft.com/office/drawing/2014/main" id="{5D05EC6F-14BA-48E8-ADDC-063D78C7AED4}"/>
              </a:ext>
            </a:extLst>
          </p:cNvPr>
          <p:cNvSpPr>
            <a:spLocks noGrp="1"/>
          </p:cNvSpPr>
          <p:nvPr>
            <p:ph type="ftr" sz="quarter" idx="4"/>
          </p:nvPr>
        </p:nvSpPr>
        <p:spPr>
          <a:xfrm>
            <a:off x="6812301" y="95270"/>
            <a:ext cx="66" cy="122312"/>
          </a:xfrm>
          <a:prstGeom prst="rect">
            <a:avLst/>
          </a:prstGeom>
        </p:spPr>
        <p:txBody>
          <a:bodyPr/>
          <a:lstStyle/>
          <a:p>
            <a:pPr>
              <a:defRPr/>
            </a:pPr>
            <a:endParaRPr lang="en-US" dirty="0"/>
          </a:p>
        </p:txBody>
      </p:sp>
    </p:spTree>
    <p:extLst>
      <p:ext uri="{BB962C8B-B14F-4D97-AF65-F5344CB8AC3E}">
        <p14:creationId xmlns:p14="http://schemas.microsoft.com/office/powerpoint/2010/main" val="33665041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65</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ooter Placeholder 4">
            <a:extLst>
              <a:ext uri="{FF2B5EF4-FFF2-40B4-BE49-F238E27FC236}">
                <a16:creationId xmlns:a16="http://schemas.microsoft.com/office/drawing/2014/main" id="{5D05EC6F-14BA-48E8-ADDC-063D78C7AED4}"/>
              </a:ext>
            </a:extLst>
          </p:cNvPr>
          <p:cNvSpPr>
            <a:spLocks noGrp="1"/>
          </p:cNvSpPr>
          <p:nvPr>
            <p:ph type="ftr" sz="quarter" idx="4"/>
          </p:nvPr>
        </p:nvSpPr>
        <p:spPr>
          <a:xfrm>
            <a:off x="6812301" y="95270"/>
            <a:ext cx="66" cy="122312"/>
          </a:xfrm>
          <a:prstGeom prst="rect">
            <a:avLst/>
          </a:prstGeom>
        </p:spPr>
        <p:txBody>
          <a:bodyPr/>
          <a:lstStyle/>
          <a:p>
            <a:pPr>
              <a:defRPr/>
            </a:pPr>
            <a:endParaRPr lang="en-US" dirty="0"/>
          </a:p>
        </p:txBody>
      </p:sp>
    </p:spTree>
    <p:extLst>
      <p:ext uri="{BB962C8B-B14F-4D97-AF65-F5344CB8AC3E}">
        <p14:creationId xmlns:p14="http://schemas.microsoft.com/office/powerpoint/2010/main" val="11614002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66</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ooter Placeholder 4">
            <a:extLst>
              <a:ext uri="{FF2B5EF4-FFF2-40B4-BE49-F238E27FC236}">
                <a16:creationId xmlns:a16="http://schemas.microsoft.com/office/drawing/2014/main" id="{5D05EC6F-14BA-48E8-ADDC-063D78C7AED4}"/>
              </a:ext>
            </a:extLst>
          </p:cNvPr>
          <p:cNvSpPr>
            <a:spLocks noGrp="1"/>
          </p:cNvSpPr>
          <p:nvPr>
            <p:ph type="ftr" sz="quarter" idx="4"/>
          </p:nvPr>
        </p:nvSpPr>
        <p:spPr>
          <a:xfrm>
            <a:off x="6812301" y="95270"/>
            <a:ext cx="66" cy="122312"/>
          </a:xfrm>
          <a:prstGeom prst="rect">
            <a:avLst/>
          </a:prstGeom>
        </p:spPr>
        <p:txBody>
          <a:bodyPr/>
          <a:lstStyle/>
          <a:p>
            <a:pPr>
              <a:defRPr/>
            </a:pPr>
            <a:endParaRPr lang="en-US" dirty="0"/>
          </a:p>
        </p:txBody>
      </p:sp>
    </p:spTree>
    <p:extLst>
      <p:ext uri="{BB962C8B-B14F-4D97-AF65-F5344CB8AC3E}">
        <p14:creationId xmlns:p14="http://schemas.microsoft.com/office/powerpoint/2010/main" val="110069642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77</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ooter Placeholder 4">
            <a:extLst>
              <a:ext uri="{FF2B5EF4-FFF2-40B4-BE49-F238E27FC236}">
                <a16:creationId xmlns:a16="http://schemas.microsoft.com/office/drawing/2014/main" id="{5D05EC6F-14BA-48E8-ADDC-063D78C7AED4}"/>
              </a:ext>
            </a:extLst>
          </p:cNvPr>
          <p:cNvSpPr>
            <a:spLocks noGrp="1"/>
          </p:cNvSpPr>
          <p:nvPr>
            <p:ph type="ftr" sz="quarter" idx="4"/>
          </p:nvPr>
        </p:nvSpPr>
        <p:spPr>
          <a:xfrm>
            <a:off x="6812301" y="95270"/>
            <a:ext cx="66" cy="122312"/>
          </a:xfrm>
          <a:prstGeom prst="rect">
            <a:avLst/>
          </a:prstGeom>
        </p:spPr>
        <p:txBody>
          <a:bodyPr/>
          <a:lstStyle/>
          <a:p>
            <a:pPr>
              <a:defRPr/>
            </a:pPr>
            <a:endParaRPr lang="en-US" dirty="0"/>
          </a:p>
        </p:txBody>
      </p:sp>
    </p:spTree>
    <p:extLst>
      <p:ext uri="{BB962C8B-B14F-4D97-AF65-F5344CB8AC3E}">
        <p14:creationId xmlns:p14="http://schemas.microsoft.com/office/powerpoint/2010/main" val="261221349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80</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ooter Placeholder 4">
            <a:extLst>
              <a:ext uri="{FF2B5EF4-FFF2-40B4-BE49-F238E27FC236}">
                <a16:creationId xmlns:a16="http://schemas.microsoft.com/office/drawing/2014/main" id="{5D05EC6F-14BA-48E8-ADDC-063D78C7AED4}"/>
              </a:ext>
            </a:extLst>
          </p:cNvPr>
          <p:cNvSpPr>
            <a:spLocks noGrp="1"/>
          </p:cNvSpPr>
          <p:nvPr>
            <p:ph type="ftr" sz="quarter" idx="4"/>
          </p:nvPr>
        </p:nvSpPr>
        <p:spPr>
          <a:xfrm>
            <a:off x="6812301" y="95270"/>
            <a:ext cx="66" cy="122312"/>
          </a:xfrm>
          <a:prstGeom prst="rect">
            <a:avLst/>
          </a:prstGeom>
        </p:spPr>
        <p:txBody>
          <a:bodyPr/>
          <a:lstStyle/>
          <a:p>
            <a:pPr>
              <a:defRPr/>
            </a:pPr>
            <a:endParaRPr lang="en-US" dirty="0"/>
          </a:p>
        </p:txBody>
      </p:sp>
    </p:spTree>
    <p:extLst>
      <p:ext uri="{BB962C8B-B14F-4D97-AF65-F5344CB8AC3E}">
        <p14:creationId xmlns:p14="http://schemas.microsoft.com/office/powerpoint/2010/main" val="337434008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88</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ooter Placeholder 4">
            <a:extLst>
              <a:ext uri="{FF2B5EF4-FFF2-40B4-BE49-F238E27FC236}">
                <a16:creationId xmlns:a16="http://schemas.microsoft.com/office/drawing/2014/main" id="{5D05EC6F-14BA-48E8-ADDC-063D78C7AED4}"/>
              </a:ext>
            </a:extLst>
          </p:cNvPr>
          <p:cNvSpPr>
            <a:spLocks noGrp="1"/>
          </p:cNvSpPr>
          <p:nvPr>
            <p:ph type="ftr" sz="quarter" idx="4"/>
          </p:nvPr>
        </p:nvSpPr>
        <p:spPr>
          <a:xfrm>
            <a:off x="6812301" y="95270"/>
            <a:ext cx="66" cy="122312"/>
          </a:xfrm>
          <a:prstGeom prst="rect">
            <a:avLst/>
          </a:prstGeom>
        </p:spPr>
        <p:txBody>
          <a:bodyPr/>
          <a:lstStyle/>
          <a:p>
            <a:pPr>
              <a:defRPr/>
            </a:pPr>
            <a:endParaRPr lang="en-US" dirty="0"/>
          </a:p>
        </p:txBody>
      </p:sp>
    </p:spTree>
    <p:extLst>
      <p:ext uri="{BB962C8B-B14F-4D97-AF65-F5344CB8AC3E}">
        <p14:creationId xmlns:p14="http://schemas.microsoft.com/office/powerpoint/2010/main" val="4037727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ooter Placeholder 4">
            <a:extLst>
              <a:ext uri="{FF2B5EF4-FFF2-40B4-BE49-F238E27FC236}">
                <a16:creationId xmlns:a16="http://schemas.microsoft.com/office/drawing/2014/main" id="{5D05EC6F-14BA-48E8-ADDC-063D78C7AED4}"/>
              </a:ext>
            </a:extLst>
          </p:cNvPr>
          <p:cNvSpPr>
            <a:spLocks noGrp="1"/>
          </p:cNvSpPr>
          <p:nvPr>
            <p:ph type="ftr" sz="quarter" idx="4"/>
          </p:nvPr>
        </p:nvSpPr>
        <p:spPr>
          <a:xfrm>
            <a:off x="6812301" y="95270"/>
            <a:ext cx="66" cy="122312"/>
          </a:xfrm>
          <a:prstGeom prst="rect">
            <a:avLst/>
          </a:prstGeom>
        </p:spPr>
        <p:txBody>
          <a:bodyPr/>
          <a:lstStyle/>
          <a:p>
            <a:pPr>
              <a:defRPr/>
            </a:pPr>
            <a:endParaRPr lang="en-US" dirty="0"/>
          </a:p>
        </p:txBody>
      </p:sp>
    </p:spTree>
    <p:extLst>
      <p:ext uri="{BB962C8B-B14F-4D97-AF65-F5344CB8AC3E}">
        <p14:creationId xmlns:p14="http://schemas.microsoft.com/office/powerpoint/2010/main" val="101938912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D6E2CA6-C0CB-4C7D-BDDD-C947E1BCC3DC}" type="slidenum">
              <a:rPr lang="en-GB" smtClean="0"/>
              <a:t>89</a:t>
            </a:fld>
            <a:endParaRPr lang="en-GB"/>
          </a:p>
        </p:txBody>
      </p:sp>
    </p:spTree>
    <p:extLst>
      <p:ext uri="{BB962C8B-B14F-4D97-AF65-F5344CB8AC3E}">
        <p14:creationId xmlns:p14="http://schemas.microsoft.com/office/powerpoint/2010/main" val="11485932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ooter Placeholder 4">
            <a:extLst>
              <a:ext uri="{FF2B5EF4-FFF2-40B4-BE49-F238E27FC236}">
                <a16:creationId xmlns:a16="http://schemas.microsoft.com/office/drawing/2014/main" id="{43C16763-E82F-4538-BEE5-209B1E92A4FE}"/>
              </a:ext>
            </a:extLst>
          </p:cNvPr>
          <p:cNvSpPr>
            <a:spLocks noGrp="1"/>
          </p:cNvSpPr>
          <p:nvPr>
            <p:ph type="ftr" sz="quarter" idx="4"/>
          </p:nvPr>
        </p:nvSpPr>
        <p:spPr>
          <a:xfrm>
            <a:off x="6812301" y="95270"/>
            <a:ext cx="66" cy="122312"/>
          </a:xfrm>
          <a:prstGeom prst="rect">
            <a:avLst/>
          </a:prstGeom>
        </p:spPr>
        <p:txBody>
          <a:bodyPr/>
          <a:lstStyle/>
          <a:p>
            <a:pPr>
              <a:defRPr/>
            </a:pPr>
            <a:endParaRPr lang="en-US" dirty="0"/>
          </a:p>
        </p:txBody>
      </p:sp>
    </p:spTree>
    <p:extLst>
      <p:ext uri="{BB962C8B-B14F-4D97-AF65-F5344CB8AC3E}">
        <p14:creationId xmlns:p14="http://schemas.microsoft.com/office/powerpoint/2010/main" val="39880279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ooter Placeholder 4">
            <a:extLst>
              <a:ext uri="{FF2B5EF4-FFF2-40B4-BE49-F238E27FC236}">
                <a16:creationId xmlns:a16="http://schemas.microsoft.com/office/drawing/2014/main" id="{43C16763-E82F-4538-BEE5-209B1E92A4FE}"/>
              </a:ext>
            </a:extLst>
          </p:cNvPr>
          <p:cNvSpPr>
            <a:spLocks noGrp="1"/>
          </p:cNvSpPr>
          <p:nvPr>
            <p:ph type="ftr" sz="quarter" idx="4"/>
          </p:nvPr>
        </p:nvSpPr>
        <p:spPr>
          <a:xfrm>
            <a:off x="6812301" y="95270"/>
            <a:ext cx="66" cy="122312"/>
          </a:xfrm>
          <a:prstGeom prst="rect">
            <a:avLst/>
          </a:prstGeom>
        </p:spPr>
        <p:txBody>
          <a:bodyPr/>
          <a:lstStyle/>
          <a:p>
            <a:pPr>
              <a:defRPr/>
            </a:pPr>
            <a:endParaRPr lang="en-US" dirty="0"/>
          </a:p>
        </p:txBody>
      </p:sp>
    </p:spTree>
    <p:extLst>
      <p:ext uri="{BB962C8B-B14F-4D97-AF65-F5344CB8AC3E}">
        <p14:creationId xmlns:p14="http://schemas.microsoft.com/office/powerpoint/2010/main" val="7600675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ooter Placeholder 4">
            <a:extLst>
              <a:ext uri="{FF2B5EF4-FFF2-40B4-BE49-F238E27FC236}">
                <a16:creationId xmlns:a16="http://schemas.microsoft.com/office/drawing/2014/main" id="{43C16763-E82F-4538-BEE5-209B1E92A4FE}"/>
              </a:ext>
            </a:extLst>
          </p:cNvPr>
          <p:cNvSpPr>
            <a:spLocks noGrp="1"/>
          </p:cNvSpPr>
          <p:nvPr>
            <p:ph type="ftr" sz="quarter" idx="4"/>
          </p:nvPr>
        </p:nvSpPr>
        <p:spPr>
          <a:xfrm>
            <a:off x="6812301" y="95270"/>
            <a:ext cx="66" cy="122312"/>
          </a:xfrm>
          <a:prstGeom prst="rect">
            <a:avLst/>
          </a:prstGeom>
        </p:spPr>
        <p:txBody>
          <a:bodyPr/>
          <a:lstStyle/>
          <a:p>
            <a:pPr>
              <a:defRPr/>
            </a:pPr>
            <a:endParaRPr lang="en-US" dirty="0"/>
          </a:p>
        </p:txBody>
      </p:sp>
    </p:spTree>
    <p:extLst>
      <p:ext uri="{BB962C8B-B14F-4D97-AF65-F5344CB8AC3E}">
        <p14:creationId xmlns:p14="http://schemas.microsoft.com/office/powerpoint/2010/main" val="10663061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ooter Placeholder 4">
            <a:extLst>
              <a:ext uri="{FF2B5EF4-FFF2-40B4-BE49-F238E27FC236}">
                <a16:creationId xmlns:a16="http://schemas.microsoft.com/office/drawing/2014/main" id="{5D05EC6F-14BA-48E8-ADDC-063D78C7AED4}"/>
              </a:ext>
            </a:extLst>
          </p:cNvPr>
          <p:cNvSpPr>
            <a:spLocks noGrp="1"/>
          </p:cNvSpPr>
          <p:nvPr>
            <p:ph type="ftr" sz="quarter" idx="4"/>
          </p:nvPr>
        </p:nvSpPr>
        <p:spPr>
          <a:xfrm>
            <a:off x="6812301" y="95270"/>
            <a:ext cx="66" cy="122312"/>
          </a:xfrm>
          <a:prstGeom prst="rect">
            <a:avLst/>
          </a:prstGeom>
        </p:spPr>
        <p:txBody>
          <a:bodyPr/>
          <a:lstStyle/>
          <a:p>
            <a:pPr>
              <a:defRPr/>
            </a:pPr>
            <a:endParaRPr lang="en-US" dirty="0"/>
          </a:p>
        </p:txBody>
      </p:sp>
    </p:spTree>
    <p:extLst>
      <p:ext uri="{BB962C8B-B14F-4D97-AF65-F5344CB8AC3E}">
        <p14:creationId xmlns:p14="http://schemas.microsoft.com/office/powerpoint/2010/main" val="8778733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ooter Placeholder 4">
            <a:extLst>
              <a:ext uri="{FF2B5EF4-FFF2-40B4-BE49-F238E27FC236}">
                <a16:creationId xmlns:a16="http://schemas.microsoft.com/office/drawing/2014/main" id="{43C16763-E82F-4538-BEE5-209B1E92A4FE}"/>
              </a:ext>
            </a:extLst>
          </p:cNvPr>
          <p:cNvSpPr>
            <a:spLocks noGrp="1"/>
          </p:cNvSpPr>
          <p:nvPr>
            <p:ph type="ftr" sz="quarter" idx="4"/>
          </p:nvPr>
        </p:nvSpPr>
        <p:spPr>
          <a:xfrm>
            <a:off x="6812301" y="95270"/>
            <a:ext cx="66" cy="122312"/>
          </a:xfrm>
          <a:prstGeom prst="rect">
            <a:avLst/>
          </a:prstGeom>
        </p:spPr>
        <p:txBody>
          <a:bodyPr/>
          <a:lstStyle/>
          <a:p>
            <a:pPr>
              <a:defRPr/>
            </a:pPr>
            <a:endParaRPr lang="en-US" dirty="0"/>
          </a:p>
        </p:txBody>
      </p:sp>
    </p:spTree>
    <p:extLst>
      <p:ext uri="{BB962C8B-B14F-4D97-AF65-F5344CB8AC3E}">
        <p14:creationId xmlns:p14="http://schemas.microsoft.com/office/powerpoint/2010/main" val="35868778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pPr>
              <a:defRPr/>
            </a:pPr>
            <a:fld id="{3C3A632B-FBDE-46D4-BF6F-6D14421E6342}" type="slidenum">
              <a:rPr lang="en-US" smtClean="0"/>
              <a:pPr>
                <a:defRPr/>
              </a:pPr>
              <a:t>18</a:t>
            </a:fld>
            <a:endParaRPr lang="en-US" dirty="0"/>
          </a:p>
        </p:txBody>
      </p:sp>
      <p:sp>
        <p:nvSpPr>
          <p:cNvPr id="5" name="Footer Placeholder 4"/>
          <p:cNvSpPr>
            <a:spLocks noGrp="1"/>
          </p:cNvSpPr>
          <p:nvPr>
            <p:ph type="ftr" sz="quarter" idx="4"/>
          </p:nvPr>
        </p:nvSpPr>
        <p:spPr>
          <a:xfrm>
            <a:off x="6812301" y="95270"/>
            <a:ext cx="66" cy="122312"/>
          </a:xfrm>
          <a:prstGeom prst="rect">
            <a:avLst/>
          </a:prstGeom>
        </p:spPr>
        <p:txBody>
          <a:bodyPr/>
          <a:lstStyle/>
          <a:p>
            <a:pPr>
              <a:defRPr/>
            </a:pPr>
            <a:endParaRPr lang="en-US" dirty="0"/>
          </a:p>
        </p:txBody>
      </p:sp>
    </p:spTree>
    <p:extLst>
      <p:ext uri="{BB962C8B-B14F-4D97-AF65-F5344CB8AC3E}">
        <p14:creationId xmlns:p14="http://schemas.microsoft.com/office/powerpoint/2010/main" val="71920909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5.v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6.vml"/><Relationship Id="rId5" Type="http://schemas.openxmlformats.org/officeDocument/2006/relationships/image" Target="../media/image9.emf"/><Relationship Id="rId4" Type="http://schemas.openxmlformats.org/officeDocument/2006/relationships/oleObject" Target="../embeddings/oleObject6.bin"/></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tags" Target="../tags/tag29.xml"/><Relationship Id="rId18" Type="http://schemas.openxmlformats.org/officeDocument/2006/relationships/slideMaster" Target="../slideMasters/slideMaster2.xml"/><Relationship Id="rId3" Type="http://schemas.openxmlformats.org/officeDocument/2006/relationships/tags" Target="../tags/tag19.xml"/><Relationship Id="rId21" Type="http://schemas.openxmlformats.org/officeDocument/2006/relationships/image" Target="../media/image10.png"/><Relationship Id="rId7" Type="http://schemas.openxmlformats.org/officeDocument/2006/relationships/tags" Target="../tags/tag23.xml"/><Relationship Id="rId12" Type="http://schemas.openxmlformats.org/officeDocument/2006/relationships/tags" Target="../tags/tag28.xml"/><Relationship Id="rId17" Type="http://schemas.openxmlformats.org/officeDocument/2006/relationships/tags" Target="../tags/tag33.xml"/><Relationship Id="rId2" Type="http://schemas.openxmlformats.org/officeDocument/2006/relationships/tags" Target="../tags/tag18.xml"/><Relationship Id="rId16" Type="http://schemas.openxmlformats.org/officeDocument/2006/relationships/tags" Target="../tags/tag32.xml"/><Relationship Id="rId20" Type="http://schemas.openxmlformats.org/officeDocument/2006/relationships/image" Target="../media/image4.emf"/><Relationship Id="rId1" Type="http://schemas.openxmlformats.org/officeDocument/2006/relationships/vmlDrawing" Target="../drawings/vmlDrawing7.vml"/><Relationship Id="rId6" Type="http://schemas.openxmlformats.org/officeDocument/2006/relationships/tags" Target="../tags/tag22.xml"/><Relationship Id="rId11" Type="http://schemas.openxmlformats.org/officeDocument/2006/relationships/tags" Target="../tags/tag27.xml"/><Relationship Id="rId5" Type="http://schemas.openxmlformats.org/officeDocument/2006/relationships/tags" Target="../tags/tag21.xml"/><Relationship Id="rId15" Type="http://schemas.openxmlformats.org/officeDocument/2006/relationships/tags" Target="../tags/tag31.xml"/><Relationship Id="rId10" Type="http://schemas.openxmlformats.org/officeDocument/2006/relationships/tags" Target="../tags/tag26.xml"/><Relationship Id="rId19" Type="http://schemas.openxmlformats.org/officeDocument/2006/relationships/oleObject" Target="../embeddings/oleObject7.bin"/><Relationship Id="rId4" Type="http://schemas.openxmlformats.org/officeDocument/2006/relationships/tags" Target="../tags/tag20.xml"/><Relationship Id="rId9" Type="http://schemas.openxmlformats.org/officeDocument/2006/relationships/tags" Target="../tags/tag25.xml"/><Relationship Id="rId14" Type="http://schemas.openxmlformats.org/officeDocument/2006/relationships/tags" Target="../tags/tag30.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9.v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slideMaster" Target="../slideMasters/slideMaster1.xml"/><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image" Target="../media/image3.png"/><Relationship Id="rId2" Type="http://schemas.openxmlformats.org/officeDocument/2006/relationships/tags" Target="../tags/tag4.xml"/><Relationship Id="rId16" Type="http://schemas.openxmlformats.org/officeDocument/2006/relationships/image" Target="../media/image2.png"/><Relationship Id="rId1" Type="http://schemas.openxmlformats.org/officeDocument/2006/relationships/vmlDrawing" Target="../drawings/vmlDrawing3.v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5" Type="http://schemas.openxmlformats.org/officeDocument/2006/relationships/image" Target="../media/image4.emf"/><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oleObject" Target="../embeddings/oleObject3.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10.vml"/><Relationship Id="rId5" Type="http://schemas.openxmlformats.org/officeDocument/2006/relationships/image" Target="../media/image9.emf"/><Relationship Id="rId4" Type="http://schemas.openxmlformats.org/officeDocument/2006/relationships/oleObject" Target="../embeddings/oleObject6.bin"/></Relationships>
</file>

<file path=ppt/slideLayouts/_rels/slideLayout52.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tags" Target="../tags/tag48.xml"/><Relationship Id="rId18" Type="http://schemas.openxmlformats.org/officeDocument/2006/relationships/slideMaster" Target="../slideMasters/slideMaster3.xml"/><Relationship Id="rId3" Type="http://schemas.openxmlformats.org/officeDocument/2006/relationships/tags" Target="../tags/tag38.xml"/><Relationship Id="rId21" Type="http://schemas.openxmlformats.org/officeDocument/2006/relationships/image" Target="../media/image10.png"/><Relationship Id="rId7" Type="http://schemas.openxmlformats.org/officeDocument/2006/relationships/tags" Target="../tags/tag42.xml"/><Relationship Id="rId12" Type="http://schemas.openxmlformats.org/officeDocument/2006/relationships/tags" Target="../tags/tag47.xml"/><Relationship Id="rId17" Type="http://schemas.openxmlformats.org/officeDocument/2006/relationships/tags" Target="../tags/tag52.xml"/><Relationship Id="rId2" Type="http://schemas.openxmlformats.org/officeDocument/2006/relationships/tags" Target="../tags/tag37.xml"/><Relationship Id="rId16" Type="http://schemas.openxmlformats.org/officeDocument/2006/relationships/tags" Target="../tags/tag51.xml"/><Relationship Id="rId20" Type="http://schemas.openxmlformats.org/officeDocument/2006/relationships/image" Target="../media/image4.emf"/><Relationship Id="rId1" Type="http://schemas.openxmlformats.org/officeDocument/2006/relationships/vmlDrawing" Target="../drawings/vmlDrawing11.vml"/><Relationship Id="rId6" Type="http://schemas.openxmlformats.org/officeDocument/2006/relationships/tags" Target="../tags/tag41.xml"/><Relationship Id="rId11" Type="http://schemas.openxmlformats.org/officeDocument/2006/relationships/tags" Target="../tags/tag46.xml"/><Relationship Id="rId5" Type="http://schemas.openxmlformats.org/officeDocument/2006/relationships/tags" Target="../tags/tag40.xml"/><Relationship Id="rId15" Type="http://schemas.openxmlformats.org/officeDocument/2006/relationships/tags" Target="../tags/tag50.xml"/><Relationship Id="rId10" Type="http://schemas.openxmlformats.org/officeDocument/2006/relationships/tags" Target="../tags/tag45.xml"/><Relationship Id="rId19" Type="http://schemas.openxmlformats.org/officeDocument/2006/relationships/oleObject" Target="../embeddings/oleObject7.bin"/><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tags" Target="../tags/tag49.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9"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doc id"/>
          <p:cNvSpPr txBox="1">
            <a:spLocks noChangeArrowheads="1"/>
          </p:cNvSpPr>
          <p:nvPr/>
        </p:nvSpPr>
        <p:spPr bwMode="auto">
          <a:xfrm>
            <a:off x="8442325"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a:solidFill>
                <a:prstClr val="black"/>
              </a:solidFill>
              <a:latin typeface="Arial"/>
            </a:endParaRPr>
          </a:p>
        </p:txBody>
      </p:sp>
      <p:grpSp>
        <p:nvGrpSpPr>
          <p:cNvPr id="2" name="Title Elements"/>
          <p:cNvGrpSpPr/>
          <p:nvPr userDrawn="1"/>
        </p:nvGrpSpPr>
        <p:grpSpPr>
          <a:xfrm>
            <a:off x="0" y="0"/>
            <a:ext cx="8958264" cy="6723063"/>
            <a:chOff x="0" y="0"/>
            <a:chExt cx="8958264" cy="6723063"/>
          </a:xfrm>
        </p:grpSpPr>
        <p:sp>
          <p:nvSpPr>
            <p:cNvPr id="9" name="Document type" hidden="1"/>
            <p:cNvSpPr txBox="1">
              <a:spLocks noChangeArrowheads="1"/>
            </p:cNvSpPr>
            <p:nvPr/>
          </p:nvSpPr>
          <p:spPr bwMode="auto">
            <a:xfrm>
              <a:off x="2640013" y="4930775"/>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prstClr val="black"/>
                  </a:solidFill>
                  <a:latin typeface="Arial"/>
                </a:rPr>
                <a:t>Document type</a:t>
              </a:r>
            </a:p>
          </p:txBody>
        </p:sp>
        <p:sp>
          <p:nvSpPr>
            <p:cNvPr id="10" name="Date" hidden="1"/>
            <p:cNvSpPr txBox="1">
              <a:spLocks noChangeArrowheads="1"/>
            </p:cNvSpPr>
            <p:nvPr/>
          </p:nvSpPr>
          <p:spPr bwMode="auto">
            <a:xfrm>
              <a:off x="2640013" y="5199063"/>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prstClr val="black"/>
                  </a:solidFill>
                  <a:latin typeface="Arial"/>
                </a:rPr>
                <a:t>Date</a:t>
              </a:r>
            </a:p>
          </p:txBody>
        </p:sp>
        <p:sp>
          <p:nvSpPr>
            <p:cNvPr id="11" name="Disclaimer" hidden="1"/>
            <p:cNvSpPr>
              <a:spLocks noChangeArrowheads="1"/>
            </p:cNvSpPr>
            <p:nvPr/>
          </p:nvSpPr>
          <p:spPr bwMode="auto">
            <a:xfrm>
              <a:off x="2640013" y="5895975"/>
              <a:ext cx="512127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4863" eaLnBrk="0" hangingPunct="0"/>
              <a:r>
                <a:rPr lang="en-US" sz="800" dirty="0">
                  <a:solidFill>
                    <a:prstClr val="black"/>
                  </a:solidFill>
                  <a:latin typeface="Arial"/>
                </a:rPr>
                <a:t>CONFIDENTIAL AND PROPRIETARY</a:t>
              </a:r>
            </a:p>
            <a:p>
              <a:pPr defTabSz="804863" eaLnBrk="0" hangingPunct="0"/>
              <a:r>
                <a:rPr lang="en-US" sz="800" dirty="0">
                  <a:solidFill>
                    <a:prstClr val="black"/>
                  </a:solidFill>
                  <a:latin typeface="Arial"/>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2238375"/>
              <a:ext cx="2193925" cy="4484688"/>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prstClr val="black"/>
                </a:solidFill>
                <a:latin typeface="Arial"/>
              </a:endParaRPr>
            </a:p>
          </p:txBody>
        </p:sp>
        <p:sp>
          <p:nvSpPr>
            <p:cNvPr id="13" name="TitleTopPlaceholder" hidden="1"/>
            <p:cNvSpPr>
              <a:spLocks noChangeArrowheads="1"/>
            </p:cNvSpPr>
            <p:nvPr/>
          </p:nvSpPr>
          <p:spPr bwMode="auto">
            <a:xfrm>
              <a:off x="0" y="0"/>
              <a:ext cx="2193925" cy="2238375"/>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prstClr val="black"/>
                </a:solidFill>
                <a:latin typeface="Arial"/>
              </a:endParaRPr>
            </a:p>
          </p:txBody>
        </p:sp>
        <p:sp>
          <p:nvSpPr>
            <p:cNvPr id="19" name="Rectangle 18" hidden="1"/>
            <p:cNvSpPr/>
            <p:nvPr/>
          </p:nvSpPr>
          <p:spPr>
            <a:xfrm>
              <a:off x="0" y="0"/>
              <a:ext cx="8958264" cy="6721475"/>
            </a:xfrm>
            <a:prstGeom prst="rect">
              <a:avLst/>
            </a:prstGeom>
            <a:noFill/>
            <a:ln w="3175">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solidFill>
              </a:endParaRPr>
            </a:p>
          </p:txBody>
        </p:sp>
      </p:grpSp>
      <p:pic>
        <p:nvPicPr>
          <p:cNvPr id="18" name="TitleBottomBarBW" hidden="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173913" y="6443663"/>
            <a:ext cx="1636712" cy="192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562672" y="3052054"/>
            <a:ext cx="7879488" cy="646331"/>
          </a:xfrm>
          <a:prstGeom prst="rect">
            <a:avLst/>
          </a:prstGeom>
        </p:spPr>
        <p:txBody>
          <a:bodyPr/>
          <a:lstStyle>
            <a:lvl1pPr>
              <a:defRPr sz="4200" b="0" baseline="0">
                <a:solidFill>
                  <a:srgbClr val="375199"/>
                </a:solidFill>
                <a:latin typeface="Arial" panose="020B0604020202020204" pitchFamily="34" charset="0"/>
                <a:ea typeface="+mj-ea"/>
                <a:cs typeface="Arial" panose="020B0604020202020204" pitchFamily="34" charset="0"/>
              </a:defRPr>
            </a:lvl1pPr>
          </a:lstStyle>
          <a:p>
            <a:pPr lvl="0"/>
            <a:r>
              <a:rPr lang="en-US" noProof="0" dirty="0"/>
              <a:t>Click to edit Master title style</a:t>
            </a:r>
          </a:p>
        </p:txBody>
      </p:sp>
      <p:sp>
        <p:nvSpPr>
          <p:cNvPr id="13315" name="Rectangle 1027"/>
          <p:cNvSpPr>
            <a:spLocks noGrp="1" noChangeArrowheads="1"/>
          </p:cNvSpPr>
          <p:nvPr>
            <p:ph type="subTitle" idx="1"/>
          </p:nvPr>
        </p:nvSpPr>
        <p:spPr>
          <a:xfrm>
            <a:off x="562672" y="4598902"/>
            <a:ext cx="4935537" cy="338554"/>
          </a:xfrm>
          <a:prstGeom prst="rect">
            <a:avLst/>
          </a:prstGeom>
        </p:spPr>
        <p:txBody>
          <a:bodyPr>
            <a:spAutoFit/>
          </a:bodyPr>
          <a:lstStyle>
            <a:lvl1pPr>
              <a:defRPr sz="2200" baseline="0">
                <a:solidFill>
                  <a:schemeClr val="tx2"/>
                </a:solidFill>
                <a:latin typeface="+mn-lt"/>
                <a:ea typeface="+mn-ea"/>
              </a:defRPr>
            </a:lvl1pPr>
          </a:lstStyle>
          <a:p>
            <a:pPr lvl="0"/>
            <a:r>
              <a:rPr lang="en-US" noProof="0" dirty="0"/>
              <a:t>Click to edit Master subtitle style</a:t>
            </a:r>
          </a:p>
        </p:txBody>
      </p:sp>
      <p:pic>
        <p:nvPicPr>
          <p:cNvPr id="14" name="Picture 13">
            <a:extLst>
              <a:ext uri="{FF2B5EF4-FFF2-40B4-BE49-F238E27FC236}">
                <a16:creationId xmlns:a16="http://schemas.microsoft.com/office/drawing/2014/main" id="{3FB02012-B02C-4CD4-AE76-DFD57483403D}"/>
              </a:ext>
            </a:extLst>
          </p:cNvPr>
          <p:cNvPicPr>
            <a:picLocks noChangeAspect="1"/>
          </p:cNvPicPr>
          <p:nvPr userDrawn="1"/>
        </p:nvPicPr>
        <p:blipFill>
          <a:blip r:embed="rId7"/>
          <a:stretch>
            <a:fillRect/>
          </a:stretch>
        </p:blipFill>
        <p:spPr>
          <a:xfrm>
            <a:off x="8301843" y="59362"/>
            <a:ext cx="627942" cy="634039"/>
          </a:xfrm>
          <a:prstGeom prst="rect">
            <a:avLst/>
          </a:prstGeom>
        </p:spPr>
      </p:pic>
      <p:sp>
        <p:nvSpPr>
          <p:cNvPr id="15" name="Rectangle 14">
            <a:extLst>
              <a:ext uri="{FF2B5EF4-FFF2-40B4-BE49-F238E27FC236}">
                <a16:creationId xmlns:a16="http://schemas.microsoft.com/office/drawing/2014/main" id="{4C950368-92D1-4E57-AA3F-2661454F4870}"/>
              </a:ext>
            </a:extLst>
          </p:cNvPr>
          <p:cNvSpPr/>
          <p:nvPr userDrawn="1"/>
        </p:nvSpPr>
        <p:spPr>
          <a:xfrm>
            <a:off x="0" y="6400319"/>
            <a:ext cx="8961438" cy="340398"/>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pic>
        <p:nvPicPr>
          <p:cNvPr id="16" name="Picture 15">
            <a:extLst>
              <a:ext uri="{FF2B5EF4-FFF2-40B4-BE49-F238E27FC236}">
                <a16:creationId xmlns:a16="http://schemas.microsoft.com/office/drawing/2014/main" id="{F4EC65FF-50A6-455E-9DF9-B25AF1C7DFF9}"/>
              </a:ext>
            </a:extLst>
          </p:cNvPr>
          <p:cNvPicPr>
            <a:picLocks noChangeAspect="1"/>
          </p:cNvPicPr>
          <p:nvPr userDrawn="1"/>
        </p:nvPicPr>
        <p:blipFill>
          <a:blip r:embed="rId8"/>
          <a:stretch>
            <a:fillRect/>
          </a:stretch>
        </p:blipFill>
        <p:spPr>
          <a:xfrm>
            <a:off x="4057195" y="6400319"/>
            <a:ext cx="513692" cy="340398"/>
          </a:xfrm>
          <a:prstGeom prst="rect">
            <a:avLst/>
          </a:prstGeom>
        </p:spPr>
      </p:pic>
    </p:spTree>
    <p:extLst>
      <p:ext uri="{BB962C8B-B14F-4D97-AF65-F5344CB8AC3E}">
        <p14:creationId xmlns:p14="http://schemas.microsoft.com/office/powerpoint/2010/main" val="291143228"/>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8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60616127"/>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9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dirty="0"/>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53258489"/>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0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46222289"/>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49888244"/>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2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03154349"/>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AA2EE3B-C4B4-4058-82D2-861E2BF9CD16}"/>
              </a:ext>
            </a:extLst>
          </p:cNvPr>
          <p:cNvSpPr>
            <a:spLocks noGrp="1"/>
          </p:cNvSpPr>
          <p:nvPr>
            <p:ph type="ctrTitle"/>
          </p:nvPr>
        </p:nvSpPr>
        <p:spPr>
          <a:xfrm>
            <a:off x="1120180" y="2761442"/>
            <a:ext cx="6721079" cy="678647"/>
          </a:xfrm>
        </p:spPr>
        <p:txBody>
          <a:bodyPr anchor="b"/>
          <a:lstStyle>
            <a:lvl1pPr algn="ctr">
              <a:defRPr sz="4410"/>
            </a:lvl1pPr>
          </a:lstStyle>
          <a:p>
            <a:r>
              <a:rPr lang="fr-FR"/>
              <a:t>Modifiez le style du titre</a:t>
            </a:r>
            <a:endParaRPr lang="en-BI"/>
          </a:p>
        </p:txBody>
      </p:sp>
      <p:sp>
        <p:nvSpPr>
          <p:cNvPr id="3" name="Sous-titre 2">
            <a:extLst>
              <a:ext uri="{FF2B5EF4-FFF2-40B4-BE49-F238E27FC236}">
                <a16:creationId xmlns:a16="http://schemas.microsoft.com/office/drawing/2014/main" id="{29ED25EB-F0A5-4418-9165-379071C8B752}"/>
              </a:ext>
            </a:extLst>
          </p:cNvPr>
          <p:cNvSpPr>
            <a:spLocks noGrp="1"/>
          </p:cNvSpPr>
          <p:nvPr>
            <p:ph type="subTitle" idx="1"/>
          </p:nvPr>
        </p:nvSpPr>
        <p:spPr>
          <a:xfrm>
            <a:off x="1120180" y="3530331"/>
            <a:ext cx="6721079" cy="271485"/>
          </a:xfrm>
        </p:spPr>
        <p:txBody>
          <a:bodyPr/>
          <a:lstStyle>
            <a:lvl1pPr marL="0" indent="0" algn="ctr">
              <a:buNone/>
              <a:defRPr sz="1764"/>
            </a:lvl1pPr>
            <a:lvl2pPr marL="336042" indent="0" algn="ctr">
              <a:buNone/>
              <a:defRPr sz="1470"/>
            </a:lvl2pPr>
            <a:lvl3pPr marL="672084" indent="0" algn="ctr">
              <a:buNone/>
              <a:defRPr sz="1323"/>
            </a:lvl3pPr>
            <a:lvl4pPr marL="1008126" indent="0" algn="ctr">
              <a:buNone/>
              <a:defRPr sz="1176"/>
            </a:lvl4pPr>
            <a:lvl5pPr marL="1344168" indent="0" algn="ctr">
              <a:buNone/>
              <a:defRPr sz="1176"/>
            </a:lvl5pPr>
            <a:lvl6pPr marL="1680210" indent="0" algn="ctr">
              <a:buNone/>
              <a:defRPr sz="1176"/>
            </a:lvl6pPr>
            <a:lvl7pPr marL="2016252" indent="0" algn="ctr">
              <a:buNone/>
              <a:defRPr sz="1176"/>
            </a:lvl7pPr>
            <a:lvl8pPr marL="2352294" indent="0" algn="ctr">
              <a:buNone/>
              <a:defRPr sz="1176"/>
            </a:lvl8pPr>
            <a:lvl9pPr marL="2688336" indent="0" algn="ctr">
              <a:buNone/>
              <a:defRPr sz="1176"/>
            </a:lvl9pPr>
          </a:lstStyle>
          <a:p>
            <a:r>
              <a:rPr lang="fr-FR"/>
              <a:t>Modifiez le style des sous-titres du masque</a:t>
            </a:r>
            <a:endParaRPr lang="en-BI"/>
          </a:p>
        </p:txBody>
      </p:sp>
      <p:sp>
        <p:nvSpPr>
          <p:cNvPr id="4" name="Espace réservé de la date 3">
            <a:extLst>
              <a:ext uri="{FF2B5EF4-FFF2-40B4-BE49-F238E27FC236}">
                <a16:creationId xmlns:a16="http://schemas.microsoft.com/office/drawing/2014/main" id="{C4D29751-EFF8-4A5E-A837-B311A6DDC511}"/>
              </a:ext>
            </a:extLst>
          </p:cNvPr>
          <p:cNvSpPr>
            <a:spLocks noGrp="1"/>
          </p:cNvSpPr>
          <p:nvPr>
            <p:ph type="dt" sz="half" idx="10"/>
          </p:nvPr>
        </p:nvSpPr>
        <p:spPr/>
        <p:txBody>
          <a:bodyPr/>
          <a:lstStyle/>
          <a:p>
            <a:fld id="{770446EA-BE29-4867-9747-F1DD0F2DB269}" type="datetimeFigureOut">
              <a:rPr lang="en-BI" smtClean="0"/>
              <a:t>6/7/21</a:t>
            </a:fld>
            <a:endParaRPr lang="en-BI"/>
          </a:p>
        </p:txBody>
      </p:sp>
      <p:sp>
        <p:nvSpPr>
          <p:cNvPr id="5" name="Espace réservé du pied de page 4">
            <a:extLst>
              <a:ext uri="{FF2B5EF4-FFF2-40B4-BE49-F238E27FC236}">
                <a16:creationId xmlns:a16="http://schemas.microsoft.com/office/drawing/2014/main" id="{3D053A4E-1DCA-4DAA-AEFC-76E0F7010BF7}"/>
              </a:ext>
            </a:extLst>
          </p:cNvPr>
          <p:cNvSpPr>
            <a:spLocks noGrp="1"/>
          </p:cNvSpPr>
          <p:nvPr>
            <p:ph type="ftr" sz="quarter" idx="11"/>
          </p:nvPr>
        </p:nvSpPr>
        <p:spPr/>
        <p:txBody>
          <a:bodyPr/>
          <a:lstStyle/>
          <a:p>
            <a:endParaRPr lang="en-BI"/>
          </a:p>
        </p:txBody>
      </p:sp>
      <p:sp>
        <p:nvSpPr>
          <p:cNvPr id="6" name="Espace réservé du numéro de diapositive 5">
            <a:extLst>
              <a:ext uri="{FF2B5EF4-FFF2-40B4-BE49-F238E27FC236}">
                <a16:creationId xmlns:a16="http://schemas.microsoft.com/office/drawing/2014/main" id="{D68A6619-2F16-4201-B271-7EF74CEB4ED2}"/>
              </a:ext>
            </a:extLst>
          </p:cNvPr>
          <p:cNvSpPr>
            <a:spLocks noGrp="1"/>
          </p:cNvSpPr>
          <p:nvPr>
            <p:ph type="sldNum" sz="quarter" idx="12"/>
          </p:nvPr>
        </p:nvSpPr>
        <p:spPr/>
        <p:txBody>
          <a:bodyPr/>
          <a:lstStyle/>
          <a:p>
            <a:fld id="{A058F509-1668-4C8D-9E3A-5362F8C82BFC}" type="slidenum">
              <a:rPr lang="en-BI" smtClean="0"/>
              <a:t>‹#›</a:t>
            </a:fld>
            <a:endParaRPr lang="en-BI"/>
          </a:p>
        </p:txBody>
      </p:sp>
    </p:spTree>
    <p:extLst>
      <p:ext uri="{BB962C8B-B14F-4D97-AF65-F5344CB8AC3E}">
        <p14:creationId xmlns:p14="http://schemas.microsoft.com/office/powerpoint/2010/main" val="2877680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3_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619363391"/>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4_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75096216"/>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6_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2712446"/>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0_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67390117"/>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4776421"/>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1_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29982431"/>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3_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83785166"/>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4_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69357591"/>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7_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997826778"/>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5_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45061978"/>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7_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0943355"/>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8_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24107681"/>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6_Section Separator">
    <p:spTree>
      <p:nvGrpSpPr>
        <p:cNvPr id="1" name=""/>
        <p:cNvGrpSpPr/>
        <p:nvPr/>
      </p:nvGrpSpPr>
      <p:grpSpPr>
        <a:xfrm>
          <a:off x="0" y="0"/>
          <a:ext cx="0" cy="0"/>
          <a:chOff x="0" y="0"/>
          <a:chExt cx="0" cy="0"/>
        </a:xfrm>
      </p:grpSpPr>
      <p:sp>
        <p:nvSpPr>
          <p:cNvPr id="16" name="Rectangle 15"/>
          <p:cNvSpPr/>
          <p:nvPr userDrawn="1"/>
        </p:nvSpPr>
        <p:spPr>
          <a:xfrm>
            <a:off x="1" y="1344295"/>
            <a:ext cx="8960339" cy="53771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7" name="Text Placeholder 6"/>
          <p:cNvSpPr>
            <a:spLocks noGrp="1"/>
          </p:cNvSpPr>
          <p:nvPr>
            <p:ph type="body" sz="quarter" idx="11" hasCustomPrompt="1"/>
          </p:nvPr>
        </p:nvSpPr>
        <p:spPr>
          <a:xfrm>
            <a:off x="457754" y="2680189"/>
            <a:ext cx="5003123" cy="1466017"/>
          </a:xfrm>
        </p:spPr>
        <p:txBody>
          <a:bodyPr vert="horz" wrap="square" lIns="0" tIns="0" rIns="0" bIns="0" rtlCol="0" anchor="b">
            <a:spAutoFit/>
          </a:bodyPr>
          <a:lstStyle>
            <a:lvl1pPr marL="0" indent="0" algn="l">
              <a:defRPr lang="en-US" sz="5292" b="1" baseline="0" smtClean="0">
                <a:solidFill>
                  <a:schemeClr val="bg1"/>
                </a:solidFill>
                <a:latin typeface="Arial" panose="020B0604020202020204" pitchFamily="34" charset="0"/>
                <a:ea typeface="+mj-ea"/>
                <a:cs typeface="Arial" panose="020B0604020202020204" pitchFamily="34" charset="0"/>
              </a:defRPr>
            </a:lvl1pPr>
            <a:lvl2pPr>
              <a:defRPr lang="en-US" smtClean="0"/>
            </a:lvl2pPr>
            <a:lvl3pPr>
              <a:defRPr lang="en-US" smtClean="0"/>
            </a:lvl3pPr>
            <a:lvl4pPr>
              <a:defRPr lang="en-US" smtClean="0"/>
            </a:lvl4pPr>
            <a:lvl5pPr>
              <a:defRPr lang="en-GB"/>
            </a:lvl5pPr>
          </a:lstStyle>
          <a:p>
            <a:pPr lvl="0">
              <a:spcBef>
                <a:spcPct val="0"/>
              </a:spcBef>
              <a:buNone/>
            </a:pPr>
            <a:r>
              <a:rPr lang="en-US" dirty="0"/>
              <a:t>Presentation title</a:t>
            </a:r>
          </a:p>
        </p:txBody>
      </p:sp>
      <p:sp>
        <p:nvSpPr>
          <p:cNvPr id="17" name="Text Placeholder 16"/>
          <p:cNvSpPr>
            <a:spLocks noGrp="1"/>
          </p:cNvSpPr>
          <p:nvPr>
            <p:ph type="body" sz="quarter" idx="12" hasCustomPrompt="1"/>
          </p:nvPr>
        </p:nvSpPr>
        <p:spPr>
          <a:xfrm>
            <a:off x="457753" y="5848392"/>
            <a:ext cx="3311532" cy="252506"/>
          </a:xfrm>
        </p:spPr>
        <p:txBody>
          <a:bodyPr vert="horz" wrap="square" lIns="0" tIns="0" rIns="0" bIns="0" rtlCol="0">
            <a:spAutoFit/>
          </a:bodyPr>
          <a:lstStyle>
            <a:lvl1pPr marL="0" indent="0">
              <a:lnSpc>
                <a:spcPct val="150000"/>
              </a:lnSpc>
              <a:buNone/>
              <a:defRPr lang="en-US" sz="1617" b="1" dirty="0" smtClean="0">
                <a:solidFill>
                  <a:schemeClr val="bg1"/>
                </a:solidFill>
                <a:latin typeface="Arial" panose="020B0604020202020204" pitchFamily="34" charset="0"/>
                <a:cs typeface="Arial" panose="020B0604020202020204" pitchFamily="34" charset="0"/>
              </a:defRPr>
            </a:lvl1pPr>
          </a:lstStyle>
          <a:p>
            <a:pPr marL="168017" lvl="0" indent="-168017">
              <a:lnSpc>
                <a:spcPct val="110000"/>
              </a:lnSpc>
              <a:spcBef>
                <a:spcPts val="0"/>
              </a:spcBef>
              <a:spcAft>
                <a:spcPts val="221"/>
              </a:spcAft>
            </a:pPr>
            <a:r>
              <a:rPr lang="en-US" dirty="0"/>
              <a:t>Month Year</a:t>
            </a:r>
          </a:p>
        </p:txBody>
      </p:sp>
      <p:grpSp>
        <p:nvGrpSpPr>
          <p:cNvPr id="19" name="Group 18">
            <a:extLst>
              <a:ext uri="{FF2B5EF4-FFF2-40B4-BE49-F238E27FC236}">
                <a16:creationId xmlns:a16="http://schemas.microsoft.com/office/drawing/2014/main" id="{8533E14B-C342-480D-9594-6F7167288E44}"/>
              </a:ext>
            </a:extLst>
          </p:cNvPr>
          <p:cNvGrpSpPr/>
          <p:nvPr userDrawn="1"/>
        </p:nvGrpSpPr>
        <p:grpSpPr>
          <a:xfrm>
            <a:off x="-1" y="0"/>
            <a:ext cx="8960340" cy="74683"/>
            <a:chOff x="0" y="0"/>
            <a:chExt cx="12190506" cy="295275"/>
          </a:xfrm>
        </p:grpSpPr>
        <p:sp>
          <p:nvSpPr>
            <p:cNvPr id="20" name="Rectangle 19">
              <a:extLst>
                <a:ext uri="{FF2B5EF4-FFF2-40B4-BE49-F238E27FC236}">
                  <a16:creationId xmlns:a16="http://schemas.microsoft.com/office/drawing/2014/main" id="{34E1B717-5775-4596-9AC7-2A00D8D63704}"/>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1" name="Rectangle 20">
              <a:extLst>
                <a:ext uri="{FF2B5EF4-FFF2-40B4-BE49-F238E27FC236}">
                  <a16:creationId xmlns:a16="http://schemas.microsoft.com/office/drawing/2014/main" id="{04C9F875-64CE-4E1A-AF08-25CF95032102}"/>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2" name="Rectangle 21">
              <a:extLst>
                <a:ext uri="{FF2B5EF4-FFF2-40B4-BE49-F238E27FC236}">
                  <a16:creationId xmlns:a16="http://schemas.microsoft.com/office/drawing/2014/main" id="{5A2000AF-53C1-438D-9CAD-7160789BE211}"/>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3" name="Rectangle 22">
              <a:extLst>
                <a:ext uri="{FF2B5EF4-FFF2-40B4-BE49-F238E27FC236}">
                  <a16:creationId xmlns:a16="http://schemas.microsoft.com/office/drawing/2014/main" id="{1B5C18DE-769D-4C47-9955-466F9827EA32}"/>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pic>
        <p:nvPicPr>
          <p:cNvPr id="9" name="Picture 8" descr="African Leaders Malaria Alliance (ALMA)">
            <a:extLst>
              <a:ext uri="{FF2B5EF4-FFF2-40B4-BE49-F238E27FC236}">
                <a16:creationId xmlns:a16="http://schemas.microsoft.com/office/drawing/2014/main" id="{279ED16C-411A-4115-8AB5-0281887AE4C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57754" y="369021"/>
            <a:ext cx="2678750" cy="608843"/>
          </a:xfrm>
          <a:prstGeom prst="rect">
            <a:avLst/>
          </a:prstGeom>
        </p:spPr>
      </p:pic>
    </p:spTree>
    <p:extLst>
      <p:ext uri="{BB962C8B-B14F-4D97-AF65-F5344CB8AC3E}">
        <p14:creationId xmlns:p14="http://schemas.microsoft.com/office/powerpoint/2010/main" val="2221515453"/>
      </p:ext>
    </p:extLst>
  </p:cSld>
  <p:clrMapOvr>
    <a:masterClrMapping/>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9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34375"/>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20417525"/>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1"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doc id"/>
          <p:cNvSpPr txBox="1">
            <a:spLocks noChangeArrowheads="1"/>
          </p:cNvSpPr>
          <p:nvPr/>
        </p:nvSpPr>
        <p:spPr bwMode="auto">
          <a:xfrm>
            <a:off x="8442325"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a:solidFill>
                <a:prstClr val="black"/>
              </a:solidFill>
              <a:latin typeface="Arial"/>
            </a:endParaRPr>
          </a:p>
        </p:txBody>
      </p:sp>
      <p:grpSp>
        <p:nvGrpSpPr>
          <p:cNvPr id="2" name="Title Elements"/>
          <p:cNvGrpSpPr/>
          <p:nvPr userDrawn="1"/>
        </p:nvGrpSpPr>
        <p:grpSpPr>
          <a:xfrm>
            <a:off x="0" y="0"/>
            <a:ext cx="8958264" cy="6723063"/>
            <a:chOff x="0" y="0"/>
            <a:chExt cx="8958264" cy="6723063"/>
          </a:xfrm>
        </p:grpSpPr>
        <p:sp>
          <p:nvSpPr>
            <p:cNvPr id="9" name="Document type" hidden="1"/>
            <p:cNvSpPr txBox="1">
              <a:spLocks noChangeArrowheads="1"/>
            </p:cNvSpPr>
            <p:nvPr/>
          </p:nvSpPr>
          <p:spPr bwMode="auto">
            <a:xfrm>
              <a:off x="2640013" y="4930775"/>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prstClr val="black"/>
                  </a:solidFill>
                  <a:latin typeface="Arial"/>
                </a:rPr>
                <a:t>Document type</a:t>
              </a:r>
            </a:p>
          </p:txBody>
        </p:sp>
        <p:sp>
          <p:nvSpPr>
            <p:cNvPr id="10" name="Date" hidden="1"/>
            <p:cNvSpPr txBox="1">
              <a:spLocks noChangeArrowheads="1"/>
            </p:cNvSpPr>
            <p:nvPr/>
          </p:nvSpPr>
          <p:spPr bwMode="auto">
            <a:xfrm>
              <a:off x="2640013" y="5199063"/>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prstClr val="black"/>
                  </a:solidFill>
                  <a:latin typeface="Arial"/>
                </a:rPr>
                <a:t>Date</a:t>
              </a:r>
            </a:p>
          </p:txBody>
        </p:sp>
        <p:sp>
          <p:nvSpPr>
            <p:cNvPr id="11" name="Disclaimer" hidden="1"/>
            <p:cNvSpPr>
              <a:spLocks noChangeArrowheads="1"/>
            </p:cNvSpPr>
            <p:nvPr/>
          </p:nvSpPr>
          <p:spPr bwMode="auto">
            <a:xfrm>
              <a:off x="2640013" y="5895975"/>
              <a:ext cx="512127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4863" eaLnBrk="0" hangingPunct="0"/>
              <a:r>
                <a:rPr lang="en-US" sz="800" dirty="0">
                  <a:solidFill>
                    <a:prstClr val="black"/>
                  </a:solidFill>
                  <a:latin typeface="Arial"/>
                </a:rPr>
                <a:t>CONFIDENTIAL AND PROPRIETARY</a:t>
              </a:r>
            </a:p>
            <a:p>
              <a:pPr defTabSz="804863" eaLnBrk="0" hangingPunct="0"/>
              <a:r>
                <a:rPr lang="en-US" sz="800" dirty="0">
                  <a:solidFill>
                    <a:prstClr val="black"/>
                  </a:solidFill>
                  <a:latin typeface="Arial"/>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2238375"/>
              <a:ext cx="2193925" cy="4484688"/>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prstClr val="black"/>
                </a:solidFill>
                <a:latin typeface="Arial"/>
              </a:endParaRPr>
            </a:p>
          </p:txBody>
        </p:sp>
        <p:sp>
          <p:nvSpPr>
            <p:cNvPr id="13" name="TitleTopPlaceholder" hidden="1"/>
            <p:cNvSpPr>
              <a:spLocks noChangeArrowheads="1"/>
            </p:cNvSpPr>
            <p:nvPr/>
          </p:nvSpPr>
          <p:spPr bwMode="auto">
            <a:xfrm>
              <a:off x="0" y="0"/>
              <a:ext cx="2193925" cy="2238375"/>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prstClr val="black"/>
                </a:solidFill>
                <a:latin typeface="Arial"/>
              </a:endParaRPr>
            </a:p>
          </p:txBody>
        </p:sp>
        <p:sp>
          <p:nvSpPr>
            <p:cNvPr id="19" name="Rectangle 18" hidden="1"/>
            <p:cNvSpPr/>
            <p:nvPr/>
          </p:nvSpPr>
          <p:spPr>
            <a:xfrm>
              <a:off x="0" y="0"/>
              <a:ext cx="8958264" cy="6721475"/>
            </a:xfrm>
            <a:prstGeom prst="rect">
              <a:avLst/>
            </a:prstGeom>
            <a:noFill/>
            <a:ln w="3175">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solidFill>
              </a:endParaRPr>
            </a:p>
          </p:txBody>
        </p:sp>
      </p:grpSp>
      <p:pic>
        <p:nvPicPr>
          <p:cNvPr id="18" name="TitleBottomBarBW" hidden="1"/>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7173913" y="6443663"/>
            <a:ext cx="1636712" cy="192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562672" y="3052054"/>
            <a:ext cx="7879488" cy="646331"/>
          </a:xfrm>
          <a:prstGeom prst="rect">
            <a:avLst/>
          </a:prstGeom>
        </p:spPr>
        <p:txBody>
          <a:bodyPr/>
          <a:lstStyle>
            <a:lvl1pPr>
              <a:defRPr sz="4200" b="0" baseline="0">
                <a:solidFill>
                  <a:srgbClr val="375199"/>
                </a:solidFill>
                <a:latin typeface="Arial" panose="020B0604020202020204" pitchFamily="34" charset="0"/>
                <a:ea typeface="+mj-ea"/>
                <a:cs typeface="Arial" panose="020B0604020202020204" pitchFamily="34" charset="0"/>
              </a:defRPr>
            </a:lvl1pPr>
          </a:lstStyle>
          <a:p>
            <a:pPr lvl="0"/>
            <a:r>
              <a:rPr lang="en-US" noProof="0" dirty="0"/>
              <a:t>Click to edit Master title style</a:t>
            </a:r>
          </a:p>
        </p:txBody>
      </p:sp>
      <p:sp>
        <p:nvSpPr>
          <p:cNvPr id="13315" name="Rectangle 1027"/>
          <p:cNvSpPr>
            <a:spLocks noGrp="1" noChangeArrowheads="1"/>
          </p:cNvSpPr>
          <p:nvPr>
            <p:ph type="subTitle" idx="1"/>
          </p:nvPr>
        </p:nvSpPr>
        <p:spPr>
          <a:xfrm>
            <a:off x="562672" y="4598902"/>
            <a:ext cx="4935537" cy="338554"/>
          </a:xfrm>
          <a:prstGeom prst="rect">
            <a:avLst/>
          </a:prstGeom>
        </p:spPr>
        <p:txBody>
          <a:bodyPr>
            <a:spAutoFit/>
          </a:bodyPr>
          <a:lstStyle>
            <a:lvl1pPr>
              <a:defRPr sz="2200" baseline="0">
                <a:solidFill>
                  <a:schemeClr val="tx2"/>
                </a:solidFill>
                <a:latin typeface="+mn-lt"/>
                <a:ea typeface="+mn-ea"/>
              </a:defRPr>
            </a:lvl1pPr>
          </a:lstStyle>
          <a:p>
            <a:pPr lvl="0"/>
            <a:r>
              <a:rPr lang="en-US" noProof="0" dirty="0"/>
              <a:t>Click to edit Master subtitle style</a:t>
            </a:r>
          </a:p>
        </p:txBody>
      </p:sp>
    </p:spTree>
    <p:extLst>
      <p:ext uri="{BB962C8B-B14F-4D97-AF65-F5344CB8AC3E}">
        <p14:creationId xmlns:p14="http://schemas.microsoft.com/office/powerpoint/2010/main" val="2694939716"/>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bg>
      <p:bgRef idx="1001">
        <a:schemeClr val="bg1"/>
      </p:bgRef>
    </p:bg>
    <p:spTree>
      <p:nvGrpSpPr>
        <p:cNvPr id="1" name=""/>
        <p:cNvGrpSpPr/>
        <p:nvPr/>
      </p:nvGrpSpPr>
      <p:grpSpPr>
        <a:xfrm>
          <a:off x="0" y="0"/>
          <a:ext cx="0" cy="0"/>
          <a:chOff x="0" y="0"/>
          <a:chExt cx="0" cy="0"/>
        </a:xfrm>
      </p:grpSpPr>
      <p:sp>
        <p:nvSpPr>
          <p:cNvPr id="2" name="2. Slide Title"/>
          <p:cNvSpPr>
            <a:spLocks noGrp="1"/>
          </p:cNvSpPr>
          <p:nvPr>
            <p:ph type="title"/>
          </p:nvPr>
        </p:nvSpPr>
        <p:spPr>
          <a:xfrm>
            <a:off x="120508" y="230188"/>
            <a:ext cx="6654067" cy="292388"/>
          </a:xfrm>
        </p:spPr>
        <p:txBody>
          <a:bodyPr/>
          <a:lstStyle/>
          <a:p>
            <a:r>
              <a:rPr lang="en-US" dirty="0"/>
              <a:t>Click to edit Master title style</a:t>
            </a:r>
          </a:p>
        </p:txBody>
      </p:sp>
    </p:spTree>
    <p:extLst>
      <p:ext uri="{BB962C8B-B14F-4D97-AF65-F5344CB8AC3E}">
        <p14:creationId xmlns:p14="http://schemas.microsoft.com/office/powerpoint/2010/main" val="979168236"/>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94544720"/>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Only">
    <p:bg>
      <p:bgRef idx="1001">
        <a:schemeClr val="bg1"/>
      </p:bgRef>
    </p:bg>
    <p:spTree>
      <p:nvGrpSpPr>
        <p:cNvPr id="1" name=""/>
        <p:cNvGrpSpPr/>
        <p:nvPr/>
      </p:nvGrpSpPr>
      <p:grpSpPr>
        <a:xfrm>
          <a:off x="0" y="0"/>
          <a:ext cx="0" cy="0"/>
          <a:chOff x="0" y="0"/>
          <a:chExt cx="0" cy="0"/>
        </a:xfrm>
      </p:grpSpPr>
      <p:sp>
        <p:nvSpPr>
          <p:cNvPr id="2" name="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4301607"/>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cSld name="Blank">
    <p:bg>
      <p:bgRef idx="1001">
        <a:schemeClr val="bg1"/>
      </p:bgRef>
    </p:bg>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ea typeface="MS PGothic" panose="020B0600070205080204" pitchFamily="34" charset="-128"/>
              </a:defRPr>
            </a:lvl1pPr>
          </a:lstStyle>
          <a:p>
            <a:pPr>
              <a:defRPr/>
            </a:pPr>
            <a:fld id="{390C57AB-764E-458C-B1A5-5787A8CEE192}" type="datetime1">
              <a:rPr lang="en-US"/>
              <a:pPr>
                <a:defRPr/>
              </a:pPr>
              <a:t>6/7/21</a:t>
            </a:fld>
            <a:endParaRPr lang="en-US"/>
          </a:p>
        </p:txBody>
      </p:sp>
      <p:sp>
        <p:nvSpPr>
          <p:cNvPr id="3" name="Footer Placeholder 4"/>
          <p:cNvSpPr>
            <a:spLocks noGrp="1"/>
          </p:cNvSpPr>
          <p:nvPr>
            <p:ph type="ftr" sz="quarter" idx="11"/>
          </p:nvPr>
        </p:nvSpPr>
        <p:spPr/>
        <p:txBody>
          <a:bodyPr/>
          <a:lstStyle>
            <a:lvl1pPr>
              <a:defRPr>
                <a:ea typeface="MS PGothic" panose="020B0600070205080204" pitchFamily="34" charset="-128"/>
              </a:defRPr>
            </a:lvl1pPr>
          </a:lstStyle>
          <a:p>
            <a:pPr>
              <a:defRPr/>
            </a:pPr>
            <a:endParaRPr lang="en-US"/>
          </a:p>
        </p:txBody>
      </p:sp>
      <p:sp>
        <p:nvSpPr>
          <p:cNvPr id="4" name="Slide Number Placeholder 5"/>
          <p:cNvSpPr>
            <a:spLocks noGrp="1"/>
          </p:cNvSpPr>
          <p:nvPr>
            <p:ph type="sldNum" sz="quarter" idx="12"/>
          </p:nvPr>
        </p:nvSpPr>
        <p:spPr/>
        <p:txBody>
          <a:bodyPr/>
          <a:lstStyle>
            <a:lvl1pPr>
              <a:defRPr>
                <a:latin typeface="Tahoma" panose="020B0604030504040204" pitchFamily="34" charset="0"/>
                <a:ea typeface="MS PGothic" panose="020B0600070205080204" pitchFamily="34" charset="-128"/>
              </a:defRPr>
            </a:lvl1pPr>
          </a:lstStyle>
          <a:p>
            <a:pPr>
              <a:defRPr/>
            </a:pPr>
            <a:fld id="{80533F63-1CFA-412D-B712-E583B36004FA}" type="slidenum">
              <a:rPr lang="en-US" altLang="en-US"/>
              <a:pPr>
                <a:defRPr/>
              </a:pPr>
              <a:t>‹#›</a:t>
            </a:fld>
            <a:endParaRPr lang="en-US" altLang="en-US"/>
          </a:p>
        </p:txBody>
      </p:sp>
    </p:spTree>
    <p:extLst>
      <p:ext uri="{BB962C8B-B14F-4D97-AF65-F5344CB8AC3E}">
        <p14:creationId xmlns:p14="http://schemas.microsoft.com/office/powerpoint/2010/main" val="2357761434"/>
      </p:ext>
    </p:extLst>
  </p:cSld>
  <p:clrMapOvr>
    <a:overrideClrMapping bg1="lt1" tx1="dk1" bg2="lt2" tx2="dk2" accent1="accent1" accent2="accent2" accent3="accent3" accent4="accent4" accent5="accent5" accent6="accent6" hlink="hlink" folHlink="folHlink"/>
  </p:clrMapOvr>
  <p:transition spd="slow"/>
</p:sldLayout>
</file>

<file path=ppt/slideLayouts/slideLayout33.xml><?xml version="1.0" encoding="utf-8"?>
<p:sldLayout xmlns:a="http://schemas.openxmlformats.org/drawingml/2006/main" xmlns:r="http://schemas.openxmlformats.org/officeDocument/2006/relationships" xmlns:p="http://schemas.openxmlformats.org/presentationml/2006/main" type="obj">
  <p:cSld name="Title and Content">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145"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6675076"/>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2_Title Only">
    <p:bg>
      <p:bgRef idx="1001">
        <a:schemeClr val="bg1"/>
      </p:bgRef>
    </p:bg>
    <p:spTree>
      <p:nvGrpSpPr>
        <p:cNvPr id="1" name=""/>
        <p:cNvGrpSpPr/>
        <p:nvPr/>
      </p:nvGrpSpPr>
      <p:grpSpPr>
        <a:xfrm>
          <a:off x="0" y="0"/>
          <a:ext cx="0" cy="0"/>
          <a:chOff x="0" y="0"/>
          <a:chExt cx="0" cy="0"/>
        </a:xfrm>
      </p:grpSpPr>
      <p:graphicFrame>
        <p:nvGraphicFramePr>
          <p:cNvPr id="3" name="Object 300" hidden="1"/>
          <p:cNvGraphicFramePr>
            <a:graphicFrameLocks noChangeAspect="1"/>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69" name="think-cell Slide" r:id="rId19" imgW="360" imgH="360" progId="">
                  <p:embed/>
                </p:oleObj>
              </mc:Choice>
              <mc:Fallback>
                <p:oleObj name="think-cell Slide" r:id="rId19" imgW="360" imgH="360" progId="">
                  <p:embed/>
                  <p:pic>
                    <p:nvPicPr>
                      <p:cNvPr id="3" name="Object 300"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27"/>
          <p:cNvGrpSpPr>
            <a:grpSpLocks/>
          </p:cNvGrpSpPr>
          <p:nvPr userDrawn="1">
            <p:custDataLst>
              <p:tags r:id="rId3"/>
            </p:custDataLst>
          </p:nvPr>
        </p:nvGrpSpPr>
        <p:grpSpPr bwMode="auto">
          <a:xfrm flipH="1">
            <a:off x="8089907" y="6300810"/>
            <a:ext cx="869950" cy="420687"/>
            <a:chOff x="0" y="647"/>
            <a:chExt cx="2278" cy="3325"/>
          </a:xfrm>
        </p:grpSpPr>
        <p:sp>
          <p:nvSpPr>
            <p:cNvPr id="5" name="Freeform 28"/>
            <p:cNvSpPr>
              <a:spLocks/>
            </p:cNvSpPr>
            <p:nvPr>
              <p:custDataLst>
                <p:tags r:id="rId16"/>
              </p:custDataLst>
            </p:nvPr>
          </p:nvSpPr>
          <p:spPr bwMode="auto">
            <a:xfrm>
              <a:off x="0" y="648"/>
              <a:ext cx="1650" cy="3324"/>
            </a:xfrm>
            <a:custGeom>
              <a:avLst/>
              <a:gdLst>
                <a:gd name="T0" fmla="*/ 343 w 1778"/>
                <a:gd name="T1" fmla="*/ 0 h 3324"/>
                <a:gd name="T2" fmla="*/ 308 w 1778"/>
                <a:gd name="T3" fmla="*/ 204 h 3324"/>
                <a:gd name="T4" fmla="*/ 210 w 1778"/>
                <a:gd name="T5" fmla="*/ 318 h 3324"/>
                <a:gd name="T6" fmla="*/ 396 w 1778"/>
                <a:gd name="T7" fmla="*/ 456 h 3324"/>
                <a:gd name="T8" fmla="*/ 760 w 1778"/>
                <a:gd name="T9" fmla="*/ 888 h 3324"/>
                <a:gd name="T10" fmla="*/ 990 w 1778"/>
                <a:gd name="T11" fmla="*/ 1446 h 3324"/>
                <a:gd name="T12" fmla="*/ 1054 w 1778"/>
                <a:gd name="T13" fmla="*/ 2028 h 3324"/>
                <a:gd name="T14" fmla="*/ 1023 w 1778"/>
                <a:gd name="T15" fmla="*/ 2496 h 3324"/>
                <a:gd name="T16" fmla="*/ 902 w 1778"/>
                <a:gd name="T17" fmla="*/ 2850 h 3324"/>
                <a:gd name="T18" fmla="*/ 748 w 1778"/>
                <a:gd name="T19" fmla="*/ 3162 h 3324"/>
                <a:gd name="T20" fmla="*/ 571 w 1778"/>
                <a:gd name="T21" fmla="*/ 3324 h 3324"/>
                <a:gd name="T22" fmla="*/ 2 w 1778"/>
                <a:gd name="T23" fmla="*/ 3324 h 3324"/>
                <a:gd name="T24" fmla="*/ 0 w 1778"/>
                <a:gd name="T25" fmla="*/ 0 h 3324"/>
                <a:gd name="T26" fmla="*/ 343 w 1778"/>
                <a:gd name="T27" fmla="*/ 0 h 332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78" h="3324">
                  <a:moveTo>
                    <a:pt x="580" y="0"/>
                  </a:moveTo>
                  <a:lnTo>
                    <a:pt x="520" y="204"/>
                  </a:lnTo>
                  <a:lnTo>
                    <a:pt x="354" y="318"/>
                  </a:lnTo>
                  <a:lnTo>
                    <a:pt x="669" y="456"/>
                  </a:lnTo>
                  <a:lnTo>
                    <a:pt x="1283" y="888"/>
                  </a:lnTo>
                  <a:lnTo>
                    <a:pt x="1671" y="1446"/>
                  </a:lnTo>
                  <a:lnTo>
                    <a:pt x="1778" y="2028"/>
                  </a:lnTo>
                  <a:lnTo>
                    <a:pt x="1724" y="2496"/>
                  </a:lnTo>
                  <a:lnTo>
                    <a:pt x="1522" y="2850"/>
                  </a:lnTo>
                  <a:lnTo>
                    <a:pt x="1260" y="3162"/>
                  </a:lnTo>
                  <a:lnTo>
                    <a:pt x="962" y="3324"/>
                  </a:lnTo>
                  <a:lnTo>
                    <a:pt x="2" y="3324"/>
                  </a:lnTo>
                  <a:lnTo>
                    <a:pt x="0" y="0"/>
                  </a:lnTo>
                  <a:lnTo>
                    <a:pt x="580" y="0"/>
                  </a:lnTo>
                  <a:close/>
                </a:path>
              </a:pathLst>
            </a:custGeom>
            <a:solidFill>
              <a:srgbClr val="EAEAEA"/>
            </a:solidFill>
            <a:ln>
              <a:noFill/>
            </a:ln>
            <a:effectLst/>
            <a:extLst>
              <a:ext uri="{91240B29-F687-4f45-9708-019B960494DF}">
                <a14:hiddenLine xmlns="" xmlns:a14="http://schemas.microsoft.com/office/drawing/2010/main" w="9525">
                  <a:solidFill>
                    <a:schemeClr val="tx1"/>
                  </a:solidFill>
                  <a:round/>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891846" fontAlgn="base">
                <a:spcBef>
                  <a:spcPct val="0"/>
                </a:spcBef>
                <a:spcAft>
                  <a:spcPct val="0"/>
                </a:spcAft>
              </a:pPr>
              <a:endParaRPr lang="en-US" sz="1568">
                <a:solidFill>
                  <a:srgbClr val="000000"/>
                </a:solidFill>
              </a:endParaRPr>
            </a:p>
          </p:txBody>
        </p:sp>
        <p:pic>
          <p:nvPicPr>
            <p:cNvPr id="6" name="Picture 29"/>
            <p:cNvPicPr>
              <a:picLocks noChangeAspect="1" noChangeArrowheads="1"/>
            </p:cNvPicPr>
            <p:nvPr>
              <p:custDataLst>
                <p:tags r:id="rId17"/>
              </p:custDataLst>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a:ext>
              </a:extLst>
            </a:blip>
            <a:srcRect l="44395" t="8026" b="26535"/>
            <a:stretch>
              <a:fillRect/>
            </a:stretch>
          </p:blipFill>
          <p:spPr bwMode="auto">
            <a:xfrm>
              <a:off x="72" y="647"/>
              <a:ext cx="2206" cy="33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sp>
        <p:nvSpPr>
          <p:cNvPr id="7" name="SlideLogoText"/>
          <p:cNvSpPr>
            <a:spLocks noChangeArrowheads="1"/>
          </p:cNvSpPr>
          <p:nvPr>
            <p:custDataLst>
              <p:tags r:id="rId4"/>
            </p:custDataLst>
          </p:nvPr>
        </p:nvSpPr>
        <p:spPr bwMode="auto">
          <a:xfrm>
            <a:off x="7108180" y="6479382"/>
            <a:ext cx="1053173" cy="15081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r>
              <a:rPr lang="en-US" sz="980" dirty="0">
                <a:solidFill>
                  <a:srgbClr val="000000"/>
                </a:solidFill>
              </a:rPr>
              <a:t> Management Tool</a:t>
            </a:r>
          </a:p>
        </p:txBody>
      </p:sp>
      <p:sp>
        <p:nvSpPr>
          <p:cNvPr id="8" name="McK 1. On-page tracker" hidden="1"/>
          <p:cNvSpPr>
            <a:spLocks noChangeArrowheads="1"/>
          </p:cNvSpPr>
          <p:nvPr>
            <p:custDataLst>
              <p:tags r:id="rId5"/>
            </p:custDataLst>
          </p:nvPr>
        </p:nvSpPr>
        <p:spPr bwMode="auto">
          <a:xfrm>
            <a:off x="119063" y="26989"/>
            <a:ext cx="838371" cy="21114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1372" dirty="0">
                <a:solidFill>
                  <a:srgbClr val="808080"/>
                </a:solidFill>
              </a:rPr>
              <a:t>TRACKER</a:t>
            </a:r>
          </a:p>
        </p:txBody>
      </p:sp>
      <p:sp>
        <p:nvSpPr>
          <p:cNvPr id="9" name="McK 3. Unit of measure" hidden="1"/>
          <p:cNvSpPr txBox="1">
            <a:spLocks noChangeArrowheads="1"/>
          </p:cNvSpPr>
          <p:nvPr>
            <p:custDataLst>
              <p:tags r:id="rId6"/>
            </p:custDataLst>
          </p:nvPr>
        </p:nvSpPr>
        <p:spPr bwMode="auto">
          <a:xfrm>
            <a:off x="119063" y="531813"/>
            <a:ext cx="3656012" cy="21114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372" dirty="0">
                <a:solidFill>
                  <a:srgbClr val="808080"/>
                </a:solidFill>
              </a:rPr>
              <a:t>Unit of measure</a:t>
            </a:r>
          </a:p>
        </p:txBody>
      </p:sp>
      <p:grpSp>
        <p:nvGrpSpPr>
          <p:cNvPr id="10" name="McK Slide Elements"/>
          <p:cNvGrpSpPr>
            <a:grpSpLocks/>
          </p:cNvGrpSpPr>
          <p:nvPr userDrawn="1"/>
        </p:nvGrpSpPr>
        <p:grpSpPr bwMode="auto">
          <a:xfrm>
            <a:off x="119063" y="6080125"/>
            <a:ext cx="8548687" cy="508000"/>
            <a:chOff x="75" y="3830"/>
            <a:chExt cx="5385" cy="320"/>
          </a:xfrm>
        </p:grpSpPr>
        <p:sp>
          <p:nvSpPr>
            <p:cNvPr id="11" name="McK 4. Footnote" hidden="1"/>
            <p:cNvSpPr txBox="1">
              <a:spLocks noChangeArrowheads="1"/>
            </p:cNvSpPr>
            <p:nvPr userDrawn="1"/>
          </p:nvSpPr>
          <p:spPr bwMode="auto">
            <a:xfrm>
              <a:off x="75" y="3830"/>
              <a:ext cx="5385" cy="9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980" dirty="0">
                  <a:solidFill>
                    <a:srgbClr val="000000"/>
                  </a:solidFill>
                </a:rPr>
                <a:t>1 Footnote</a:t>
              </a:r>
            </a:p>
          </p:txBody>
        </p:sp>
        <p:sp>
          <p:nvSpPr>
            <p:cNvPr id="12" name="McK 5. Source" hidden="1"/>
            <p:cNvSpPr>
              <a:spLocks noChangeArrowheads="1"/>
            </p:cNvSpPr>
            <p:nvPr userDrawn="1"/>
          </p:nvSpPr>
          <p:spPr bwMode="auto">
            <a:xfrm>
              <a:off x="75" y="4054"/>
              <a:ext cx="4323" cy="9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09600" indent="-609600" defTabSz="895350">
                <a:tabLst>
                  <a:tab pos="612775" algn="l"/>
                </a:tabLst>
                <a:defRPr sz="1600">
                  <a:solidFill>
                    <a:schemeClr val="tx1"/>
                  </a:solidFill>
                  <a:latin typeface="Arial" charset="0"/>
                </a:defRPr>
              </a:lvl1pPr>
              <a:lvl2pPr marL="742950" indent="-285750" defTabSz="895350">
                <a:tabLst>
                  <a:tab pos="612775" algn="l"/>
                </a:tabLst>
                <a:defRPr sz="1600">
                  <a:solidFill>
                    <a:schemeClr val="tx1"/>
                  </a:solidFill>
                  <a:latin typeface="Arial" charset="0"/>
                </a:defRPr>
              </a:lvl2pPr>
              <a:lvl3pPr marL="1143000" indent="-228600" defTabSz="895350">
                <a:tabLst>
                  <a:tab pos="612775" algn="l"/>
                </a:tabLst>
                <a:defRPr sz="1600">
                  <a:solidFill>
                    <a:schemeClr val="tx1"/>
                  </a:solidFill>
                  <a:latin typeface="Arial" charset="0"/>
                </a:defRPr>
              </a:lvl3pPr>
              <a:lvl4pPr marL="1600200" indent="-228600" defTabSz="895350">
                <a:tabLst>
                  <a:tab pos="612775" algn="l"/>
                </a:tabLst>
                <a:defRPr sz="1600">
                  <a:solidFill>
                    <a:schemeClr val="tx1"/>
                  </a:solidFill>
                  <a:latin typeface="Arial" charset="0"/>
                </a:defRPr>
              </a:lvl4pPr>
              <a:lvl5pPr marL="2057400" indent="-228600" defTabSz="895350">
                <a:tabLst>
                  <a:tab pos="612775" algn="l"/>
                </a:tabLst>
                <a:defRPr sz="1600">
                  <a:solidFill>
                    <a:schemeClr val="tx1"/>
                  </a:solidFill>
                  <a:latin typeface="Arial" charset="0"/>
                </a:defRPr>
              </a:lvl5pPr>
              <a:lvl6pPr marL="2514600" indent="-228600" defTabSz="895350" eaLnBrk="0" fontAlgn="base" hangingPunct="0">
                <a:spcBef>
                  <a:spcPct val="0"/>
                </a:spcBef>
                <a:spcAft>
                  <a:spcPct val="0"/>
                </a:spcAft>
                <a:tabLst>
                  <a:tab pos="612775" algn="l"/>
                </a:tabLst>
                <a:defRPr sz="1600">
                  <a:solidFill>
                    <a:schemeClr val="tx1"/>
                  </a:solidFill>
                  <a:latin typeface="Arial" charset="0"/>
                </a:defRPr>
              </a:lvl6pPr>
              <a:lvl7pPr marL="2971800" indent="-228600" defTabSz="895350" eaLnBrk="0" fontAlgn="base" hangingPunct="0">
                <a:spcBef>
                  <a:spcPct val="0"/>
                </a:spcBef>
                <a:spcAft>
                  <a:spcPct val="0"/>
                </a:spcAft>
                <a:tabLst>
                  <a:tab pos="612775" algn="l"/>
                </a:tabLst>
                <a:defRPr sz="1600">
                  <a:solidFill>
                    <a:schemeClr val="tx1"/>
                  </a:solidFill>
                  <a:latin typeface="Arial" charset="0"/>
                </a:defRPr>
              </a:lvl7pPr>
              <a:lvl8pPr marL="3429000" indent="-228600" defTabSz="895350" eaLnBrk="0" fontAlgn="base" hangingPunct="0">
                <a:spcBef>
                  <a:spcPct val="0"/>
                </a:spcBef>
                <a:spcAft>
                  <a:spcPct val="0"/>
                </a:spcAft>
                <a:tabLst>
                  <a:tab pos="612775" algn="l"/>
                </a:tabLst>
                <a:defRPr sz="1600">
                  <a:solidFill>
                    <a:schemeClr val="tx1"/>
                  </a:solidFill>
                  <a:latin typeface="Arial" charset="0"/>
                </a:defRPr>
              </a:lvl8pPr>
              <a:lvl9pPr marL="3886200" indent="-228600" defTabSz="895350" eaLnBrk="0" fontAlgn="base" hangingPunct="0">
                <a:spcBef>
                  <a:spcPct val="0"/>
                </a:spcBef>
                <a:spcAft>
                  <a:spcPct val="0"/>
                </a:spcAft>
                <a:tabLst>
                  <a:tab pos="612775" algn="l"/>
                </a:tabLst>
                <a:defRPr sz="1600">
                  <a:solidFill>
                    <a:schemeClr val="tx1"/>
                  </a:solidFill>
                  <a:latin typeface="Arial" charset="0"/>
                </a:defRPr>
              </a:lvl9pPr>
            </a:lstStyle>
            <a:p>
              <a:pPr fontAlgn="base">
                <a:spcBef>
                  <a:spcPct val="0"/>
                </a:spcBef>
                <a:spcAft>
                  <a:spcPct val="0"/>
                </a:spcAft>
                <a:defRPr/>
              </a:pPr>
              <a:r>
                <a:rPr lang="en-US" sz="980" dirty="0">
                  <a:solidFill>
                    <a:srgbClr val="000000"/>
                  </a:solidFill>
                </a:rPr>
                <a:t>SOURCE: Source</a:t>
              </a:r>
            </a:p>
          </p:txBody>
        </p:sp>
      </p:grpSp>
      <p:grpSp>
        <p:nvGrpSpPr>
          <p:cNvPr id="13" name="ACET" hidden="1"/>
          <p:cNvGrpSpPr>
            <a:grpSpLocks/>
          </p:cNvGrpSpPr>
          <p:nvPr>
            <p:custDataLst>
              <p:tags r:id="rId7"/>
            </p:custDataLst>
          </p:nvPr>
        </p:nvGrpSpPr>
        <p:grpSpPr bwMode="auto">
          <a:xfrm>
            <a:off x="1452573" y="1127125"/>
            <a:ext cx="4264025" cy="508000"/>
            <a:chOff x="915" y="710"/>
            <a:chExt cx="2686" cy="320"/>
          </a:xfrm>
        </p:grpSpPr>
        <p:cxnSp>
          <p:nvCxnSpPr>
            <p:cNvPr id="14" name="AutoShape 249" hidden="1"/>
            <p:cNvCxnSpPr>
              <a:cxnSpLocks noChangeShapeType="1"/>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5" name="AutoShape 250" hidden="1"/>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1568" dirty="0">
                  <a:solidFill>
                    <a:srgbClr val="000000"/>
                  </a:solidFill>
                </a:rPr>
                <a:t>Title</a:t>
              </a:r>
            </a:p>
            <a:p>
              <a:pPr defTabSz="891846" fontAlgn="base">
                <a:spcBef>
                  <a:spcPct val="0"/>
                </a:spcBef>
                <a:spcAft>
                  <a:spcPct val="0"/>
                </a:spcAft>
                <a:defRPr/>
              </a:pPr>
              <a:r>
                <a:rPr lang="en-US" sz="1568" dirty="0">
                  <a:solidFill>
                    <a:srgbClr val="808080"/>
                  </a:solidFill>
                </a:rPr>
                <a:t>Unit of measure</a:t>
              </a:r>
            </a:p>
          </p:txBody>
        </p:sp>
      </p:grpSp>
      <p:sp>
        <p:nvSpPr>
          <p:cNvPr id="16" name="Working Draft" hidden="1"/>
          <p:cNvSpPr txBox="1">
            <a:spLocks noChangeArrowheads="1"/>
          </p:cNvSpPr>
          <p:nvPr>
            <p:custDataLst>
              <p:tags r:id="rId8"/>
            </p:custDataLst>
          </p:nvPr>
        </p:nvSpPr>
        <p:spPr bwMode="auto">
          <a:xfrm rot="5400000">
            <a:off x="7964276" y="1934377"/>
            <a:ext cx="1854675" cy="9047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588">
                <a:solidFill>
                  <a:srgbClr val="000000"/>
                </a:solidFill>
              </a:rPr>
              <a:t>Last Modified 1/2/2017 12:32 PM Pacific Standard Time</a:t>
            </a:r>
            <a:endParaRPr lang="en-US" sz="1568" dirty="0">
              <a:solidFill>
                <a:srgbClr val="000000"/>
              </a:solidFill>
            </a:endParaRPr>
          </a:p>
        </p:txBody>
      </p:sp>
      <p:sp>
        <p:nvSpPr>
          <p:cNvPr id="17" name="Printed" hidden="1"/>
          <p:cNvSpPr txBox="1">
            <a:spLocks noChangeArrowheads="1"/>
          </p:cNvSpPr>
          <p:nvPr>
            <p:custDataLst>
              <p:tags r:id="rId9"/>
            </p:custDataLst>
          </p:nvPr>
        </p:nvSpPr>
        <p:spPr bwMode="auto">
          <a:xfrm rot="5400000">
            <a:off x="8049211" y="3852871"/>
            <a:ext cx="1684757" cy="9047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588">
                <a:solidFill>
                  <a:srgbClr val="000000"/>
                </a:solidFill>
              </a:rPr>
              <a:t>Printed 10/7/2016 9:44 AM Eastern Standard Time</a:t>
            </a:r>
            <a:endParaRPr lang="en-US" sz="1568" dirty="0">
              <a:solidFill>
                <a:srgbClr val="000000"/>
              </a:solidFill>
            </a:endParaRPr>
          </a:p>
        </p:txBody>
      </p:sp>
      <p:sp>
        <p:nvSpPr>
          <p:cNvPr id="18" name="SlideLogoSeparator"/>
          <p:cNvSpPr>
            <a:spLocks noChangeArrowheads="1"/>
          </p:cNvSpPr>
          <p:nvPr>
            <p:custDataLst>
              <p:tags r:id="rId10"/>
            </p:custDataLst>
          </p:nvPr>
        </p:nvSpPr>
        <p:spPr bwMode="auto">
          <a:xfrm>
            <a:off x="8248277" y="6447647"/>
            <a:ext cx="38473" cy="18094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r>
              <a:rPr lang="en-US" sz="1176" dirty="0">
                <a:solidFill>
                  <a:srgbClr val="000000"/>
                </a:solidFill>
              </a:rPr>
              <a:t>|</a:t>
            </a:r>
          </a:p>
        </p:txBody>
      </p:sp>
      <p:sp>
        <p:nvSpPr>
          <p:cNvPr id="19" name="doc id"/>
          <p:cNvSpPr>
            <a:spLocks noChangeArrowheads="1"/>
          </p:cNvSpPr>
          <p:nvPr>
            <p:custDataLst>
              <p:tags r:id="rId11"/>
            </p:custDataLst>
          </p:nvPr>
        </p:nvSpPr>
        <p:spPr bwMode="auto">
          <a:xfrm>
            <a:off x="8081970" y="36513"/>
            <a:ext cx="657225" cy="12223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endParaRPr lang="en-US" sz="784" dirty="0">
              <a:solidFill>
                <a:srgbClr val="000000"/>
              </a:solidFill>
            </a:endParaRPr>
          </a:p>
        </p:txBody>
      </p:sp>
      <p:sp>
        <p:nvSpPr>
          <p:cNvPr id="20" name="Line 55"/>
          <p:cNvSpPr>
            <a:spLocks noChangeShapeType="1"/>
          </p:cNvSpPr>
          <p:nvPr userDrawn="1">
            <p:custDataLst>
              <p:tags r:id="rId12"/>
            </p:custDataLst>
          </p:nvPr>
        </p:nvSpPr>
        <p:spPr bwMode="auto">
          <a:xfrm>
            <a:off x="-1588" y="6300788"/>
            <a:ext cx="8961438" cy="0"/>
          </a:xfrm>
          <a:prstGeom prst="line">
            <a:avLst/>
          </a:prstGeom>
          <a:noFill/>
          <a:ln w="9525">
            <a:solidFill>
              <a:srgbClr val="C0C0C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0996" tIns="45502" rIns="90996" bIns="45502"/>
          <a:lstStyle/>
          <a:p>
            <a:pPr defTabSz="891846" fontAlgn="base">
              <a:spcBef>
                <a:spcPct val="0"/>
              </a:spcBef>
              <a:spcAft>
                <a:spcPct val="0"/>
              </a:spcAft>
            </a:pPr>
            <a:endParaRPr lang="en-US" sz="1568">
              <a:solidFill>
                <a:srgbClr val="000000"/>
              </a:solidFill>
            </a:endParaRPr>
          </a:p>
        </p:txBody>
      </p:sp>
      <p:sp>
        <p:nvSpPr>
          <p:cNvPr id="21" name="TextBox 21"/>
          <p:cNvSpPr txBox="1">
            <a:spLocks noChangeArrowheads="1"/>
          </p:cNvSpPr>
          <p:nvPr userDrawn="1"/>
        </p:nvSpPr>
        <p:spPr bwMode="auto">
          <a:xfrm>
            <a:off x="8545524" y="6435725"/>
            <a:ext cx="209550" cy="152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a:defRPr sz="1100" b="1">
                <a:solidFill>
                  <a:schemeClr val="tx1"/>
                </a:solidFill>
                <a:latin typeface="Arial" charset="0"/>
              </a:defRPr>
            </a:lvl1pPr>
            <a:lvl2pPr marL="742950" indent="-285750">
              <a:defRPr sz="1100" b="1">
                <a:solidFill>
                  <a:schemeClr val="tx1"/>
                </a:solidFill>
                <a:latin typeface="Arial" charset="0"/>
              </a:defRPr>
            </a:lvl2pPr>
            <a:lvl3pPr marL="1143000" indent="-228600">
              <a:defRPr sz="1100" b="1">
                <a:solidFill>
                  <a:schemeClr val="tx1"/>
                </a:solidFill>
                <a:latin typeface="Arial" charset="0"/>
              </a:defRPr>
            </a:lvl3pPr>
            <a:lvl4pPr marL="1600200" indent="-228600">
              <a:defRPr sz="1100" b="1">
                <a:solidFill>
                  <a:schemeClr val="tx1"/>
                </a:solidFill>
                <a:latin typeface="Arial" charset="0"/>
              </a:defRPr>
            </a:lvl4pPr>
            <a:lvl5pPr marL="2057400" indent="-228600">
              <a:defRPr sz="1100" b="1">
                <a:solidFill>
                  <a:schemeClr val="tx1"/>
                </a:solidFill>
                <a:latin typeface="Arial" charset="0"/>
              </a:defRPr>
            </a:lvl5pPr>
            <a:lvl6pPr marL="25146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6pPr>
            <a:lvl7pPr marL="29718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7pPr>
            <a:lvl8pPr marL="34290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8pPr>
            <a:lvl9pPr marL="38862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9pPr>
          </a:lstStyle>
          <a:p>
            <a:pPr defTabSz="891846" fontAlgn="base">
              <a:spcBef>
                <a:spcPct val="0"/>
              </a:spcBef>
              <a:spcAft>
                <a:spcPct val="0"/>
              </a:spcAft>
              <a:buClr>
                <a:srgbClr val="002960"/>
              </a:buClr>
            </a:pPr>
            <a:fld id="{E4B8F564-A5AC-4E92-B5C6-057A642C76E5}" type="slidenum">
              <a:rPr lang="en-US" sz="980" b="0">
                <a:solidFill>
                  <a:srgbClr val="000000"/>
                </a:solidFill>
              </a:rPr>
              <a:pPr defTabSz="891846" fontAlgn="base">
                <a:spcBef>
                  <a:spcPct val="0"/>
                </a:spcBef>
                <a:spcAft>
                  <a:spcPct val="0"/>
                </a:spcAft>
                <a:buClr>
                  <a:srgbClr val="002960"/>
                </a:buClr>
              </a:pPr>
              <a:t>‹#›</a:t>
            </a:fld>
            <a:endParaRPr lang="en-US" sz="980" b="0">
              <a:solidFill>
                <a:srgbClr val="000000"/>
              </a:solidFill>
            </a:endParaRPr>
          </a:p>
        </p:txBody>
      </p:sp>
      <p:sp>
        <p:nvSpPr>
          <p:cNvPr id="22" name="doc id"/>
          <p:cNvSpPr txBox="1">
            <a:spLocks noChangeArrowheads="1"/>
          </p:cNvSpPr>
          <p:nvPr userDrawn="1">
            <p:custDataLst>
              <p:tags r:id="rId13"/>
            </p:custDataLst>
          </p:nvPr>
        </p:nvSpPr>
        <p:spPr bwMode="auto">
          <a:xfrm>
            <a:off x="8442325"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a:solidFill>
                <a:srgbClr val="000000"/>
              </a:solidFill>
            </a:endParaRPr>
          </a:p>
        </p:txBody>
      </p:sp>
      <p:sp>
        <p:nvSpPr>
          <p:cNvPr id="32" name="doc id"/>
          <p:cNvSpPr>
            <a:spLocks noChangeArrowheads="1"/>
          </p:cNvSpPr>
          <p:nvPr>
            <p:custDataLst>
              <p:tags r:id="rId14"/>
            </p:custDataLst>
          </p:nvPr>
        </p:nvSpPr>
        <p:spPr bwMode="auto">
          <a:xfrm>
            <a:off x="8502884" y="0"/>
            <a:ext cx="385693" cy="8624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endParaRPr lang="en-US" sz="784" dirty="0">
              <a:solidFill>
                <a:srgbClr val="000000"/>
              </a:solidFill>
            </a:endParaRPr>
          </a:p>
        </p:txBody>
      </p:sp>
      <p:sp>
        <p:nvSpPr>
          <p:cNvPr id="33" name="doc id"/>
          <p:cNvSpPr txBox="1">
            <a:spLocks noChangeArrowheads="1"/>
          </p:cNvSpPr>
          <p:nvPr userDrawn="1">
            <p:custDataLst>
              <p:tags r:id="rId15"/>
            </p:custDataLst>
          </p:nvPr>
        </p:nvSpPr>
        <p:spPr bwMode="auto">
          <a:xfrm>
            <a:off x="8714359" y="0"/>
            <a:ext cx="173282" cy="86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a:solidFill>
                <a:srgbClr val="000000"/>
              </a:solidFill>
            </a:endParaRPr>
          </a:p>
        </p:txBody>
      </p:sp>
      <p:grpSp>
        <p:nvGrpSpPr>
          <p:cNvPr id="35" name="Group 34"/>
          <p:cNvGrpSpPr/>
          <p:nvPr userDrawn="1"/>
        </p:nvGrpSpPr>
        <p:grpSpPr>
          <a:xfrm>
            <a:off x="8530052" y="100745"/>
            <a:ext cx="402308" cy="387401"/>
            <a:chOff x="4546451" y="36513"/>
            <a:chExt cx="4281734" cy="3212617"/>
          </a:xfrm>
        </p:grpSpPr>
        <p:grpSp>
          <p:nvGrpSpPr>
            <p:cNvPr id="36" name="Group 35"/>
            <p:cNvGrpSpPr/>
            <p:nvPr userDrawn="1"/>
          </p:nvGrpSpPr>
          <p:grpSpPr>
            <a:xfrm>
              <a:off x="4546451" y="36513"/>
              <a:ext cx="4281734" cy="3212617"/>
              <a:chOff x="5092995" y="4741712"/>
              <a:chExt cx="1364293" cy="1023639"/>
            </a:xfrm>
          </p:grpSpPr>
          <p:sp>
            <p:nvSpPr>
              <p:cNvPr id="38" name="Oval 37"/>
              <p:cNvSpPr/>
              <p:nvPr userDrawn="1"/>
            </p:nvSpPr>
            <p:spPr>
              <a:xfrm flipH="1">
                <a:off x="5121276" y="4741712"/>
                <a:ext cx="1336012" cy="1023639"/>
              </a:xfrm>
              <a:prstGeom prst="ellipse">
                <a:avLst/>
              </a:prstGeom>
              <a:solidFill>
                <a:srgbClr val="6F0710"/>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sp>
            <p:nvSpPr>
              <p:cNvPr id="39" name="Oval 38"/>
              <p:cNvSpPr/>
              <p:nvPr userDrawn="1"/>
            </p:nvSpPr>
            <p:spPr>
              <a:xfrm flipH="1">
                <a:off x="5121276" y="4830540"/>
                <a:ext cx="1104142" cy="845983"/>
              </a:xfrm>
              <a:prstGeom prst="ellipse">
                <a:avLst/>
              </a:prstGeom>
              <a:solidFill>
                <a:srgbClr val="E06020"/>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sp>
            <p:nvSpPr>
              <p:cNvPr id="40" name="Oval 39"/>
              <p:cNvSpPr/>
              <p:nvPr userDrawn="1"/>
            </p:nvSpPr>
            <p:spPr>
              <a:xfrm flipH="1">
                <a:off x="5121276" y="4903952"/>
                <a:ext cx="912514" cy="699159"/>
              </a:xfrm>
              <a:prstGeom prst="ellipse">
                <a:avLst/>
              </a:prstGeom>
              <a:solidFill>
                <a:srgbClr val="FFCA08"/>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sp>
            <p:nvSpPr>
              <p:cNvPr id="41" name="Oval 40"/>
              <p:cNvSpPr/>
              <p:nvPr userDrawn="1"/>
            </p:nvSpPr>
            <p:spPr>
              <a:xfrm flipH="1">
                <a:off x="5092995" y="4949886"/>
                <a:ext cx="754144" cy="607291"/>
              </a:xfrm>
              <a:prstGeom prst="ellipse">
                <a:avLst/>
              </a:prstGeom>
              <a:solidFill>
                <a:sysClr val="window" lastClr="FFFFFF"/>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grpSp>
        <p:sp>
          <p:nvSpPr>
            <p:cNvPr id="37" name="Freeform 41"/>
            <p:cNvSpPr>
              <a:spLocks/>
            </p:cNvSpPr>
            <p:nvPr userDrawn="1"/>
          </p:nvSpPr>
          <p:spPr bwMode="gray">
            <a:xfrm>
              <a:off x="4970507" y="953526"/>
              <a:ext cx="1278348" cy="1418128"/>
            </a:xfrm>
            <a:custGeom>
              <a:avLst/>
              <a:gdLst/>
              <a:ahLst/>
              <a:cxnLst/>
              <a:rect l="l" t="t" r="r" b="b"/>
              <a:pathLst>
                <a:path w="4758872" h="5279224">
                  <a:moveTo>
                    <a:pt x="4623602" y="3613775"/>
                  </a:moveTo>
                  <a:cubicBezTo>
                    <a:pt x="4628404" y="3617119"/>
                    <a:pt x="4638009" y="3642198"/>
                    <a:pt x="4644412" y="3653901"/>
                  </a:cubicBezTo>
                  <a:cubicBezTo>
                    <a:pt x="4647614" y="3665605"/>
                    <a:pt x="4647614" y="3675636"/>
                    <a:pt x="4658820" y="3683996"/>
                  </a:cubicBezTo>
                  <a:cubicBezTo>
                    <a:pt x="4665223" y="3699043"/>
                    <a:pt x="4665223" y="3702387"/>
                    <a:pt x="4673228" y="3717434"/>
                  </a:cubicBezTo>
                  <a:cubicBezTo>
                    <a:pt x="4674828" y="3732482"/>
                    <a:pt x="4674828" y="3727466"/>
                    <a:pt x="4676429" y="3744185"/>
                  </a:cubicBezTo>
                  <a:cubicBezTo>
                    <a:pt x="4678030" y="3760904"/>
                    <a:pt x="4678030" y="3799359"/>
                    <a:pt x="4681232" y="3814406"/>
                  </a:cubicBezTo>
                  <a:cubicBezTo>
                    <a:pt x="4682833" y="3831125"/>
                    <a:pt x="4690837" y="3827781"/>
                    <a:pt x="4692438" y="3837813"/>
                  </a:cubicBezTo>
                  <a:cubicBezTo>
                    <a:pt x="4694038" y="3847845"/>
                    <a:pt x="4695639" y="3866236"/>
                    <a:pt x="4692438" y="3874595"/>
                  </a:cubicBezTo>
                  <a:cubicBezTo>
                    <a:pt x="4689236" y="3882955"/>
                    <a:pt x="4681232" y="3892986"/>
                    <a:pt x="4676429" y="3892986"/>
                  </a:cubicBezTo>
                  <a:cubicBezTo>
                    <a:pt x="4671627" y="3894658"/>
                    <a:pt x="4666824" y="3877939"/>
                    <a:pt x="4662022" y="3874595"/>
                  </a:cubicBezTo>
                  <a:cubicBezTo>
                    <a:pt x="4657219" y="3871251"/>
                    <a:pt x="4647614" y="3864564"/>
                    <a:pt x="4644412" y="3869580"/>
                  </a:cubicBezTo>
                  <a:cubicBezTo>
                    <a:pt x="4631606" y="3847845"/>
                    <a:pt x="4639610" y="3899674"/>
                    <a:pt x="4639610" y="3904690"/>
                  </a:cubicBezTo>
                  <a:cubicBezTo>
                    <a:pt x="4639610" y="3916393"/>
                    <a:pt x="4647614" y="3909706"/>
                    <a:pt x="4649215" y="3919737"/>
                  </a:cubicBezTo>
                  <a:cubicBezTo>
                    <a:pt x="4650816" y="3924753"/>
                    <a:pt x="4649215" y="3934785"/>
                    <a:pt x="4647614" y="3939800"/>
                  </a:cubicBezTo>
                  <a:cubicBezTo>
                    <a:pt x="4646013" y="3946488"/>
                    <a:pt x="4642812" y="3946488"/>
                    <a:pt x="4639610" y="3953176"/>
                  </a:cubicBezTo>
                  <a:cubicBezTo>
                    <a:pt x="4642812" y="3954848"/>
                    <a:pt x="4662022" y="3951504"/>
                    <a:pt x="4663623" y="3954848"/>
                  </a:cubicBezTo>
                  <a:cubicBezTo>
                    <a:pt x="4665223" y="3958192"/>
                    <a:pt x="4657219" y="3968223"/>
                    <a:pt x="4654017" y="3973239"/>
                  </a:cubicBezTo>
                  <a:cubicBezTo>
                    <a:pt x="4650816" y="3978255"/>
                    <a:pt x="4652417" y="3984942"/>
                    <a:pt x="4647614" y="3984942"/>
                  </a:cubicBezTo>
                  <a:cubicBezTo>
                    <a:pt x="4642812" y="3984942"/>
                    <a:pt x="4633207" y="3964879"/>
                    <a:pt x="4628404" y="3969895"/>
                  </a:cubicBezTo>
                  <a:cubicBezTo>
                    <a:pt x="4625202" y="3974911"/>
                    <a:pt x="4623602" y="3999990"/>
                    <a:pt x="4620400" y="4018381"/>
                  </a:cubicBezTo>
                  <a:cubicBezTo>
                    <a:pt x="4620400" y="4030084"/>
                    <a:pt x="4626803" y="4038444"/>
                    <a:pt x="4625202" y="4043460"/>
                  </a:cubicBezTo>
                  <a:cubicBezTo>
                    <a:pt x="4623602" y="4048475"/>
                    <a:pt x="4615597" y="4041788"/>
                    <a:pt x="4613997" y="4048475"/>
                  </a:cubicBezTo>
                  <a:cubicBezTo>
                    <a:pt x="4612396" y="4055163"/>
                    <a:pt x="4613997" y="4075226"/>
                    <a:pt x="4610795" y="4085258"/>
                  </a:cubicBezTo>
                  <a:cubicBezTo>
                    <a:pt x="4609194" y="4096961"/>
                    <a:pt x="4601190" y="4098633"/>
                    <a:pt x="4596387" y="4108665"/>
                  </a:cubicBezTo>
                  <a:cubicBezTo>
                    <a:pt x="4593186" y="4117024"/>
                    <a:pt x="4589984" y="4125384"/>
                    <a:pt x="4586782" y="4133744"/>
                  </a:cubicBezTo>
                  <a:cubicBezTo>
                    <a:pt x="4583581" y="4142103"/>
                    <a:pt x="4583581" y="4145447"/>
                    <a:pt x="4580379" y="4155479"/>
                  </a:cubicBezTo>
                  <a:cubicBezTo>
                    <a:pt x="4570774" y="4172198"/>
                    <a:pt x="4573976" y="4172198"/>
                    <a:pt x="4570774" y="4193933"/>
                  </a:cubicBezTo>
                  <a:cubicBezTo>
                    <a:pt x="4569173" y="4203964"/>
                    <a:pt x="4557967" y="4215668"/>
                    <a:pt x="4553165" y="4224027"/>
                  </a:cubicBezTo>
                  <a:cubicBezTo>
                    <a:pt x="4551564" y="4234059"/>
                    <a:pt x="4546761" y="4239075"/>
                    <a:pt x="4543560" y="4249106"/>
                  </a:cubicBezTo>
                  <a:cubicBezTo>
                    <a:pt x="4541959" y="4259138"/>
                    <a:pt x="4538757" y="4270841"/>
                    <a:pt x="4533955" y="4280873"/>
                  </a:cubicBezTo>
                  <a:cubicBezTo>
                    <a:pt x="4532354" y="4295920"/>
                    <a:pt x="4530753" y="4297592"/>
                    <a:pt x="4522749" y="4309296"/>
                  </a:cubicBezTo>
                  <a:cubicBezTo>
                    <a:pt x="4517946" y="4326015"/>
                    <a:pt x="4511543" y="4339390"/>
                    <a:pt x="4505140" y="4354438"/>
                  </a:cubicBezTo>
                  <a:cubicBezTo>
                    <a:pt x="4503539" y="4364469"/>
                    <a:pt x="4500337" y="4369485"/>
                    <a:pt x="4495535" y="4379516"/>
                  </a:cubicBezTo>
                  <a:cubicBezTo>
                    <a:pt x="4493934" y="4399580"/>
                    <a:pt x="4493934" y="4401251"/>
                    <a:pt x="4485930" y="4416299"/>
                  </a:cubicBezTo>
                  <a:cubicBezTo>
                    <a:pt x="4484329" y="4431346"/>
                    <a:pt x="4479526" y="4443050"/>
                    <a:pt x="4466720" y="4449737"/>
                  </a:cubicBezTo>
                  <a:cubicBezTo>
                    <a:pt x="4461917" y="4461441"/>
                    <a:pt x="4473123" y="4469800"/>
                    <a:pt x="4469921" y="4481504"/>
                  </a:cubicBezTo>
                  <a:cubicBezTo>
                    <a:pt x="4466720" y="4493207"/>
                    <a:pt x="4453913" y="4504911"/>
                    <a:pt x="4447510" y="4516614"/>
                  </a:cubicBezTo>
                  <a:cubicBezTo>
                    <a:pt x="4445909" y="4528318"/>
                    <a:pt x="4429900" y="4546709"/>
                    <a:pt x="4433102" y="4555069"/>
                  </a:cubicBezTo>
                  <a:lnTo>
                    <a:pt x="4426624" y="4560346"/>
                  </a:lnTo>
                  <a:cubicBezTo>
                    <a:pt x="4426999" y="4559875"/>
                    <a:pt x="4441106" y="4546709"/>
                    <a:pt x="4407489" y="4561756"/>
                  </a:cubicBezTo>
                  <a:lnTo>
                    <a:pt x="4404287" y="4570116"/>
                  </a:lnTo>
                  <a:cubicBezTo>
                    <a:pt x="4394682" y="4581819"/>
                    <a:pt x="4367468" y="4576804"/>
                    <a:pt x="4361064" y="4576804"/>
                  </a:cubicBezTo>
                  <a:cubicBezTo>
                    <a:pt x="4359464" y="4590179"/>
                    <a:pt x="4354661" y="4588507"/>
                    <a:pt x="4341854" y="4591851"/>
                  </a:cubicBezTo>
                  <a:cubicBezTo>
                    <a:pt x="4333850" y="4595195"/>
                    <a:pt x="4327447" y="4600210"/>
                    <a:pt x="4321044" y="4605226"/>
                  </a:cubicBezTo>
                  <a:cubicBezTo>
                    <a:pt x="4313039" y="4606898"/>
                    <a:pt x="4303434" y="4598539"/>
                    <a:pt x="4293829" y="4596867"/>
                  </a:cubicBezTo>
                  <a:cubicBezTo>
                    <a:pt x="4284224" y="4595195"/>
                    <a:pt x="4273018" y="4598539"/>
                    <a:pt x="4263413" y="4595195"/>
                  </a:cubicBezTo>
                  <a:cubicBezTo>
                    <a:pt x="4257010" y="4583491"/>
                    <a:pt x="4249006" y="4588507"/>
                    <a:pt x="4239401" y="4580147"/>
                  </a:cubicBezTo>
                  <a:cubicBezTo>
                    <a:pt x="4234598" y="4571788"/>
                    <a:pt x="4228195" y="4568444"/>
                    <a:pt x="4221792" y="4560084"/>
                  </a:cubicBezTo>
                  <a:cubicBezTo>
                    <a:pt x="4220191" y="4546709"/>
                    <a:pt x="4213787" y="4538349"/>
                    <a:pt x="4207384" y="4526646"/>
                  </a:cubicBezTo>
                  <a:cubicBezTo>
                    <a:pt x="4204182" y="4516614"/>
                    <a:pt x="4202582" y="4509927"/>
                    <a:pt x="4200981" y="4499895"/>
                  </a:cubicBezTo>
                  <a:cubicBezTo>
                    <a:pt x="4199380" y="4489863"/>
                    <a:pt x="4197779" y="4479832"/>
                    <a:pt x="4197779" y="4469800"/>
                  </a:cubicBezTo>
                  <a:cubicBezTo>
                    <a:pt x="4215388" y="4463113"/>
                    <a:pt x="4207384" y="4449737"/>
                    <a:pt x="4197779" y="4434690"/>
                  </a:cubicBezTo>
                  <a:cubicBezTo>
                    <a:pt x="4196178" y="4417971"/>
                    <a:pt x="4191376" y="4417971"/>
                    <a:pt x="4181771" y="4404595"/>
                  </a:cubicBezTo>
                  <a:cubicBezTo>
                    <a:pt x="4178569" y="4391220"/>
                    <a:pt x="4176968" y="4374501"/>
                    <a:pt x="4178569" y="4359453"/>
                  </a:cubicBezTo>
                  <a:cubicBezTo>
                    <a:pt x="4180170" y="4344406"/>
                    <a:pt x="4188174" y="4326015"/>
                    <a:pt x="4191376" y="4314311"/>
                  </a:cubicBezTo>
                  <a:cubicBezTo>
                    <a:pt x="4199380" y="4304280"/>
                    <a:pt x="4186573" y="4295920"/>
                    <a:pt x="4197779" y="4294248"/>
                  </a:cubicBezTo>
                  <a:cubicBezTo>
                    <a:pt x="4202582" y="4289233"/>
                    <a:pt x="4215388" y="4289233"/>
                    <a:pt x="4220191" y="4284217"/>
                  </a:cubicBezTo>
                  <a:cubicBezTo>
                    <a:pt x="4224993" y="4279201"/>
                    <a:pt x="4221792" y="4270841"/>
                    <a:pt x="4224993" y="4264154"/>
                  </a:cubicBezTo>
                  <a:cubicBezTo>
                    <a:pt x="4226594" y="4244091"/>
                    <a:pt x="4226594" y="4242419"/>
                    <a:pt x="4244203" y="4239075"/>
                  </a:cubicBezTo>
                  <a:cubicBezTo>
                    <a:pt x="4252208" y="4224027"/>
                    <a:pt x="4244203" y="4207308"/>
                    <a:pt x="4263413" y="4203964"/>
                  </a:cubicBezTo>
                  <a:cubicBezTo>
                    <a:pt x="4266615" y="4187245"/>
                    <a:pt x="4263413" y="4163838"/>
                    <a:pt x="4263413" y="4148791"/>
                  </a:cubicBezTo>
                  <a:cubicBezTo>
                    <a:pt x="4263413" y="4133744"/>
                    <a:pt x="4261813" y="4115352"/>
                    <a:pt x="4260212" y="4108665"/>
                  </a:cubicBezTo>
                  <a:cubicBezTo>
                    <a:pt x="4260212" y="4106993"/>
                    <a:pt x="4255409" y="4106993"/>
                    <a:pt x="4253808" y="4105321"/>
                  </a:cubicBezTo>
                  <a:cubicBezTo>
                    <a:pt x="4252208" y="4103649"/>
                    <a:pt x="4250607" y="4100305"/>
                    <a:pt x="4249006" y="4098633"/>
                  </a:cubicBezTo>
                  <a:cubicBezTo>
                    <a:pt x="4245804" y="4085258"/>
                    <a:pt x="4242603" y="4026740"/>
                    <a:pt x="4244203" y="4008349"/>
                  </a:cubicBezTo>
                  <a:cubicBezTo>
                    <a:pt x="4245804" y="3989958"/>
                    <a:pt x="4253808" y="3994974"/>
                    <a:pt x="4258611" y="3988286"/>
                  </a:cubicBezTo>
                  <a:cubicBezTo>
                    <a:pt x="4263413" y="3981598"/>
                    <a:pt x="4269817" y="3971567"/>
                    <a:pt x="4274619" y="3963207"/>
                  </a:cubicBezTo>
                  <a:cubicBezTo>
                    <a:pt x="4277821" y="3951504"/>
                    <a:pt x="4274619" y="3924753"/>
                    <a:pt x="4282623" y="3918065"/>
                  </a:cubicBezTo>
                  <a:cubicBezTo>
                    <a:pt x="4285825" y="3904690"/>
                    <a:pt x="4309838" y="3919737"/>
                    <a:pt x="4322644" y="3918065"/>
                  </a:cubicBezTo>
                  <a:cubicBezTo>
                    <a:pt x="4327447" y="3909706"/>
                    <a:pt x="4329048" y="3904690"/>
                    <a:pt x="4337052" y="3898002"/>
                  </a:cubicBezTo>
                  <a:cubicBezTo>
                    <a:pt x="4343455" y="3894658"/>
                    <a:pt x="4345056" y="3903018"/>
                    <a:pt x="4354661" y="3903018"/>
                  </a:cubicBezTo>
                  <a:cubicBezTo>
                    <a:pt x="4359464" y="3901346"/>
                    <a:pt x="4362665" y="3891315"/>
                    <a:pt x="4369069" y="3889643"/>
                  </a:cubicBezTo>
                  <a:cubicBezTo>
                    <a:pt x="4375472" y="3886299"/>
                    <a:pt x="4391480" y="3887971"/>
                    <a:pt x="4397884" y="3889643"/>
                  </a:cubicBezTo>
                  <a:cubicBezTo>
                    <a:pt x="4404287" y="3891315"/>
                    <a:pt x="4404287" y="3901346"/>
                    <a:pt x="4409090" y="3904690"/>
                  </a:cubicBezTo>
                  <a:cubicBezTo>
                    <a:pt x="4413892" y="3908034"/>
                    <a:pt x="4426699" y="3916393"/>
                    <a:pt x="4428300" y="3913050"/>
                  </a:cubicBezTo>
                  <a:cubicBezTo>
                    <a:pt x="4429900" y="3909706"/>
                    <a:pt x="4425098" y="3894658"/>
                    <a:pt x="4421896" y="3887971"/>
                  </a:cubicBezTo>
                  <a:cubicBezTo>
                    <a:pt x="4418695" y="3881283"/>
                    <a:pt x="4407489" y="3877939"/>
                    <a:pt x="4409090" y="3874595"/>
                  </a:cubicBezTo>
                  <a:cubicBezTo>
                    <a:pt x="4415493" y="3867908"/>
                    <a:pt x="4420295" y="3871251"/>
                    <a:pt x="4428300" y="3867908"/>
                  </a:cubicBezTo>
                  <a:cubicBezTo>
                    <a:pt x="4434703" y="3867908"/>
                    <a:pt x="4441106" y="3849516"/>
                    <a:pt x="4447510" y="3849516"/>
                  </a:cubicBezTo>
                  <a:cubicBezTo>
                    <a:pt x="4450711" y="3852860"/>
                    <a:pt x="4463518" y="3871251"/>
                    <a:pt x="4465119" y="3867908"/>
                  </a:cubicBezTo>
                  <a:cubicBezTo>
                    <a:pt x="4477925" y="3841157"/>
                    <a:pt x="4450711" y="3832797"/>
                    <a:pt x="4479526" y="3827781"/>
                  </a:cubicBezTo>
                  <a:cubicBezTo>
                    <a:pt x="4484329" y="3817750"/>
                    <a:pt x="4489131" y="3842829"/>
                    <a:pt x="4493934" y="3837813"/>
                  </a:cubicBezTo>
                  <a:cubicBezTo>
                    <a:pt x="4495535" y="3836141"/>
                    <a:pt x="4489131" y="3819422"/>
                    <a:pt x="4490732" y="3812734"/>
                  </a:cubicBezTo>
                  <a:cubicBezTo>
                    <a:pt x="4492333" y="3806046"/>
                    <a:pt x="4500337" y="3797687"/>
                    <a:pt x="4505140" y="3797687"/>
                  </a:cubicBezTo>
                  <a:cubicBezTo>
                    <a:pt x="4513144" y="3790999"/>
                    <a:pt x="4519547" y="3817750"/>
                    <a:pt x="4522749" y="3812734"/>
                  </a:cubicBezTo>
                  <a:cubicBezTo>
                    <a:pt x="4525951" y="3811062"/>
                    <a:pt x="4522749" y="3799359"/>
                    <a:pt x="4524350" y="3792671"/>
                  </a:cubicBezTo>
                  <a:cubicBezTo>
                    <a:pt x="4525951" y="3785983"/>
                    <a:pt x="4529152" y="3780968"/>
                    <a:pt x="4529152" y="3772608"/>
                  </a:cubicBezTo>
                  <a:cubicBezTo>
                    <a:pt x="4529152" y="3760904"/>
                    <a:pt x="4521148" y="3745857"/>
                    <a:pt x="4522749" y="3739169"/>
                  </a:cubicBezTo>
                  <a:cubicBezTo>
                    <a:pt x="4524350" y="3732482"/>
                    <a:pt x="4533955" y="3732482"/>
                    <a:pt x="4538757" y="3727466"/>
                  </a:cubicBezTo>
                  <a:lnTo>
                    <a:pt x="4547237" y="3731228"/>
                  </a:lnTo>
                  <a:cubicBezTo>
                    <a:pt x="4552565" y="3730601"/>
                    <a:pt x="4549563" y="3718688"/>
                    <a:pt x="4548362" y="3712419"/>
                  </a:cubicBezTo>
                  <a:lnTo>
                    <a:pt x="4551964" y="3706724"/>
                  </a:lnTo>
                  <a:cubicBezTo>
                    <a:pt x="4554666" y="3705940"/>
                    <a:pt x="4555566" y="3717852"/>
                    <a:pt x="4562770" y="3724122"/>
                  </a:cubicBezTo>
                  <a:cubicBezTo>
                    <a:pt x="4586782" y="3720778"/>
                    <a:pt x="4570774" y="3710747"/>
                    <a:pt x="4589984" y="3704059"/>
                  </a:cubicBezTo>
                  <a:cubicBezTo>
                    <a:pt x="4594787" y="3692356"/>
                    <a:pt x="4593186" y="3655573"/>
                    <a:pt x="4596387" y="3643870"/>
                  </a:cubicBezTo>
                  <a:cubicBezTo>
                    <a:pt x="4599589" y="3632166"/>
                    <a:pt x="4609194" y="3642198"/>
                    <a:pt x="4613997" y="3637182"/>
                  </a:cubicBezTo>
                  <a:cubicBezTo>
                    <a:pt x="4620400" y="3637182"/>
                    <a:pt x="4618799" y="3610431"/>
                    <a:pt x="4623602" y="3613775"/>
                  </a:cubicBezTo>
                  <a:close/>
                  <a:moveTo>
                    <a:pt x="4104187" y="2849912"/>
                  </a:moveTo>
                  <a:cubicBezTo>
                    <a:pt x="4103903" y="2852453"/>
                    <a:pt x="4101393" y="2855194"/>
                    <a:pt x="4104187" y="2849912"/>
                  </a:cubicBezTo>
                  <a:close/>
                  <a:moveTo>
                    <a:pt x="1459768" y="2256567"/>
                  </a:moveTo>
                  <a:cubicBezTo>
                    <a:pt x="1461366" y="2258228"/>
                    <a:pt x="1459589" y="2259201"/>
                    <a:pt x="1458749" y="2259515"/>
                  </a:cubicBezTo>
                  <a:cubicBezTo>
                    <a:pt x="1459538" y="2259103"/>
                    <a:pt x="1460036" y="2258080"/>
                    <a:pt x="1459768" y="2256567"/>
                  </a:cubicBezTo>
                  <a:close/>
                  <a:moveTo>
                    <a:pt x="1849353" y="744"/>
                  </a:moveTo>
                  <a:cubicBezTo>
                    <a:pt x="1857357" y="-928"/>
                    <a:pt x="1868563" y="744"/>
                    <a:pt x="1878168" y="744"/>
                  </a:cubicBezTo>
                  <a:cubicBezTo>
                    <a:pt x="1886172" y="4088"/>
                    <a:pt x="1889373" y="-928"/>
                    <a:pt x="1905382" y="5760"/>
                  </a:cubicBezTo>
                  <a:cubicBezTo>
                    <a:pt x="1910184" y="10776"/>
                    <a:pt x="1903781" y="24151"/>
                    <a:pt x="1906983" y="30839"/>
                  </a:cubicBezTo>
                  <a:cubicBezTo>
                    <a:pt x="1910184" y="37526"/>
                    <a:pt x="1918188" y="45886"/>
                    <a:pt x="1924592" y="45886"/>
                  </a:cubicBezTo>
                  <a:cubicBezTo>
                    <a:pt x="1930995" y="45886"/>
                    <a:pt x="1943802" y="30839"/>
                    <a:pt x="1950205" y="25823"/>
                  </a:cubicBezTo>
                  <a:cubicBezTo>
                    <a:pt x="1956609" y="20807"/>
                    <a:pt x="1966214" y="15791"/>
                    <a:pt x="1967814" y="17463"/>
                  </a:cubicBezTo>
                  <a:cubicBezTo>
                    <a:pt x="1966214" y="20807"/>
                    <a:pt x="1961411" y="22479"/>
                    <a:pt x="1959810" y="35854"/>
                  </a:cubicBezTo>
                  <a:cubicBezTo>
                    <a:pt x="1956609" y="42542"/>
                    <a:pt x="1953407" y="54246"/>
                    <a:pt x="1948604" y="60933"/>
                  </a:cubicBezTo>
                  <a:cubicBezTo>
                    <a:pt x="1943802" y="67621"/>
                    <a:pt x="1929394" y="69293"/>
                    <a:pt x="1926193" y="75981"/>
                  </a:cubicBezTo>
                  <a:cubicBezTo>
                    <a:pt x="1922991" y="82668"/>
                    <a:pt x="1926193" y="99388"/>
                    <a:pt x="1930995" y="106075"/>
                  </a:cubicBezTo>
                  <a:cubicBezTo>
                    <a:pt x="1935798" y="112763"/>
                    <a:pt x="1948604" y="112763"/>
                    <a:pt x="1953407" y="116107"/>
                  </a:cubicBezTo>
                  <a:cubicBezTo>
                    <a:pt x="1956609" y="121123"/>
                    <a:pt x="1972617" y="104403"/>
                    <a:pt x="1964613" y="122795"/>
                  </a:cubicBezTo>
                  <a:cubicBezTo>
                    <a:pt x="1966214" y="127810"/>
                    <a:pt x="1967814" y="144530"/>
                    <a:pt x="1967814" y="151217"/>
                  </a:cubicBezTo>
                  <a:cubicBezTo>
                    <a:pt x="1967814" y="157905"/>
                    <a:pt x="1966214" y="161249"/>
                    <a:pt x="1963012" y="167937"/>
                  </a:cubicBezTo>
                  <a:cubicBezTo>
                    <a:pt x="1959810" y="174624"/>
                    <a:pt x="1950205" y="186328"/>
                    <a:pt x="1943802" y="191343"/>
                  </a:cubicBezTo>
                  <a:cubicBezTo>
                    <a:pt x="1937398" y="196359"/>
                    <a:pt x="1927793" y="198031"/>
                    <a:pt x="1921390" y="203047"/>
                  </a:cubicBezTo>
                  <a:cubicBezTo>
                    <a:pt x="1914987" y="208063"/>
                    <a:pt x="1905382" y="214750"/>
                    <a:pt x="1905382" y="223110"/>
                  </a:cubicBezTo>
                  <a:cubicBezTo>
                    <a:pt x="1897378" y="246517"/>
                    <a:pt x="1890974" y="244845"/>
                    <a:pt x="1918188" y="256549"/>
                  </a:cubicBezTo>
                  <a:cubicBezTo>
                    <a:pt x="1922991" y="263236"/>
                    <a:pt x="1929394" y="266580"/>
                    <a:pt x="1935798" y="268252"/>
                  </a:cubicBezTo>
                  <a:cubicBezTo>
                    <a:pt x="1943802" y="271596"/>
                    <a:pt x="1956609" y="271596"/>
                    <a:pt x="1963012" y="276612"/>
                  </a:cubicBezTo>
                  <a:cubicBezTo>
                    <a:pt x="1972617" y="283299"/>
                    <a:pt x="1938999" y="291659"/>
                    <a:pt x="1979020" y="303362"/>
                  </a:cubicBezTo>
                  <a:cubicBezTo>
                    <a:pt x="1988625" y="308378"/>
                    <a:pt x="2004634" y="303362"/>
                    <a:pt x="2017440" y="306706"/>
                  </a:cubicBezTo>
                  <a:cubicBezTo>
                    <a:pt x="2030247" y="310050"/>
                    <a:pt x="2043054" y="325098"/>
                    <a:pt x="2054260" y="328441"/>
                  </a:cubicBezTo>
                  <a:cubicBezTo>
                    <a:pt x="2065465" y="331785"/>
                    <a:pt x="2081474" y="330113"/>
                    <a:pt x="2089478" y="328441"/>
                  </a:cubicBezTo>
                  <a:cubicBezTo>
                    <a:pt x="2097482" y="326769"/>
                    <a:pt x="2100684" y="320082"/>
                    <a:pt x="2107087" y="318410"/>
                  </a:cubicBezTo>
                  <a:lnTo>
                    <a:pt x="2127898" y="318410"/>
                  </a:lnTo>
                  <a:cubicBezTo>
                    <a:pt x="2132700" y="320082"/>
                    <a:pt x="2127898" y="330113"/>
                    <a:pt x="2132700" y="331785"/>
                  </a:cubicBezTo>
                  <a:cubicBezTo>
                    <a:pt x="2137503" y="333457"/>
                    <a:pt x="2151910" y="330113"/>
                    <a:pt x="2159915" y="331785"/>
                  </a:cubicBezTo>
                  <a:cubicBezTo>
                    <a:pt x="2167919" y="333457"/>
                    <a:pt x="2177524" y="338473"/>
                    <a:pt x="2183927" y="341817"/>
                  </a:cubicBezTo>
                  <a:cubicBezTo>
                    <a:pt x="2190331" y="345161"/>
                    <a:pt x="2195133" y="351848"/>
                    <a:pt x="2204738" y="353520"/>
                  </a:cubicBezTo>
                  <a:cubicBezTo>
                    <a:pt x="2214343" y="360208"/>
                    <a:pt x="2227150" y="343489"/>
                    <a:pt x="2238356" y="356864"/>
                  </a:cubicBezTo>
                  <a:cubicBezTo>
                    <a:pt x="2246360" y="360208"/>
                    <a:pt x="2252763" y="368568"/>
                    <a:pt x="2255965" y="376927"/>
                  </a:cubicBezTo>
                  <a:cubicBezTo>
                    <a:pt x="2259166" y="385287"/>
                    <a:pt x="2259166" y="395318"/>
                    <a:pt x="2260767" y="403678"/>
                  </a:cubicBezTo>
                  <a:cubicBezTo>
                    <a:pt x="2262368" y="412038"/>
                    <a:pt x="2265570" y="425413"/>
                    <a:pt x="2270372" y="430429"/>
                  </a:cubicBezTo>
                  <a:cubicBezTo>
                    <a:pt x="2273574" y="437117"/>
                    <a:pt x="2283179" y="435445"/>
                    <a:pt x="2289582" y="437117"/>
                  </a:cubicBezTo>
                  <a:cubicBezTo>
                    <a:pt x="2295986" y="438788"/>
                    <a:pt x="2299187" y="445476"/>
                    <a:pt x="2313595" y="447148"/>
                  </a:cubicBezTo>
                  <a:cubicBezTo>
                    <a:pt x="2328002" y="448820"/>
                    <a:pt x="2358418" y="442132"/>
                    <a:pt x="2372826" y="443804"/>
                  </a:cubicBezTo>
                  <a:cubicBezTo>
                    <a:pt x="2388834" y="445476"/>
                    <a:pt x="2384032" y="455508"/>
                    <a:pt x="2400040" y="462195"/>
                  </a:cubicBezTo>
                  <a:cubicBezTo>
                    <a:pt x="2409645" y="465539"/>
                    <a:pt x="2420851" y="460523"/>
                    <a:pt x="2428855" y="463867"/>
                  </a:cubicBezTo>
                  <a:cubicBezTo>
                    <a:pt x="2436859" y="467211"/>
                    <a:pt x="2438460" y="477243"/>
                    <a:pt x="2444863" y="482258"/>
                  </a:cubicBezTo>
                  <a:cubicBezTo>
                    <a:pt x="2451267" y="487274"/>
                    <a:pt x="2464073" y="488946"/>
                    <a:pt x="2472078" y="492290"/>
                  </a:cubicBezTo>
                  <a:cubicBezTo>
                    <a:pt x="2484884" y="497306"/>
                    <a:pt x="2478481" y="502322"/>
                    <a:pt x="2491288" y="507337"/>
                  </a:cubicBezTo>
                  <a:cubicBezTo>
                    <a:pt x="2497691" y="509009"/>
                    <a:pt x="2529708" y="512353"/>
                    <a:pt x="2529708" y="512353"/>
                  </a:cubicBezTo>
                  <a:cubicBezTo>
                    <a:pt x="2540914" y="509009"/>
                    <a:pt x="2550519" y="502322"/>
                    <a:pt x="2558523" y="483930"/>
                  </a:cubicBezTo>
                  <a:cubicBezTo>
                    <a:pt x="2566527" y="477243"/>
                    <a:pt x="2574531" y="482258"/>
                    <a:pt x="2577733" y="473899"/>
                  </a:cubicBezTo>
                  <a:cubicBezTo>
                    <a:pt x="2580935" y="465539"/>
                    <a:pt x="2579334" y="445476"/>
                    <a:pt x="2577733" y="432101"/>
                  </a:cubicBezTo>
                  <a:cubicBezTo>
                    <a:pt x="2576132" y="418725"/>
                    <a:pt x="2563325" y="407022"/>
                    <a:pt x="2563325" y="396990"/>
                  </a:cubicBezTo>
                  <a:cubicBezTo>
                    <a:pt x="2566527" y="390303"/>
                    <a:pt x="2577733" y="370239"/>
                    <a:pt x="2582535" y="366896"/>
                  </a:cubicBezTo>
                  <a:cubicBezTo>
                    <a:pt x="2590540" y="360208"/>
                    <a:pt x="2595342" y="348504"/>
                    <a:pt x="2611350" y="343489"/>
                  </a:cubicBezTo>
                  <a:cubicBezTo>
                    <a:pt x="2620955" y="338473"/>
                    <a:pt x="2630560" y="336801"/>
                    <a:pt x="2641766" y="333457"/>
                  </a:cubicBezTo>
                  <a:cubicBezTo>
                    <a:pt x="2652972" y="330113"/>
                    <a:pt x="2668981" y="325098"/>
                    <a:pt x="2683388" y="323426"/>
                  </a:cubicBezTo>
                  <a:cubicBezTo>
                    <a:pt x="2697796" y="323426"/>
                    <a:pt x="2705800" y="315066"/>
                    <a:pt x="2728211" y="323426"/>
                  </a:cubicBezTo>
                  <a:cubicBezTo>
                    <a:pt x="2739417" y="325098"/>
                    <a:pt x="2747421" y="333457"/>
                    <a:pt x="2755426" y="336801"/>
                  </a:cubicBezTo>
                  <a:cubicBezTo>
                    <a:pt x="2763430" y="340145"/>
                    <a:pt x="2776237" y="336801"/>
                    <a:pt x="2779438" y="341817"/>
                  </a:cubicBezTo>
                  <a:cubicBezTo>
                    <a:pt x="2782640" y="346833"/>
                    <a:pt x="2773035" y="366896"/>
                    <a:pt x="2779438" y="371911"/>
                  </a:cubicBezTo>
                  <a:cubicBezTo>
                    <a:pt x="2785842" y="376927"/>
                    <a:pt x="2808253" y="373583"/>
                    <a:pt x="2821060" y="376927"/>
                  </a:cubicBezTo>
                  <a:cubicBezTo>
                    <a:pt x="2833867" y="381943"/>
                    <a:pt x="2846673" y="385287"/>
                    <a:pt x="2859480" y="390303"/>
                  </a:cubicBezTo>
                  <a:cubicBezTo>
                    <a:pt x="2865883" y="391975"/>
                    <a:pt x="2885093" y="386959"/>
                    <a:pt x="2885093" y="386959"/>
                  </a:cubicBezTo>
                  <a:cubicBezTo>
                    <a:pt x="2893098" y="388631"/>
                    <a:pt x="2899501" y="390303"/>
                    <a:pt x="2909106" y="396990"/>
                  </a:cubicBezTo>
                  <a:cubicBezTo>
                    <a:pt x="2915509" y="403678"/>
                    <a:pt x="2913908" y="422069"/>
                    <a:pt x="2920312" y="427085"/>
                  </a:cubicBezTo>
                  <a:cubicBezTo>
                    <a:pt x="2926715" y="432101"/>
                    <a:pt x="2931518" y="425413"/>
                    <a:pt x="2942723" y="423741"/>
                  </a:cubicBezTo>
                  <a:cubicBezTo>
                    <a:pt x="2952328" y="423741"/>
                    <a:pt x="2971539" y="417053"/>
                    <a:pt x="2992349" y="418725"/>
                  </a:cubicBezTo>
                  <a:cubicBezTo>
                    <a:pt x="3003555" y="420397"/>
                    <a:pt x="2998753" y="427085"/>
                    <a:pt x="3006757" y="428757"/>
                  </a:cubicBezTo>
                  <a:cubicBezTo>
                    <a:pt x="3014761" y="430429"/>
                    <a:pt x="3030769" y="425413"/>
                    <a:pt x="3040374" y="427085"/>
                  </a:cubicBezTo>
                  <a:cubicBezTo>
                    <a:pt x="3049979" y="428757"/>
                    <a:pt x="3057984" y="440460"/>
                    <a:pt x="3067589" y="442132"/>
                  </a:cubicBezTo>
                  <a:cubicBezTo>
                    <a:pt x="3075593" y="448820"/>
                    <a:pt x="3080395" y="438788"/>
                    <a:pt x="3096404" y="442132"/>
                  </a:cubicBezTo>
                  <a:cubicBezTo>
                    <a:pt x="3102807" y="443804"/>
                    <a:pt x="3102807" y="452164"/>
                    <a:pt x="3110811" y="453836"/>
                  </a:cubicBezTo>
                  <a:cubicBezTo>
                    <a:pt x="3118815" y="455508"/>
                    <a:pt x="3133223" y="450492"/>
                    <a:pt x="3141227" y="452164"/>
                  </a:cubicBezTo>
                  <a:cubicBezTo>
                    <a:pt x="3149231" y="453836"/>
                    <a:pt x="3150832" y="460523"/>
                    <a:pt x="3160437" y="463867"/>
                  </a:cubicBezTo>
                  <a:cubicBezTo>
                    <a:pt x="3168441" y="465539"/>
                    <a:pt x="3182849" y="473899"/>
                    <a:pt x="3197256" y="472227"/>
                  </a:cubicBezTo>
                  <a:cubicBezTo>
                    <a:pt x="3210063" y="470555"/>
                    <a:pt x="3227672" y="457180"/>
                    <a:pt x="3235676" y="452164"/>
                  </a:cubicBezTo>
                  <a:cubicBezTo>
                    <a:pt x="3242080" y="450492"/>
                    <a:pt x="3243681" y="437117"/>
                    <a:pt x="3250084" y="437117"/>
                  </a:cubicBezTo>
                  <a:cubicBezTo>
                    <a:pt x="3259689" y="433773"/>
                    <a:pt x="3245281" y="427085"/>
                    <a:pt x="3290105" y="428757"/>
                  </a:cubicBezTo>
                  <a:cubicBezTo>
                    <a:pt x="3299710" y="427085"/>
                    <a:pt x="3302912" y="422069"/>
                    <a:pt x="3309315" y="422069"/>
                  </a:cubicBezTo>
                  <a:cubicBezTo>
                    <a:pt x="3315718" y="422069"/>
                    <a:pt x="3323722" y="423741"/>
                    <a:pt x="3333327" y="423741"/>
                  </a:cubicBezTo>
                  <a:cubicBezTo>
                    <a:pt x="3342932" y="423741"/>
                    <a:pt x="3360542" y="423741"/>
                    <a:pt x="3366945" y="427085"/>
                  </a:cubicBezTo>
                  <a:cubicBezTo>
                    <a:pt x="3373348" y="430429"/>
                    <a:pt x="3366945" y="438788"/>
                    <a:pt x="3370147" y="442132"/>
                  </a:cubicBezTo>
                  <a:cubicBezTo>
                    <a:pt x="3373348" y="445476"/>
                    <a:pt x="3384554" y="442132"/>
                    <a:pt x="3390958" y="443804"/>
                  </a:cubicBezTo>
                  <a:cubicBezTo>
                    <a:pt x="3397361" y="445476"/>
                    <a:pt x="3405365" y="450492"/>
                    <a:pt x="3413369" y="452164"/>
                  </a:cubicBezTo>
                  <a:cubicBezTo>
                    <a:pt x="3421373" y="453836"/>
                    <a:pt x="3430978" y="457180"/>
                    <a:pt x="3437382" y="457180"/>
                  </a:cubicBezTo>
                  <a:cubicBezTo>
                    <a:pt x="3443785" y="457180"/>
                    <a:pt x="3448588" y="450492"/>
                    <a:pt x="3456592" y="448820"/>
                  </a:cubicBezTo>
                  <a:cubicBezTo>
                    <a:pt x="3464596" y="447148"/>
                    <a:pt x="3475802" y="452164"/>
                    <a:pt x="3485407" y="452164"/>
                  </a:cubicBezTo>
                  <a:cubicBezTo>
                    <a:pt x="3495012" y="452164"/>
                    <a:pt x="3512621" y="453836"/>
                    <a:pt x="3519024" y="450492"/>
                  </a:cubicBezTo>
                  <a:cubicBezTo>
                    <a:pt x="3528629" y="453836"/>
                    <a:pt x="3522226" y="427085"/>
                    <a:pt x="3528629" y="433773"/>
                  </a:cubicBezTo>
                  <a:cubicBezTo>
                    <a:pt x="3531831" y="437117"/>
                    <a:pt x="3539835" y="458852"/>
                    <a:pt x="3543037" y="467211"/>
                  </a:cubicBezTo>
                  <a:cubicBezTo>
                    <a:pt x="3546239" y="475571"/>
                    <a:pt x="3549440" y="480587"/>
                    <a:pt x="3552642" y="488946"/>
                  </a:cubicBezTo>
                  <a:cubicBezTo>
                    <a:pt x="3555844" y="497306"/>
                    <a:pt x="3560646" y="507337"/>
                    <a:pt x="3563848" y="517369"/>
                  </a:cubicBezTo>
                  <a:cubicBezTo>
                    <a:pt x="3565449" y="525729"/>
                    <a:pt x="3573453" y="527400"/>
                    <a:pt x="3571852" y="547464"/>
                  </a:cubicBezTo>
                  <a:cubicBezTo>
                    <a:pt x="3573453" y="555823"/>
                    <a:pt x="3578255" y="562511"/>
                    <a:pt x="3578255" y="569199"/>
                  </a:cubicBezTo>
                  <a:cubicBezTo>
                    <a:pt x="3578255" y="575886"/>
                    <a:pt x="3571852" y="584246"/>
                    <a:pt x="3571852" y="592606"/>
                  </a:cubicBezTo>
                  <a:cubicBezTo>
                    <a:pt x="3571852" y="600965"/>
                    <a:pt x="3578255" y="610997"/>
                    <a:pt x="3576655" y="617684"/>
                  </a:cubicBezTo>
                  <a:cubicBezTo>
                    <a:pt x="3575054" y="624372"/>
                    <a:pt x="3563848" y="624372"/>
                    <a:pt x="3557445" y="637748"/>
                  </a:cubicBezTo>
                  <a:cubicBezTo>
                    <a:pt x="3555844" y="657811"/>
                    <a:pt x="3549440" y="686233"/>
                    <a:pt x="3539835" y="702953"/>
                  </a:cubicBezTo>
                  <a:cubicBezTo>
                    <a:pt x="3538234" y="704625"/>
                    <a:pt x="3512621" y="679546"/>
                    <a:pt x="3509419" y="677874"/>
                  </a:cubicBezTo>
                  <a:cubicBezTo>
                    <a:pt x="3498214" y="666170"/>
                    <a:pt x="3480604" y="646107"/>
                    <a:pt x="3472600" y="634404"/>
                  </a:cubicBezTo>
                  <a:cubicBezTo>
                    <a:pt x="3466197" y="622700"/>
                    <a:pt x="3472600" y="617684"/>
                    <a:pt x="3467798" y="607653"/>
                  </a:cubicBezTo>
                  <a:cubicBezTo>
                    <a:pt x="3462995" y="597621"/>
                    <a:pt x="3450189" y="587590"/>
                    <a:pt x="3442184" y="577558"/>
                  </a:cubicBezTo>
                  <a:cubicBezTo>
                    <a:pt x="3435781" y="569199"/>
                    <a:pt x="3435781" y="564183"/>
                    <a:pt x="3432579" y="557495"/>
                  </a:cubicBezTo>
                  <a:cubicBezTo>
                    <a:pt x="3429378" y="550807"/>
                    <a:pt x="3421373" y="537432"/>
                    <a:pt x="3418172" y="539104"/>
                  </a:cubicBezTo>
                  <a:cubicBezTo>
                    <a:pt x="3416571" y="539104"/>
                    <a:pt x="3411768" y="557495"/>
                    <a:pt x="3413369" y="564183"/>
                  </a:cubicBezTo>
                  <a:cubicBezTo>
                    <a:pt x="3414970" y="570871"/>
                    <a:pt x="3424575" y="574214"/>
                    <a:pt x="3429378" y="584246"/>
                  </a:cubicBezTo>
                  <a:cubicBezTo>
                    <a:pt x="3434180" y="594277"/>
                    <a:pt x="3434180" y="610997"/>
                    <a:pt x="3438983" y="622700"/>
                  </a:cubicBezTo>
                  <a:cubicBezTo>
                    <a:pt x="3443785" y="634404"/>
                    <a:pt x="3454991" y="649451"/>
                    <a:pt x="3462995" y="659483"/>
                  </a:cubicBezTo>
                  <a:cubicBezTo>
                    <a:pt x="3470999" y="669514"/>
                    <a:pt x="3480604" y="674530"/>
                    <a:pt x="3490209" y="682890"/>
                  </a:cubicBezTo>
                  <a:cubicBezTo>
                    <a:pt x="3501415" y="692921"/>
                    <a:pt x="3512621" y="704625"/>
                    <a:pt x="3523827" y="712984"/>
                  </a:cubicBezTo>
                  <a:cubicBezTo>
                    <a:pt x="3516123" y="713298"/>
                    <a:pt x="3500214" y="704207"/>
                    <a:pt x="3501415" y="712984"/>
                  </a:cubicBezTo>
                  <a:cubicBezTo>
                    <a:pt x="3501415" y="718000"/>
                    <a:pt x="3520625" y="733047"/>
                    <a:pt x="3525428" y="744751"/>
                  </a:cubicBezTo>
                  <a:cubicBezTo>
                    <a:pt x="3530230" y="756454"/>
                    <a:pt x="3527029" y="773174"/>
                    <a:pt x="3531831" y="784877"/>
                  </a:cubicBezTo>
                  <a:cubicBezTo>
                    <a:pt x="3535033" y="799924"/>
                    <a:pt x="3547840" y="806612"/>
                    <a:pt x="3552642" y="819987"/>
                  </a:cubicBezTo>
                  <a:cubicBezTo>
                    <a:pt x="3559045" y="833363"/>
                    <a:pt x="3567050" y="853426"/>
                    <a:pt x="3573453" y="865129"/>
                  </a:cubicBezTo>
                  <a:cubicBezTo>
                    <a:pt x="3584659" y="871817"/>
                    <a:pt x="3595865" y="890208"/>
                    <a:pt x="3595865" y="890208"/>
                  </a:cubicBezTo>
                  <a:cubicBezTo>
                    <a:pt x="3603869" y="905256"/>
                    <a:pt x="3626280" y="942038"/>
                    <a:pt x="3634285" y="958757"/>
                  </a:cubicBezTo>
                  <a:cubicBezTo>
                    <a:pt x="3643890" y="973805"/>
                    <a:pt x="3651894" y="972133"/>
                    <a:pt x="3653495" y="980492"/>
                  </a:cubicBezTo>
                  <a:cubicBezTo>
                    <a:pt x="3656696" y="988852"/>
                    <a:pt x="3639087" y="988852"/>
                    <a:pt x="3645491" y="1005571"/>
                  </a:cubicBezTo>
                  <a:cubicBezTo>
                    <a:pt x="3645491" y="1015603"/>
                    <a:pt x="3651894" y="1030650"/>
                    <a:pt x="3655096" y="1040682"/>
                  </a:cubicBezTo>
                  <a:cubicBezTo>
                    <a:pt x="3658297" y="1050713"/>
                    <a:pt x="3663100" y="1059073"/>
                    <a:pt x="3669503" y="1064088"/>
                  </a:cubicBezTo>
                  <a:cubicBezTo>
                    <a:pt x="3675906" y="1069104"/>
                    <a:pt x="3691915" y="1060745"/>
                    <a:pt x="3696717" y="1065760"/>
                  </a:cubicBezTo>
                  <a:cubicBezTo>
                    <a:pt x="3703121" y="1069104"/>
                    <a:pt x="3698318" y="1082480"/>
                    <a:pt x="3703121" y="1090839"/>
                  </a:cubicBezTo>
                  <a:cubicBezTo>
                    <a:pt x="3707923" y="1094183"/>
                    <a:pt x="3715927" y="1087495"/>
                    <a:pt x="3722331" y="1090839"/>
                  </a:cubicBezTo>
                  <a:cubicBezTo>
                    <a:pt x="3727133" y="1095855"/>
                    <a:pt x="3735137" y="1104215"/>
                    <a:pt x="3736738" y="1114246"/>
                  </a:cubicBezTo>
                  <a:cubicBezTo>
                    <a:pt x="3739940" y="1124278"/>
                    <a:pt x="3743142" y="1139325"/>
                    <a:pt x="3746343" y="1151029"/>
                  </a:cubicBezTo>
                  <a:cubicBezTo>
                    <a:pt x="3747944" y="1166076"/>
                    <a:pt x="3752747" y="1167748"/>
                    <a:pt x="3759150" y="1181123"/>
                  </a:cubicBezTo>
                  <a:cubicBezTo>
                    <a:pt x="3762352" y="1187811"/>
                    <a:pt x="3759150" y="1199514"/>
                    <a:pt x="3762352" y="1206202"/>
                  </a:cubicBezTo>
                  <a:cubicBezTo>
                    <a:pt x="3763952" y="1216234"/>
                    <a:pt x="3763952" y="1224593"/>
                    <a:pt x="3765553" y="1246328"/>
                  </a:cubicBezTo>
                  <a:cubicBezTo>
                    <a:pt x="3767154" y="1261376"/>
                    <a:pt x="3771957" y="1279767"/>
                    <a:pt x="3775158" y="1294814"/>
                  </a:cubicBezTo>
                  <a:cubicBezTo>
                    <a:pt x="3778360" y="1309862"/>
                    <a:pt x="3776759" y="1326581"/>
                    <a:pt x="3784763" y="1339956"/>
                  </a:cubicBezTo>
                  <a:cubicBezTo>
                    <a:pt x="3786364" y="1358347"/>
                    <a:pt x="3819982" y="1373395"/>
                    <a:pt x="3819982" y="1373395"/>
                  </a:cubicBezTo>
                  <a:cubicBezTo>
                    <a:pt x="3827986" y="1383426"/>
                    <a:pt x="3839192" y="1386770"/>
                    <a:pt x="3847196" y="1395130"/>
                  </a:cubicBezTo>
                  <a:cubicBezTo>
                    <a:pt x="3855200" y="1403489"/>
                    <a:pt x="3858402" y="1413521"/>
                    <a:pt x="3864805" y="1420209"/>
                  </a:cubicBezTo>
                  <a:cubicBezTo>
                    <a:pt x="3871208" y="1425224"/>
                    <a:pt x="3884015" y="1433584"/>
                    <a:pt x="3884015" y="1433584"/>
                  </a:cubicBezTo>
                  <a:cubicBezTo>
                    <a:pt x="3888818" y="1441944"/>
                    <a:pt x="3892019" y="1450303"/>
                    <a:pt x="3898423" y="1470366"/>
                  </a:cubicBezTo>
                  <a:cubicBezTo>
                    <a:pt x="3901624" y="1483742"/>
                    <a:pt x="3903225" y="1502133"/>
                    <a:pt x="3908028" y="1515508"/>
                  </a:cubicBezTo>
                  <a:cubicBezTo>
                    <a:pt x="3912830" y="1528884"/>
                    <a:pt x="3917633" y="1542259"/>
                    <a:pt x="3922435" y="1553963"/>
                  </a:cubicBezTo>
                  <a:cubicBezTo>
                    <a:pt x="3927238" y="1565666"/>
                    <a:pt x="3922435" y="1572354"/>
                    <a:pt x="3938444" y="1587401"/>
                  </a:cubicBezTo>
                  <a:cubicBezTo>
                    <a:pt x="3944847" y="1594089"/>
                    <a:pt x="3954452" y="1592417"/>
                    <a:pt x="3957654" y="1597433"/>
                  </a:cubicBezTo>
                  <a:cubicBezTo>
                    <a:pt x="3960855" y="1602449"/>
                    <a:pt x="3952851" y="1617496"/>
                    <a:pt x="3957654" y="1620840"/>
                  </a:cubicBezTo>
                  <a:cubicBezTo>
                    <a:pt x="3962456" y="1624184"/>
                    <a:pt x="3975263" y="1614152"/>
                    <a:pt x="3981666" y="1617496"/>
                  </a:cubicBezTo>
                  <a:cubicBezTo>
                    <a:pt x="3988069" y="1620840"/>
                    <a:pt x="3988069" y="1632543"/>
                    <a:pt x="3994473" y="1635887"/>
                  </a:cubicBezTo>
                  <a:cubicBezTo>
                    <a:pt x="4000876" y="1639231"/>
                    <a:pt x="4010481" y="1637559"/>
                    <a:pt x="4018485" y="1640903"/>
                  </a:cubicBezTo>
                  <a:cubicBezTo>
                    <a:pt x="4026489" y="1645919"/>
                    <a:pt x="4037695" y="1642575"/>
                    <a:pt x="4042498" y="1652606"/>
                  </a:cubicBezTo>
                  <a:cubicBezTo>
                    <a:pt x="4053704" y="1660966"/>
                    <a:pt x="4072914" y="1677685"/>
                    <a:pt x="4080918" y="1687717"/>
                  </a:cubicBezTo>
                  <a:cubicBezTo>
                    <a:pt x="4090523" y="1696076"/>
                    <a:pt x="4087321" y="1707780"/>
                    <a:pt x="4095325" y="1716139"/>
                  </a:cubicBezTo>
                  <a:cubicBezTo>
                    <a:pt x="4101729" y="1721155"/>
                    <a:pt x="4114535" y="1714468"/>
                    <a:pt x="4119338" y="1717811"/>
                  </a:cubicBezTo>
                  <a:cubicBezTo>
                    <a:pt x="4124140" y="1721155"/>
                    <a:pt x="4122540" y="1726171"/>
                    <a:pt x="4127342" y="1734531"/>
                  </a:cubicBezTo>
                  <a:cubicBezTo>
                    <a:pt x="4132145" y="1741218"/>
                    <a:pt x="4138548" y="1761281"/>
                    <a:pt x="4144951" y="1766297"/>
                  </a:cubicBezTo>
                  <a:cubicBezTo>
                    <a:pt x="4149754" y="1771313"/>
                    <a:pt x="4167363" y="1772985"/>
                    <a:pt x="4172166" y="1778001"/>
                  </a:cubicBezTo>
                  <a:cubicBezTo>
                    <a:pt x="4180170" y="1783016"/>
                    <a:pt x="4180170" y="1778001"/>
                    <a:pt x="4186573" y="1783016"/>
                  </a:cubicBezTo>
                  <a:cubicBezTo>
                    <a:pt x="4191376" y="1788032"/>
                    <a:pt x="4196178" y="1801408"/>
                    <a:pt x="4200981" y="1808095"/>
                  </a:cubicBezTo>
                  <a:cubicBezTo>
                    <a:pt x="4202582" y="1814783"/>
                    <a:pt x="4220191" y="1823143"/>
                    <a:pt x="4216989" y="1828158"/>
                  </a:cubicBezTo>
                  <a:cubicBezTo>
                    <a:pt x="4216989" y="1833174"/>
                    <a:pt x="4221792" y="1851565"/>
                    <a:pt x="4215388" y="1856581"/>
                  </a:cubicBezTo>
                  <a:cubicBezTo>
                    <a:pt x="4208985" y="1863269"/>
                    <a:pt x="4188174" y="1864941"/>
                    <a:pt x="4178569" y="1868285"/>
                  </a:cubicBezTo>
                  <a:cubicBezTo>
                    <a:pt x="4172166" y="1871629"/>
                    <a:pt x="4156157" y="1876644"/>
                    <a:pt x="4159359" y="1881660"/>
                  </a:cubicBezTo>
                  <a:cubicBezTo>
                    <a:pt x="4165762" y="1885004"/>
                    <a:pt x="4212187" y="1886676"/>
                    <a:pt x="4221792" y="1891692"/>
                  </a:cubicBezTo>
                  <a:cubicBezTo>
                    <a:pt x="4231397" y="1898379"/>
                    <a:pt x="4207384" y="1903395"/>
                    <a:pt x="4221792" y="1916770"/>
                  </a:cubicBezTo>
                  <a:cubicBezTo>
                    <a:pt x="4228195" y="1926802"/>
                    <a:pt x="4249006" y="1941849"/>
                    <a:pt x="4263413" y="1951881"/>
                  </a:cubicBezTo>
                  <a:cubicBezTo>
                    <a:pt x="4277821" y="1961912"/>
                    <a:pt x="4295430" y="1970272"/>
                    <a:pt x="4308237" y="1971944"/>
                  </a:cubicBezTo>
                  <a:cubicBezTo>
                    <a:pt x="4322644" y="1973616"/>
                    <a:pt x="4316241" y="1963584"/>
                    <a:pt x="4340253" y="1958569"/>
                  </a:cubicBezTo>
                  <a:cubicBezTo>
                    <a:pt x="4349858" y="1955225"/>
                    <a:pt x="4356262" y="1950209"/>
                    <a:pt x="4364266" y="1946865"/>
                  </a:cubicBezTo>
                  <a:cubicBezTo>
                    <a:pt x="4372270" y="1943521"/>
                    <a:pt x="4375472" y="1941849"/>
                    <a:pt x="4389879" y="1941849"/>
                  </a:cubicBezTo>
                  <a:cubicBezTo>
                    <a:pt x="4404287" y="1941849"/>
                    <a:pt x="4433102" y="1943521"/>
                    <a:pt x="4447509" y="1941849"/>
                  </a:cubicBezTo>
                  <a:cubicBezTo>
                    <a:pt x="4463518" y="1938506"/>
                    <a:pt x="4450711" y="1931818"/>
                    <a:pt x="4476325" y="1926802"/>
                  </a:cubicBezTo>
                  <a:cubicBezTo>
                    <a:pt x="4485930" y="1921786"/>
                    <a:pt x="4493934" y="1915099"/>
                    <a:pt x="4505140" y="1913427"/>
                  </a:cubicBezTo>
                  <a:cubicBezTo>
                    <a:pt x="4516345" y="1911755"/>
                    <a:pt x="4532354" y="1918442"/>
                    <a:pt x="4541959" y="1916770"/>
                  </a:cubicBezTo>
                  <a:cubicBezTo>
                    <a:pt x="4551564" y="1915099"/>
                    <a:pt x="4556366" y="1910083"/>
                    <a:pt x="4565971" y="1908411"/>
                  </a:cubicBezTo>
                  <a:cubicBezTo>
                    <a:pt x="4575576" y="1906739"/>
                    <a:pt x="4594786" y="1903395"/>
                    <a:pt x="4601190" y="1903395"/>
                  </a:cubicBezTo>
                  <a:cubicBezTo>
                    <a:pt x="4603791" y="1905903"/>
                    <a:pt x="4598388" y="1910919"/>
                    <a:pt x="4609194" y="1908411"/>
                  </a:cubicBezTo>
                  <a:cubicBezTo>
                    <a:pt x="4615597" y="1906739"/>
                    <a:pt x="4630005" y="1900051"/>
                    <a:pt x="4642811" y="1896707"/>
                  </a:cubicBezTo>
                  <a:cubicBezTo>
                    <a:pt x="4655618" y="1893364"/>
                    <a:pt x="4671627" y="1895035"/>
                    <a:pt x="4684433" y="1888348"/>
                  </a:cubicBezTo>
                  <a:cubicBezTo>
                    <a:pt x="4697240" y="1885004"/>
                    <a:pt x="4708446" y="1859925"/>
                    <a:pt x="4719652" y="1861597"/>
                  </a:cubicBezTo>
                  <a:cubicBezTo>
                    <a:pt x="4730857" y="1856581"/>
                    <a:pt x="4748467" y="1858253"/>
                    <a:pt x="4754870" y="1861597"/>
                  </a:cubicBezTo>
                  <a:cubicBezTo>
                    <a:pt x="4761273" y="1864941"/>
                    <a:pt x="4758072" y="1871629"/>
                    <a:pt x="4758072" y="1878316"/>
                  </a:cubicBezTo>
                  <a:cubicBezTo>
                    <a:pt x="4758072" y="1885004"/>
                    <a:pt x="4753269" y="1891692"/>
                    <a:pt x="4753269" y="1901723"/>
                  </a:cubicBezTo>
                  <a:cubicBezTo>
                    <a:pt x="4753269" y="1913427"/>
                    <a:pt x="4754870" y="1926802"/>
                    <a:pt x="4754870" y="1936834"/>
                  </a:cubicBezTo>
                  <a:cubicBezTo>
                    <a:pt x="4754870" y="1946865"/>
                    <a:pt x="4754870" y="1956897"/>
                    <a:pt x="4753269" y="1963584"/>
                  </a:cubicBezTo>
                  <a:cubicBezTo>
                    <a:pt x="4751668" y="1970272"/>
                    <a:pt x="4746866" y="1966928"/>
                    <a:pt x="4743664" y="1978632"/>
                  </a:cubicBezTo>
                  <a:cubicBezTo>
                    <a:pt x="4740462" y="1990335"/>
                    <a:pt x="4740462" y="2020430"/>
                    <a:pt x="4735660" y="2033805"/>
                  </a:cubicBezTo>
                  <a:cubicBezTo>
                    <a:pt x="4730857" y="2047181"/>
                    <a:pt x="4721252" y="2050525"/>
                    <a:pt x="4716450" y="2058884"/>
                  </a:cubicBezTo>
                  <a:cubicBezTo>
                    <a:pt x="4711647" y="2067244"/>
                    <a:pt x="4711647" y="2075603"/>
                    <a:pt x="4706845" y="2087307"/>
                  </a:cubicBezTo>
                  <a:cubicBezTo>
                    <a:pt x="4702042" y="2099010"/>
                    <a:pt x="4692437" y="2115730"/>
                    <a:pt x="4687635" y="2127433"/>
                  </a:cubicBezTo>
                  <a:cubicBezTo>
                    <a:pt x="4682832" y="2139137"/>
                    <a:pt x="4681232" y="2142480"/>
                    <a:pt x="4673227" y="2157528"/>
                  </a:cubicBezTo>
                  <a:cubicBezTo>
                    <a:pt x="4658820" y="2179263"/>
                    <a:pt x="4657219" y="2190966"/>
                    <a:pt x="4642811" y="2212701"/>
                  </a:cubicBezTo>
                  <a:cubicBezTo>
                    <a:pt x="4636408" y="2229420"/>
                    <a:pt x="4623601" y="2241124"/>
                    <a:pt x="4620400" y="2252827"/>
                  </a:cubicBezTo>
                  <a:cubicBezTo>
                    <a:pt x="4617198" y="2264531"/>
                    <a:pt x="4622001" y="2272891"/>
                    <a:pt x="4620400" y="2279578"/>
                  </a:cubicBezTo>
                  <a:cubicBezTo>
                    <a:pt x="4618799" y="2287938"/>
                    <a:pt x="4612396" y="2289610"/>
                    <a:pt x="4607593" y="2296297"/>
                  </a:cubicBezTo>
                  <a:cubicBezTo>
                    <a:pt x="4602791" y="2302985"/>
                    <a:pt x="4605992" y="2302985"/>
                    <a:pt x="4594786" y="2323048"/>
                  </a:cubicBezTo>
                  <a:cubicBezTo>
                    <a:pt x="4586782" y="2334752"/>
                    <a:pt x="4572375" y="2349799"/>
                    <a:pt x="4562770" y="2364846"/>
                  </a:cubicBezTo>
                  <a:cubicBezTo>
                    <a:pt x="4553165" y="2379894"/>
                    <a:pt x="4548362" y="2401629"/>
                    <a:pt x="4537156" y="2416676"/>
                  </a:cubicBezTo>
                  <a:cubicBezTo>
                    <a:pt x="4527551" y="2431723"/>
                    <a:pt x="4508341" y="2440083"/>
                    <a:pt x="4498736" y="2455130"/>
                  </a:cubicBezTo>
                  <a:cubicBezTo>
                    <a:pt x="4484329" y="2478537"/>
                    <a:pt x="4482728" y="2483553"/>
                    <a:pt x="4457115" y="2500272"/>
                  </a:cubicBezTo>
                  <a:cubicBezTo>
                    <a:pt x="4426699" y="2547086"/>
                    <a:pt x="4477925" y="2503616"/>
                    <a:pt x="4421896" y="2537055"/>
                  </a:cubicBezTo>
                  <a:cubicBezTo>
                    <a:pt x="4409089" y="2545414"/>
                    <a:pt x="4402686" y="2562134"/>
                    <a:pt x="4389879" y="2570493"/>
                  </a:cubicBezTo>
                  <a:cubicBezTo>
                    <a:pt x="4380274" y="2580525"/>
                    <a:pt x="4383476" y="2567149"/>
                    <a:pt x="4361064" y="2580525"/>
                  </a:cubicBezTo>
                  <a:cubicBezTo>
                    <a:pt x="4353060" y="2585541"/>
                    <a:pt x="4345056" y="2592228"/>
                    <a:pt x="4337052" y="2598916"/>
                  </a:cubicBezTo>
                  <a:cubicBezTo>
                    <a:pt x="4329048" y="2605604"/>
                    <a:pt x="4325846" y="2610619"/>
                    <a:pt x="4313039" y="2618979"/>
                  </a:cubicBezTo>
                  <a:cubicBezTo>
                    <a:pt x="4300233" y="2627339"/>
                    <a:pt x="4273018" y="2639042"/>
                    <a:pt x="4260212" y="2649074"/>
                  </a:cubicBezTo>
                  <a:cubicBezTo>
                    <a:pt x="4249006" y="2660777"/>
                    <a:pt x="4253808" y="2665793"/>
                    <a:pt x="4239401" y="2679168"/>
                  </a:cubicBezTo>
                  <a:cubicBezTo>
                    <a:pt x="4229796" y="2690872"/>
                    <a:pt x="4213787" y="2704247"/>
                    <a:pt x="4202582" y="2714279"/>
                  </a:cubicBezTo>
                  <a:cubicBezTo>
                    <a:pt x="4191376" y="2724310"/>
                    <a:pt x="4180170" y="2729326"/>
                    <a:pt x="4172166" y="2741030"/>
                  </a:cubicBezTo>
                  <a:cubicBezTo>
                    <a:pt x="4162561" y="2749389"/>
                    <a:pt x="4156157" y="2776140"/>
                    <a:pt x="4149754" y="2784500"/>
                  </a:cubicBezTo>
                  <a:cubicBezTo>
                    <a:pt x="4143351" y="2792859"/>
                    <a:pt x="4133746" y="2786172"/>
                    <a:pt x="4128943" y="2789515"/>
                  </a:cubicBezTo>
                  <a:cubicBezTo>
                    <a:pt x="4124140" y="2792859"/>
                    <a:pt x="4125741" y="2802891"/>
                    <a:pt x="4124140" y="2809579"/>
                  </a:cubicBezTo>
                  <a:cubicBezTo>
                    <a:pt x="4122540" y="2816266"/>
                    <a:pt x="4122540" y="2819610"/>
                    <a:pt x="4116136" y="2829642"/>
                  </a:cubicBezTo>
                  <a:cubicBezTo>
                    <a:pt x="4109275" y="2840561"/>
                    <a:pt x="4105748" y="2846675"/>
                    <a:pt x="4104187" y="2849912"/>
                  </a:cubicBezTo>
                  <a:cubicBezTo>
                    <a:pt x="4101729" y="2850541"/>
                    <a:pt x="4096526" y="2855139"/>
                    <a:pt x="4085720" y="2866424"/>
                  </a:cubicBezTo>
                  <a:cubicBezTo>
                    <a:pt x="4077716" y="2876456"/>
                    <a:pt x="4068111" y="2871440"/>
                    <a:pt x="4061708" y="2879799"/>
                  </a:cubicBezTo>
                  <a:cubicBezTo>
                    <a:pt x="4055305" y="2888159"/>
                    <a:pt x="4055305" y="2904878"/>
                    <a:pt x="4047300" y="2911566"/>
                  </a:cubicBezTo>
                  <a:cubicBezTo>
                    <a:pt x="4040897" y="2918254"/>
                    <a:pt x="4024889" y="2914910"/>
                    <a:pt x="4018485" y="2919926"/>
                  </a:cubicBezTo>
                  <a:cubicBezTo>
                    <a:pt x="4012082" y="2924941"/>
                    <a:pt x="4007279" y="2933301"/>
                    <a:pt x="4004078" y="2941661"/>
                  </a:cubicBezTo>
                  <a:cubicBezTo>
                    <a:pt x="3999275" y="2950020"/>
                    <a:pt x="4002477" y="2968411"/>
                    <a:pt x="3994473" y="2975099"/>
                  </a:cubicBezTo>
                  <a:cubicBezTo>
                    <a:pt x="3989670" y="2983459"/>
                    <a:pt x="3980065" y="2986803"/>
                    <a:pt x="3975263" y="2995162"/>
                  </a:cubicBezTo>
                  <a:cubicBezTo>
                    <a:pt x="3970460" y="3005194"/>
                    <a:pt x="3973662" y="2995162"/>
                    <a:pt x="3962456" y="3025257"/>
                  </a:cubicBezTo>
                  <a:cubicBezTo>
                    <a:pt x="3957654" y="3035288"/>
                    <a:pt x="3952851" y="3052008"/>
                    <a:pt x="3948049" y="3060367"/>
                  </a:cubicBezTo>
                  <a:cubicBezTo>
                    <a:pt x="3943246" y="3068727"/>
                    <a:pt x="3936843" y="3065383"/>
                    <a:pt x="3933641" y="3072071"/>
                  </a:cubicBezTo>
                  <a:cubicBezTo>
                    <a:pt x="3930439" y="3078759"/>
                    <a:pt x="3935242" y="3092134"/>
                    <a:pt x="3932040" y="3102165"/>
                  </a:cubicBezTo>
                  <a:cubicBezTo>
                    <a:pt x="3928838" y="3112197"/>
                    <a:pt x="3917633" y="3125572"/>
                    <a:pt x="3914431" y="3137276"/>
                  </a:cubicBezTo>
                  <a:cubicBezTo>
                    <a:pt x="3911229" y="3148979"/>
                    <a:pt x="3908028" y="3160683"/>
                    <a:pt x="3909628" y="3172386"/>
                  </a:cubicBezTo>
                  <a:cubicBezTo>
                    <a:pt x="3909628" y="3185762"/>
                    <a:pt x="3919233" y="3200809"/>
                    <a:pt x="3924036" y="3212513"/>
                  </a:cubicBezTo>
                  <a:cubicBezTo>
                    <a:pt x="3928838" y="3224216"/>
                    <a:pt x="3938444" y="3234248"/>
                    <a:pt x="3941645" y="3240935"/>
                  </a:cubicBezTo>
                  <a:cubicBezTo>
                    <a:pt x="3942046" y="3236024"/>
                    <a:pt x="3939644" y="3221290"/>
                    <a:pt x="3948049" y="3252639"/>
                  </a:cubicBezTo>
                  <a:cubicBezTo>
                    <a:pt x="3948049" y="3259326"/>
                    <a:pt x="3941645" y="3274374"/>
                    <a:pt x="3941645" y="3286077"/>
                  </a:cubicBezTo>
                  <a:cubicBezTo>
                    <a:pt x="3941645" y="3297781"/>
                    <a:pt x="3943246" y="3311156"/>
                    <a:pt x="3943246" y="3322860"/>
                  </a:cubicBezTo>
                  <a:cubicBezTo>
                    <a:pt x="3943246" y="3334563"/>
                    <a:pt x="3940044" y="3347938"/>
                    <a:pt x="3941645" y="3357970"/>
                  </a:cubicBezTo>
                  <a:cubicBezTo>
                    <a:pt x="3943246" y="3368002"/>
                    <a:pt x="3949649" y="3378033"/>
                    <a:pt x="3952851" y="3388065"/>
                  </a:cubicBezTo>
                  <a:cubicBezTo>
                    <a:pt x="3956053" y="3398096"/>
                    <a:pt x="3956053" y="3409800"/>
                    <a:pt x="3957654" y="3421503"/>
                  </a:cubicBezTo>
                  <a:cubicBezTo>
                    <a:pt x="3959254" y="3433207"/>
                    <a:pt x="3962456" y="3453270"/>
                    <a:pt x="3967259" y="3463301"/>
                  </a:cubicBezTo>
                  <a:cubicBezTo>
                    <a:pt x="3972061" y="3473333"/>
                    <a:pt x="3981666" y="3478349"/>
                    <a:pt x="3989670" y="3483364"/>
                  </a:cubicBezTo>
                  <a:cubicBezTo>
                    <a:pt x="3997674" y="3488380"/>
                    <a:pt x="4007279" y="3483364"/>
                    <a:pt x="4012082" y="3493396"/>
                  </a:cubicBezTo>
                  <a:cubicBezTo>
                    <a:pt x="4024889" y="3535194"/>
                    <a:pt x="4026489" y="3480021"/>
                    <a:pt x="4023288" y="3543554"/>
                  </a:cubicBezTo>
                  <a:cubicBezTo>
                    <a:pt x="4024889" y="3560273"/>
                    <a:pt x="4015284" y="3538538"/>
                    <a:pt x="4010481" y="3592040"/>
                  </a:cubicBezTo>
                  <a:cubicBezTo>
                    <a:pt x="4008880" y="3608759"/>
                    <a:pt x="4015284" y="3625478"/>
                    <a:pt x="4015284" y="3643869"/>
                  </a:cubicBezTo>
                  <a:cubicBezTo>
                    <a:pt x="4015284" y="3662260"/>
                    <a:pt x="4015284" y="3680652"/>
                    <a:pt x="4015284" y="3699043"/>
                  </a:cubicBezTo>
                  <a:cubicBezTo>
                    <a:pt x="4015284" y="3717434"/>
                    <a:pt x="4013683" y="3735825"/>
                    <a:pt x="4015284" y="3752544"/>
                  </a:cubicBezTo>
                  <a:cubicBezTo>
                    <a:pt x="4016884" y="3769264"/>
                    <a:pt x="4028090" y="3785983"/>
                    <a:pt x="4028090" y="3797686"/>
                  </a:cubicBezTo>
                  <a:cubicBezTo>
                    <a:pt x="4028090" y="3809390"/>
                    <a:pt x="4021687" y="3817749"/>
                    <a:pt x="4018485" y="3827781"/>
                  </a:cubicBezTo>
                  <a:cubicBezTo>
                    <a:pt x="4015284" y="3837813"/>
                    <a:pt x="4015284" y="3854532"/>
                    <a:pt x="4010481" y="3862891"/>
                  </a:cubicBezTo>
                  <a:cubicBezTo>
                    <a:pt x="4005679" y="3871251"/>
                    <a:pt x="3996074" y="3869579"/>
                    <a:pt x="3989670" y="3877939"/>
                  </a:cubicBezTo>
                  <a:cubicBezTo>
                    <a:pt x="3984868" y="3887970"/>
                    <a:pt x="3984868" y="3894658"/>
                    <a:pt x="3970460" y="3909705"/>
                  </a:cubicBezTo>
                  <a:cubicBezTo>
                    <a:pt x="3964057" y="3919737"/>
                    <a:pt x="3964057" y="3928097"/>
                    <a:pt x="3952851" y="3938128"/>
                  </a:cubicBezTo>
                  <a:cubicBezTo>
                    <a:pt x="3941645" y="3948160"/>
                    <a:pt x="3917633" y="3959863"/>
                    <a:pt x="3903225" y="3968223"/>
                  </a:cubicBezTo>
                  <a:cubicBezTo>
                    <a:pt x="3888818" y="3976582"/>
                    <a:pt x="3880813" y="3979926"/>
                    <a:pt x="3866406" y="3984942"/>
                  </a:cubicBezTo>
                  <a:cubicBezTo>
                    <a:pt x="3855200" y="3988286"/>
                    <a:pt x="3848797" y="3983270"/>
                    <a:pt x="3837591" y="3988286"/>
                  </a:cubicBezTo>
                  <a:cubicBezTo>
                    <a:pt x="3826385" y="3993302"/>
                    <a:pt x="3808776" y="4011693"/>
                    <a:pt x="3794368" y="4020052"/>
                  </a:cubicBezTo>
                  <a:cubicBezTo>
                    <a:pt x="3779961" y="4030084"/>
                    <a:pt x="3768755" y="4033428"/>
                    <a:pt x="3754347" y="4048475"/>
                  </a:cubicBezTo>
                  <a:cubicBezTo>
                    <a:pt x="3738339" y="4073554"/>
                    <a:pt x="3725532" y="4090273"/>
                    <a:pt x="3703121" y="4110336"/>
                  </a:cubicBezTo>
                  <a:cubicBezTo>
                    <a:pt x="3691915" y="4120368"/>
                    <a:pt x="3683911" y="4130400"/>
                    <a:pt x="3669503" y="4135415"/>
                  </a:cubicBezTo>
                  <a:cubicBezTo>
                    <a:pt x="3656696" y="4140431"/>
                    <a:pt x="3639087" y="4165510"/>
                    <a:pt x="3639087" y="4165510"/>
                  </a:cubicBezTo>
                  <a:cubicBezTo>
                    <a:pt x="3629482" y="4173870"/>
                    <a:pt x="3607070" y="4170526"/>
                    <a:pt x="3602268" y="4178885"/>
                  </a:cubicBezTo>
                  <a:cubicBezTo>
                    <a:pt x="3594264" y="4187245"/>
                    <a:pt x="3592663" y="4203964"/>
                    <a:pt x="3592663" y="4213996"/>
                  </a:cubicBezTo>
                  <a:cubicBezTo>
                    <a:pt x="3591062" y="4220684"/>
                    <a:pt x="3602268" y="4239075"/>
                    <a:pt x="3602268" y="4239075"/>
                  </a:cubicBezTo>
                  <a:cubicBezTo>
                    <a:pt x="3603869" y="4247434"/>
                    <a:pt x="3610272" y="4240747"/>
                    <a:pt x="3615075" y="4255794"/>
                  </a:cubicBezTo>
                  <a:cubicBezTo>
                    <a:pt x="3616675" y="4264154"/>
                    <a:pt x="3613474" y="4279201"/>
                    <a:pt x="3616675" y="4290904"/>
                  </a:cubicBezTo>
                  <a:cubicBezTo>
                    <a:pt x="3619877" y="4302608"/>
                    <a:pt x="3629482" y="4314311"/>
                    <a:pt x="3634285" y="4329359"/>
                  </a:cubicBezTo>
                  <a:cubicBezTo>
                    <a:pt x="3639087" y="4347750"/>
                    <a:pt x="3645491" y="4354438"/>
                    <a:pt x="3643890" y="4386204"/>
                  </a:cubicBezTo>
                  <a:cubicBezTo>
                    <a:pt x="3645491" y="4402923"/>
                    <a:pt x="3647091" y="4417971"/>
                    <a:pt x="3645491" y="4429674"/>
                  </a:cubicBezTo>
                  <a:cubicBezTo>
                    <a:pt x="3643890" y="4441378"/>
                    <a:pt x="3635885" y="4448065"/>
                    <a:pt x="3634285" y="4456425"/>
                  </a:cubicBezTo>
                  <a:cubicBezTo>
                    <a:pt x="3632684" y="4464785"/>
                    <a:pt x="3635885" y="4474816"/>
                    <a:pt x="3634285" y="4484848"/>
                  </a:cubicBezTo>
                  <a:cubicBezTo>
                    <a:pt x="3632684" y="4494879"/>
                    <a:pt x="3634285" y="4506583"/>
                    <a:pt x="3627881" y="4516614"/>
                  </a:cubicBezTo>
                  <a:cubicBezTo>
                    <a:pt x="3618276" y="4526646"/>
                    <a:pt x="3607070" y="4531662"/>
                    <a:pt x="3595865" y="4541693"/>
                  </a:cubicBezTo>
                  <a:cubicBezTo>
                    <a:pt x="3583058" y="4553397"/>
                    <a:pt x="3576655" y="4545037"/>
                    <a:pt x="3562247" y="4555069"/>
                  </a:cubicBezTo>
                  <a:cubicBezTo>
                    <a:pt x="3551041" y="4560084"/>
                    <a:pt x="3533432" y="4566772"/>
                    <a:pt x="3519024" y="4575132"/>
                  </a:cubicBezTo>
                  <a:cubicBezTo>
                    <a:pt x="3506218" y="4580148"/>
                    <a:pt x="3496613" y="4576804"/>
                    <a:pt x="3485407" y="4581819"/>
                  </a:cubicBezTo>
                  <a:cubicBezTo>
                    <a:pt x="3472600" y="4586835"/>
                    <a:pt x="3451789" y="4610242"/>
                    <a:pt x="3451789" y="4610242"/>
                  </a:cubicBezTo>
                  <a:cubicBezTo>
                    <a:pt x="3446987" y="4616930"/>
                    <a:pt x="3434180" y="4628633"/>
                    <a:pt x="3434180" y="4636993"/>
                  </a:cubicBezTo>
                  <a:cubicBezTo>
                    <a:pt x="3434180" y="4650368"/>
                    <a:pt x="3446987" y="4655384"/>
                    <a:pt x="3446987" y="4655384"/>
                  </a:cubicBezTo>
                  <a:cubicBezTo>
                    <a:pt x="3448588" y="4662072"/>
                    <a:pt x="3469399" y="4608570"/>
                    <a:pt x="3462995" y="4631977"/>
                  </a:cubicBezTo>
                  <a:cubicBezTo>
                    <a:pt x="3464596" y="4633649"/>
                    <a:pt x="3461394" y="4647025"/>
                    <a:pt x="3458193" y="4662072"/>
                  </a:cubicBezTo>
                  <a:cubicBezTo>
                    <a:pt x="3454991" y="4677119"/>
                    <a:pt x="3451789" y="4700526"/>
                    <a:pt x="3448588" y="4717245"/>
                  </a:cubicBezTo>
                  <a:cubicBezTo>
                    <a:pt x="3445386" y="4733965"/>
                    <a:pt x="3442184" y="4747340"/>
                    <a:pt x="3437382" y="4760715"/>
                  </a:cubicBezTo>
                  <a:cubicBezTo>
                    <a:pt x="3432579" y="4774091"/>
                    <a:pt x="3430978" y="4784122"/>
                    <a:pt x="3422974" y="4797498"/>
                  </a:cubicBezTo>
                  <a:cubicBezTo>
                    <a:pt x="3418172" y="4817561"/>
                    <a:pt x="3402163" y="4834280"/>
                    <a:pt x="3386155" y="4845984"/>
                  </a:cubicBezTo>
                  <a:cubicBezTo>
                    <a:pt x="3371748" y="4856015"/>
                    <a:pt x="3362143" y="4866047"/>
                    <a:pt x="3346134" y="4871063"/>
                  </a:cubicBezTo>
                  <a:cubicBezTo>
                    <a:pt x="3334928" y="4882766"/>
                    <a:pt x="3325323" y="4894470"/>
                    <a:pt x="3317319" y="4911189"/>
                  </a:cubicBezTo>
                  <a:cubicBezTo>
                    <a:pt x="3307714" y="4926236"/>
                    <a:pt x="3298109" y="4951315"/>
                    <a:pt x="3290105" y="4966362"/>
                  </a:cubicBezTo>
                  <a:cubicBezTo>
                    <a:pt x="3280500" y="4979738"/>
                    <a:pt x="3275697" y="4998129"/>
                    <a:pt x="3264492" y="5006489"/>
                  </a:cubicBezTo>
                  <a:cubicBezTo>
                    <a:pt x="3254887" y="5016520"/>
                    <a:pt x="3240479" y="5016520"/>
                    <a:pt x="3227672" y="5028224"/>
                  </a:cubicBezTo>
                  <a:cubicBezTo>
                    <a:pt x="3213265" y="5049959"/>
                    <a:pt x="3206861" y="5054974"/>
                    <a:pt x="3192454" y="5076709"/>
                  </a:cubicBezTo>
                  <a:cubicBezTo>
                    <a:pt x="3181248" y="5093429"/>
                    <a:pt x="3173244" y="5091757"/>
                    <a:pt x="3155635" y="5103460"/>
                  </a:cubicBezTo>
                  <a:cubicBezTo>
                    <a:pt x="3144429" y="5113492"/>
                    <a:pt x="3134824" y="5123523"/>
                    <a:pt x="3122017" y="5133555"/>
                  </a:cubicBezTo>
                  <a:cubicBezTo>
                    <a:pt x="3109210" y="5143586"/>
                    <a:pt x="3094803" y="5155290"/>
                    <a:pt x="3081996" y="5163649"/>
                  </a:cubicBezTo>
                  <a:cubicBezTo>
                    <a:pt x="3069190" y="5166993"/>
                    <a:pt x="3061185" y="5178697"/>
                    <a:pt x="3048379" y="5183713"/>
                  </a:cubicBezTo>
                  <a:cubicBezTo>
                    <a:pt x="3041975" y="5185385"/>
                    <a:pt x="3014761" y="5192072"/>
                    <a:pt x="3014761" y="5192072"/>
                  </a:cubicBezTo>
                  <a:cubicBezTo>
                    <a:pt x="3001954" y="5197088"/>
                    <a:pt x="2989148" y="5203776"/>
                    <a:pt x="2977942" y="5207120"/>
                  </a:cubicBezTo>
                  <a:cubicBezTo>
                    <a:pt x="2969938" y="5208791"/>
                    <a:pt x="2966736" y="5198760"/>
                    <a:pt x="2961934" y="5198760"/>
                  </a:cubicBezTo>
                  <a:cubicBezTo>
                    <a:pt x="2957131" y="5198760"/>
                    <a:pt x="2955530" y="5207120"/>
                    <a:pt x="2949127" y="5212135"/>
                  </a:cubicBezTo>
                  <a:cubicBezTo>
                    <a:pt x="2942723" y="5215479"/>
                    <a:pt x="2933118" y="5218823"/>
                    <a:pt x="2920312" y="5223839"/>
                  </a:cubicBezTo>
                  <a:cubicBezTo>
                    <a:pt x="2913908" y="5223839"/>
                    <a:pt x="2913908" y="5212135"/>
                    <a:pt x="2909106" y="5212135"/>
                  </a:cubicBezTo>
                  <a:cubicBezTo>
                    <a:pt x="2904303" y="5212135"/>
                    <a:pt x="2901102" y="5222167"/>
                    <a:pt x="2894698" y="5227183"/>
                  </a:cubicBezTo>
                  <a:cubicBezTo>
                    <a:pt x="2888295" y="5232198"/>
                    <a:pt x="2880291" y="5238886"/>
                    <a:pt x="2872287" y="5238886"/>
                  </a:cubicBezTo>
                  <a:cubicBezTo>
                    <a:pt x="2864283" y="5240558"/>
                    <a:pt x="2861081" y="5225511"/>
                    <a:pt x="2846673" y="5223839"/>
                  </a:cubicBezTo>
                  <a:cubicBezTo>
                    <a:pt x="2832266" y="5222167"/>
                    <a:pt x="2808253" y="5228855"/>
                    <a:pt x="2785842" y="5228855"/>
                  </a:cubicBezTo>
                  <a:cubicBezTo>
                    <a:pt x="2763430" y="5228855"/>
                    <a:pt x="2731413" y="5220495"/>
                    <a:pt x="2713804" y="5223839"/>
                  </a:cubicBezTo>
                  <a:cubicBezTo>
                    <a:pt x="2696195" y="5227183"/>
                    <a:pt x="2697796" y="5247246"/>
                    <a:pt x="2680186" y="5252262"/>
                  </a:cubicBezTo>
                  <a:cubicBezTo>
                    <a:pt x="2662577" y="5257277"/>
                    <a:pt x="2624157" y="5250590"/>
                    <a:pt x="2608149" y="5252262"/>
                  </a:cubicBezTo>
                  <a:cubicBezTo>
                    <a:pt x="2592140" y="5253933"/>
                    <a:pt x="2592140" y="5253933"/>
                    <a:pt x="2584136" y="5258949"/>
                  </a:cubicBezTo>
                  <a:cubicBezTo>
                    <a:pt x="2576132" y="5272325"/>
                    <a:pt x="2574531" y="5280684"/>
                    <a:pt x="2555321" y="5279012"/>
                  </a:cubicBezTo>
                  <a:cubicBezTo>
                    <a:pt x="2542514" y="5277340"/>
                    <a:pt x="2524905" y="5273997"/>
                    <a:pt x="2524905" y="5273997"/>
                  </a:cubicBezTo>
                  <a:cubicBezTo>
                    <a:pt x="2515300" y="5268981"/>
                    <a:pt x="2526506" y="5260621"/>
                    <a:pt x="2516901" y="5253933"/>
                  </a:cubicBezTo>
                  <a:cubicBezTo>
                    <a:pt x="2512099" y="5250590"/>
                    <a:pt x="2497691" y="5257277"/>
                    <a:pt x="2492889" y="5252262"/>
                  </a:cubicBezTo>
                  <a:cubicBezTo>
                    <a:pt x="2488086" y="5247246"/>
                    <a:pt x="2492889" y="5227183"/>
                    <a:pt x="2488086" y="5223839"/>
                  </a:cubicBezTo>
                  <a:cubicBezTo>
                    <a:pt x="2483284" y="5220495"/>
                    <a:pt x="2467275" y="5228855"/>
                    <a:pt x="2462473" y="5232198"/>
                  </a:cubicBezTo>
                  <a:cubicBezTo>
                    <a:pt x="2454468" y="5228855"/>
                    <a:pt x="2467275" y="5258949"/>
                    <a:pt x="2459271" y="5248918"/>
                  </a:cubicBezTo>
                  <a:cubicBezTo>
                    <a:pt x="2457670" y="5247246"/>
                    <a:pt x="2452868" y="5227183"/>
                    <a:pt x="2452868" y="5218823"/>
                  </a:cubicBezTo>
                  <a:cubicBezTo>
                    <a:pt x="2452868" y="5210463"/>
                    <a:pt x="2465674" y="5208791"/>
                    <a:pt x="2462473" y="5198760"/>
                  </a:cubicBezTo>
                  <a:cubicBezTo>
                    <a:pt x="2459271" y="5188728"/>
                    <a:pt x="2433658" y="5168665"/>
                    <a:pt x="2428855" y="5158634"/>
                  </a:cubicBezTo>
                  <a:cubicBezTo>
                    <a:pt x="2425653" y="5146930"/>
                    <a:pt x="2425653" y="5141914"/>
                    <a:pt x="2428855" y="5133555"/>
                  </a:cubicBezTo>
                  <a:cubicBezTo>
                    <a:pt x="2433658" y="5126867"/>
                    <a:pt x="2449666" y="5130211"/>
                    <a:pt x="2452868" y="5118507"/>
                  </a:cubicBezTo>
                  <a:cubicBezTo>
                    <a:pt x="2454468" y="5108476"/>
                    <a:pt x="2457670" y="5081725"/>
                    <a:pt x="2449666" y="5058318"/>
                  </a:cubicBezTo>
                  <a:cubicBezTo>
                    <a:pt x="2443263" y="5039927"/>
                    <a:pt x="2422452" y="5024880"/>
                    <a:pt x="2414448" y="5011504"/>
                  </a:cubicBezTo>
                  <a:cubicBezTo>
                    <a:pt x="2406443" y="4998129"/>
                    <a:pt x="2401641" y="4986425"/>
                    <a:pt x="2396838" y="4976394"/>
                  </a:cubicBezTo>
                  <a:cubicBezTo>
                    <a:pt x="2392036" y="4963018"/>
                    <a:pt x="2388834" y="4958003"/>
                    <a:pt x="2385633" y="4947971"/>
                  </a:cubicBezTo>
                  <a:cubicBezTo>
                    <a:pt x="2382431" y="4937940"/>
                    <a:pt x="2376028" y="4929580"/>
                    <a:pt x="2372826" y="4917876"/>
                  </a:cubicBezTo>
                  <a:cubicBezTo>
                    <a:pt x="2368023" y="4906173"/>
                    <a:pt x="2368023" y="4891126"/>
                    <a:pt x="2363221" y="4881094"/>
                  </a:cubicBezTo>
                  <a:cubicBezTo>
                    <a:pt x="2358418" y="4869391"/>
                    <a:pt x="2353616" y="4861031"/>
                    <a:pt x="2342410" y="4845984"/>
                  </a:cubicBezTo>
                  <a:cubicBezTo>
                    <a:pt x="2331204" y="4829264"/>
                    <a:pt x="2303990" y="4804186"/>
                    <a:pt x="2291183" y="4787466"/>
                  </a:cubicBezTo>
                  <a:cubicBezTo>
                    <a:pt x="2278377" y="4770747"/>
                    <a:pt x="2271973" y="4760715"/>
                    <a:pt x="2263969" y="4743996"/>
                  </a:cubicBezTo>
                  <a:cubicBezTo>
                    <a:pt x="2257566" y="4723933"/>
                    <a:pt x="2251162" y="4703870"/>
                    <a:pt x="2244759" y="4683807"/>
                  </a:cubicBezTo>
                  <a:cubicBezTo>
                    <a:pt x="2243158" y="4677119"/>
                    <a:pt x="2238356" y="4663744"/>
                    <a:pt x="2238356" y="4663744"/>
                  </a:cubicBezTo>
                  <a:cubicBezTo>
                    <a:pt x="2236755" y="4653712"/>
                    <a:pt x="2233553" y="4655384"/>
                    <a:pt x="2227150" y="4625290"/>
                  </a:cubicBezTo>
                  <a:cubicBezTo>
                    <a:pt x="2223948" y="4605226"/>
                    <a:pt x="2225549" y="4565100"/>
                    <a:pt x="2222347" y="4546709"/>
                  </a:cubicBezTo>
                  <a:cubicBezTo>
                    <a:pt x="2219146" y="4528318"/>
                    <a:pt x="2212742" y="4524974"/>
                    <a:pt x="2209541" y="4514942"/>
                  </a:cubicBezTo>
                  <a:cubicBezTo>
                    <a:pt x="2206339" y="4504911"/>
                    <a:pt x="2201536" y="4494879"/>
                    <a:pt x="2199936" y="4483176"/>
                  </a:cubicBezTo>
                  <a:cubicBezTo>
                    <a:pt x="2196734" y="4471472"/>
                    <a:pt x="2209541" y="4476488"/>
                    <a:pt x="2203137" y="4444722"/>
                  </a:cubicBezTo>
                  <a:cubicBezTo>
                    <a:pt x="2203137" y="4434690"/>
                    <a:pt x="2196734" y="4428002"/>
                    <a:pt x="2198335" y="4419643"/>
                  </a:cubicBezTo>
                  <a:cubicBezTo>
                    <a:pt x="2199936" y="4411283"/>
                    <a:pt x="2212742" y="4404595"/>
                    <a:pt x="2207940" y="4391220"/>
                  </a:cubicBezTo>
                  <a:cubicBezTo>
                    <a:pt x="2203137" y="4377845"/>
                    <a:pt x="2182326" y="4351094"/>
                    <a:pt x="2174322" y="4336046"/>
                  </a:cubicBezTo>
                  <a:cubicBezTo>
                    <a:pt x="2166318" y="4320999"/>
                    <a:pt x="2163116" y="4310968"/>
                    <a:pt x="2155112" y="4295920"/>
                  </a:cubicBezTo>
                  <a:cubicBezTo>
                    <a:pt x="2147108" y="4279201"/>
                    <a:pt x="2132700" y="4260810"/>
                    <a:pt x="2126297" y="4244091"/>
                  </a:cubicBezTo>
                  <a:cubicBezTo>
                    <a:pt x="2118293" y="4227371"/>
                    <a:pt x="2108688" y="4213996"/>
                    <a:pt x="2102285" y="4198949"/>
                  </a:cubicBezTo>
                  <a:cubicBezTo>
                    <a:pt x="2097482" y="4183901"/>
                    <a:pt x="2095881" y="4170526"/>
                    <a:pt x="2091079" y="4155478"/>
                  </a:cubicBezTo>
                  <a:cubicBezTo>
                    <a:pt x="2086276" y="4140431"/>
                    <a:pt x="2078272" y="4130400"/>
                    <a:pt x="2070268" y="4118696"/>
                  </a:cubicBezTo>
                  <a:cubicBezTo>
                    <a:pt x="2062264" y="4106993"/>
                    <a:pt x="2054260" y="4101977"/>
                    <a:pt x="2046255" y="4088601"/>
                  </a:cubicBezTo>
                  <a:cubicBezTo>
                    <a:pt x="2036650" y="4071882"/>
                    <a:pt x="2020642" y="4071882"/>
                    <a:pt x="2017440" y="4035100"/>
                  </a:cubicBezTo>
                  <a:cubicBezTo>
                    <a:pt x="2012638" y="4016709"/>
                    <a:pt x="2014239" y="3994974"/>
                    <a:pt x="2015839" y="3979926"/>
                  </a:cubicBezTo>
                  <a:cubicBezTo>
                    <a:pt x="2017440" y="3964879"/>
                    <a:pt x="2022243" y="3961535"/>
                    <a:pt x="2022243" y="3948160"/>
                  </a:cubicBezTo>
                  <a:cubicBezTo>
                    <a:pt x="2022243" y="3934784"/>
                    <a:pt x="2017440" y="3908033"/>
                    <a:pt x="2020642" y="3894658"/>
                  </a:cubicBezTo>
                  <a:cubicBezTo>
                    <a:pt x="2023844" y="3881283"/>
                    <a:pt x="2039852" y="3877939"/>
                    <a:pt x="2044655" y="3867907"/>
                  </a:cubicBezTo>
                  <a:cubicBezTo>
                    <a:pt x="2047856" y="3857876"/>
                    <a:pt x="2046255" y="3841156"/>
                    <a:pt x="2046255" y="3829453"/>
                  </a:cubicBezTo>
                  <a:cubicBezTo>
                    <a:pt x="2047856" y="3816078"/>
                    <a:pt x="2054260" y="3799358"/>
                    <a:pt x="2055860" y="3787655"/>
                  </a:cubicBezTo>
                  <a:cubicBezTo>
                    <a:pt x="2059062" y="3774279"/>
                    <a:pt x="2059062" y="3754216"/>
                    <a:pt x="2059062" y="3754216"/>
                  </a:cubicBezTo>
                  <a:cubicBezTo>
                    <a:pt x="2060863" y="3748887"/>
                    <a:pt x="2062664" y="3755470"/>
                    <a:pt x="2073470" y="3744185"/>
                  </a:cubicBezTo>
                  <a:cubicBezTo>
                    <a:pt x="2076671" y="3735825"/>
                    <a:pt x="2076671" y="3710746"/>
                    <a:pt x="2083075" y="3702387"/>
                  </a:cubicBezTo>
                  <a:cubicBezTo>
                    <a:pt x="2089478" y="3694027"/>
                    <a:pt x="2105486" y="3697371"/>
                    <a:pt x="2111890" y="3689011"/>
                  </a:cubicBezTo>
                  <a:cubicBezTo>
                    <a:pt x="2118293" y="3680652"/>
                    <a:pt x="2111890" y="3660589"/>
                    <a:pt x="2118293" y="3652229"/>
                  </a:cubicBezTo>
                  <a:cubicBezTo>
                    <a:pt x="2124696" y="3643869"/>
                    <a:pt x="2143906" y="3650557"/>
                    <a:pt x="2150310" y="3637182"/>
                  </a:cubicBezTo>
                  <a:cubicBezTo>
                    <a:pt x="2156713" y="3627150"/>
                    <a:pt x="2166318" y="3605415"/>
                    <a:pt x="2159915" y="3566961"/>
                  </a:cubicBezTo>
                  <a:cubicBezTo>
                    <a:pt x="2161515" y="3550241"/>
                    <a:pt x="2166318" y="3543554"/>
                    <a:pt x="2164717" y="3531850"/>
                  </a:cubicBezTo>
                  <a:cubicBezTo>
                    <a:pt x="2163116" y="3520147"/>
                    <a:pt x="2151910" y="3510115"/>
                    <a:pt x="2145507" y="3498412"/>
                  </a:cubicBezTo>
                  <a:cubicBezTo>
                    <a:pt x="2139104" y="3486708"/>
                    <a:pt x="2134301" y="3476677"/>
                    <a:pt x="2127898" y="3461629"/>
                  </a:cubicBezTo>
                  <a:cubicBezTo>
                    <a:pt x="2121495" y="3446582"/>
                    <a:pt x="2111890" y="3418159"/>
                    <a:pt x="2110289" y="3406456"/>
                  </a:cubicBezTo>
                  <a:cubicBezTo>
                    <a:pt x="2113190" y="3402381"/>
                    <a:pt x="2118293" y="3412726"/>
                    <a:pt x="2113490" y="3386393"/>
                  </a:cubicBezTo>
                  <a:cubicBezTo>
                    <a:pt x="2116692" y="3379705"/>
                    <a:pt x="2123095" y="3374689"/>
                    <a:pt x="2126297" y="3368002"/>
                  </a:cubicBezTo>
                  <a:cubicBezTo>
                    <a:pt x="2129499" y="3361314"/>
                    <a:pt x="2139104" y="3361314"/>
                    <a:pt x="2135902" y="3346267"/>
                  </a:cubicBezTo>
                  <a:cubicBezTo>
                    <a:pt x="2132700" y="3331219"/>
                    <a:pt x="2110289" y="3297781"/>
                    <a:pt x="2103885" y="3281061"/>
                  </a:cubicBezTo>
                  <a:cubicBezTo>
                    <a:pt x="2097482" y="3264342"/>
                    <a:pt x="2100684" y="3255983"/>
                    <a:pt x="2094280" y="3240935"/>
                  </a:cubicBezTo>
                  <a:cubicBezTo>
                    <a:pt x="2087877" y="3225888"/>
                    <a:pt x="2076671" y="3219200"/>
                    <a:pt x="2065465" y="3192449"/>
                  </a:cubicBezTo>
                  <a:cubicBezTo>
                    <a:pt x="2054260" y="3152323"/>
                    <a:pt x="2060663" y="3102165"/>
                    <a:pt x="2027045" y="3078759"/>
                  </a:cubicBezTo>
                  <a:cubicBezTo>
                    <a:pt x="2017440" y="3055352"/>
                    <a:pt x="2014239" y="3052008"/>
                    <a:pt x="2003033" y="3040304"/>
                  </a:cubicBezTo>
                  <a:cubicBezTo>
                    <a:pt x="1995029" y="3030273"/>
                    <a:pt x="1985424" y="3031945"/>
                    <a:pt x="1974218" y="3021913"/>
                  </a:cubicBezTo>
                  <a:cubicBezTo>
                    <a:pt x="1961411" y="2983459"/>
                    <a:pt x="1967814" y="3005194"/>
                    <a:pt x="1938999" y="2975099"/>
                  </a:cubicBezTo>
                  <a:cubicBezTo>
                    <a:pt x="1929394" y="2965068"/>
                    <a:pt x="1910184" y="2941661"/>
                    <a:pt x="1900579" y="2931629"/>
                  </a:cubicBezTo>
                  <a:cubicBezTo>
                    <a:pt x="1878168" y="2908222"/>
                    <a:pt x="1890974" y="2903206"/>
                    <a:pt x="1866962" y="2894847"/>
                  </a:cubicBezTo>
                  <a:cubicBezTo>
                    <a:pt x="1857357" y="2881471"/>
                    <a:pt x="1854155" y="2861408"/>
                    <a:pt x="1847752" y="2849705"/>
                  </a:cubicBezTo>
                  <a:cubicBezTo>
                    <a:pt x="1841348" y="2838001"/>
                    <a:pt x="1833344" y="2831314"/>
                    <a:pt x="1828542" y="2824626"/>
                  </a:cubicBezTo>
                  <a:cubicBezTo>
                    <a:pt x="1826941" y="2817938"/>
                    <a:pt x="1822138" y="2804563"/>
                    <a:pt x="1822138" y="2804563"/>
                  </a:cubicBezTo>
                  <a:cubicBezTo>
                    <a:pt x="1822138" y="2796203"/>
                    <a:pt x="1809332" y="2789515"/>
                    <a:pt x="1814134" y="2781156"/>
                  </a:cubicBezTo>
                  <a:cubicBezTo>
                    <a:pt x="1817336" y="2777812"/>
                    <a:pt x="1831743" y="2786172"/>
                    <a:pt x="1838147" y="2781156"/>
                  </a:cubicBezTo>
                  <a:cubicBezTo>
                    <a:pt x="1844550" y="2776140"/>
                    <a:pt x="1850953" y="2761093"/>
                    <a:pt x="1854155" y="2751061"/>
                  </a:cubicBezTo>
                  <a:cubicBezTo>
                    <a:pt x="1858958" y="2739358"/>
                    <a:pt x="1858958" y="2730998"/>
                    <a:pt x="1862159" y="2719295"/>
                  </a:cubicBezTo>
                  <a:cubicBezTo>
                    <a:pt x="1862159" y="2709263"/>
                    <a:pt x="1854155" y="2702575"/>
                    <a:pt x="1854155" y="2694216"/>
                  </a:cubicBezTo>
                  <a:cubicBezTo>
                    <a:pt x="1852554" y="2687528"/>
                    <a:pt x="1862159" y="2679168"/>
                    <a:pt x="1866962" y="2664121"/>
                  </a:cubicBezTo>
                  <a:cubicBezTo>
                    <a:pt x="1866962" y="2655761"/>
                    <a:pt x="1857357" y="2649074"/>
                    <a:pt x="1858958" y="2639042"/>
                  </a:cubicBezTo>
                  <a:cubicBezTo>
                    <a:pt x="1860558" y="2629011"/>
                    <a:pt x="1874966" y="2615635"/>
                    <a:pt x="1879768" y="2603932"/>
                  </a:cubicBezTo>
                  <a:cubicBezTo>
                    <a:pt x="1886172" y="2588884"/>
                    <a:pt x="1890974" y="2590556"/>
                    <a:pt x="1886172" y="2565477"/>
                  </a:cubicBezTo>
                  <a:cubicBezTo>
                    <a:pt x="1887773" y="2550430"/>
                    <a:pt x="1889373" y="2525351"/>
                    <a:pt x="1887773" y="2510304"/>
                  </a:cubicBezTo>
                  <a:cubicBezTo>
                    <a:pt x="1886172" y="2495257"/>
                    <a:pt x="1878168" y="2483553"/>
                    <a:pt x="1876567" y="2473522"/>
                  </a:cubicBezTo>
                  <a:cubicBezTo>
                    <a:pt x="1874966" y="2463490"/>
                    <a:pt x="1878168" y="2448443"/>
                    <a:pt x="1873365" y="2445099"/>
                  </a:cubicBezTo>
                  <a:cubicBezTo>
                    <a:pt x="1868563" y="2441755"/>
                    <a:pt x="1855756" y="2455130"/>
                    <a:pt x="1847752" y="2450115"/>
                  </a:cubicBezTo>
                  <a:cubicBezTo>
                    <a:pt x="1839747" y="2436739"/>
                    <a:pt x="1830142" y="2423364"/>
                    <a:pt x="1822138" y="2409988"/>
                  </a:cubicBezTo>
                  <a:cubicBezTo>
                    <a:pt x="1817336" y="2403301"/>
                    <a:pt x="1809332" y="2389925"/>
                    <a:pt x="1809332" y="2389925"/>
                  </a:cubicBezTo>
                  <a:cubicBezTo>
                    <a:pt x="1804529" y="2386581"/>
                    <a:pt x="1815735" y="2381566"/>
                    <a:pt x="1782117" y="2383238"/>
                  </a:cubicBezTo>
                  <a:cubicBezTo>
                    <a:pt x="1777315" y="2383238"/>
                    <a:pt x="1786920" y="2391597"/>
                    <a:pt x="1777315" y="2394941"/>
                  </a:cubicBezTo>
                  <a:cubicBezTo>
                    <a:pt x="1767710" y="2398285"/>
                    <a:pt x="1740496" y="2398285"/>
                    <a:pt x="1727689" y="2399957"/>
                  </a:cubicBezTo>
                  <a:cubicBezTo>
                    <a:pt x="1714882" y="2401629"/>
                    <a:pt x="1705277" y="2403301"/>
                    <a:pt x="1695672" y="2403301"/>
                  </a:cubicBezTo>
                  <a:cubicBezTo>
                    <a:pt x="1686067" y="2403301"/>
                    <a:pt x="1682866" y="2403301"/>
                    <a:pt x="1671660" y="2404973"/>
                  </a:cubicBezTo>
                  <a:cubicBezTo>
                    <a:pt x="1660454" y="2406645"/>
                    <a:pt x="1638042" y="2416676"/>
                    <a:pt x="1626836" y="2415004"/>
                  </a:cubicBezTo>
                  <a:cubicBezTo>
                    <a:pt x="1615630" y="2413332"/>
                    <a:pt x="1610828" y="2403301"/>
                    <a:pt x="1604425" y="2396613"/>
                  </a:cubicBezTo>
                  <a:cubicBezTo>
                    <a:pt x="1598021" y="2388253"/>
                    <a:pt x="1596420" y="2384910"/>
                    <a:pt x="1588416" y="2373206"/>
                  </a:cubicBezTo>
                  <a:cubicBezTo>
                    <a:pt x="1585215" y="2363174"/>
                    <a:pt x="1586815" y="2349799"/>
                    <a:pt x="1583614" y="2339768"/>
                  </a:cubicBezTo>
                  <a:cubicBezTo>
                    <a:pt x="1580412" y="2329736"/>
                    <a:pt x="1575610" y="2326392"/>
                    <a:pt x="1566005" y="2314689"/>
                  </a:cubicBezTo>
                  <a:cubicBezTo>
                    <a:pt x="1556400" y="2304657"/>
                    <a:pt x="1535589" y="2277906"/>
                    <a:pt x="1522782" y="2269547"/>
                  </a:cubicBezTo>
                  <a:cubicBezTo>
                    <a:pt x="1509975" y="2261187"/>
                    <a:pt x="1497169" y="2267875"/>
                    <a:pt x="1492366" y="2264531"/>
                  </a:cubicBezTo>
                  <a:cubicBezTo>
                    <a:pt x="1487564" y="2261187"/>
                    <a:pt x="1497169" y="2252827"/>
                    <a:pt x="1492366" y="2249484"/>
                  </a:cubicBezTo>
                  <a:cubicBezTo>
                    <a:pt x="1487564" y="2246140"/>
                    <a:pt x="1469954" y="2242796"/>
                    <a:pt x="1465152" y="2244468"/>
                  </a:cubicBezTo>
                  <a:cubicBezTo>
                    <a:pt x="1461534" y="2245727"/>
                    <a:pt x="1461550" y="2252679"/>
                    <a:pt x="1459768" y="2256567"/>
                  </a:cubicBezTo>
                  <a:cubicBezTo>
                    <a:pt x="1457472" y="2256084"/>
                    <a:pt x="1452847" y="2256440"/>
                    <a:pt x="1444341" y="2257843"/>
                  </a:cubicBezTo>
                  <a:cubicBezTo>
                    <a:pt x="1429933" y="2257843"/>
                    <a:pt x="1388312" y="2262859"/>
                    <a:pt x="1367501" y="2264531"/>
                  </a:cubicBezTo>
                  <a:cubicBezTo>
                    <a:pt x="1346690" y="2266203"/>
                    <a:pt x="1332282" y="2269547"/>
                    <a:pt x="1319476" y="2272891"/>
                  </a:cubicBezTo>
                  <a:cubicBezTo>
                    <a:pt x="1306669" y="2276234"/>
                    <a:pt x="1300266" y="2279578"/>
                    <a:pt x="1290661" y="2284594"/>
                  </a:cubicBezTo>
                  <a:cubicBezTo>
                    <a:pt x="1281056" y="2289610"/>
                    <a:pt x="1277854" y="2302985"/>
                    <a:pt x="1263447" y="2308001"/>
                  </a:cubicBezTo>
                  <a:cubicBezTo>
                    <a:pt x="1249039" y="2313017"/>
                    <a:pt x="1217022" y="2306329"/>
                    <a:pt x="1207417" y="2309673"/>
                  </a:cubicBezTo>
                  <a:cubicBezTo>
                    <a:pt x="1194611" y="2313017"/>
                    <a:pt x="1213821" y="2319704"/>
                    <a:pt x="1201014" y="2324720"/>
                  </a:cubicBezTo>
                  <a:cubicBezTo>
                    <a:pt x="1194611" y="2326392"/>
                    <a:pt x="1175401" y="2328064"/>
                    <a:pt x="1175401" y="2328064"/>
                  </a:cubicBezTo>
                  <a:cubicBezTo>
                    <a:pt x="1165796" y="2333080"/>
                    <a:pt x="1160993" y="2341439"/>
                    <a:pt x="1146585" y="2349799"/>
                  </a:cubicBezTo>
                  <a:cubicBezTo>
                    <a:pt x="1136980" y="2354815"/>
                    <a:pt x="1127375" y="2351471"/>
                    <a:pt x="1117770" y="2354815"/>
                  </a:cubicBezTo>
                  <a:cubicBezTo>
                    <a:pt x="1108165" y="2358159"/>
                    <a:pt x="1093758" y="2364846"/>
                    <a:pt x="1084153" y="2369862"/>
                  </a:cubicBezTo>
                  <a:cubicBezTo>
                    <a:pt x="1071346" y="2371534"/>
                    <a:pt x="1068145" y="2384910"/>
                    <a:pt x="1055338" y="2383238"/>
                  </a:cubicBezTo>
                  <a:cubicBezTo>
                    <a:pt x="1047334" y="2383238"/>
                    <a:pt x="1039329" y="2376550"/>
                    <a:pt x="1031325" y="2373206"/>
                  </a:cubicBezTo>
                  <a:cubicBezTo>
                    <a:pt x="1023321" y="2369862"/>
                    <a:pt x="1018519" y="2366518"/>
                    <a:pt x="1008914" y="2364846"/>
                  </a:cubicBezTo>
                  <a:cubicBezTo>
                    <a:pt x="999309" y="2363174"/>
                    <a:pt x="988103" y="2361503"/>
                    <a:pt x="975296" y="2358159"/>
                  </a:cubicBezTo>
                  <a:cubicBezTo>
                    <a:pt x="962489" y="2354815"/>
                    <a:pt x="949683" y="2348127"/>
                    <a:pt x="927271" y="2348127"/>
                  </a:cubicBezTo>
                  <a:cubicBezTo>
                    <a:pt x="904859" y="2346455"/>
                    <a:pt x="882447" y="2346455"/>
                    <a:pt x="840826" y="2354815"/>
                  </a:cubicBezTo>
                  <a:cubicBezTo>
                    <a:pt x="816813" y="2358159"/>
                    <a:pt x="800805" y="2361503"/>
                    <a:pt x="786397" y="2364846"/>
                  </a:cubicBezTo>
                  <a:cubicBezTo>
                    <a:pt x="771990" y="2368190"/>
                    <a:pt x="768788" y="2373206"/>
                    <a:pt x="757582" y="2378222"/>
                  </a:cubicBezTo>
                  <a:cubicBezTo>
                    <a:pt x="746376" y="2383238"/>
                    <a:pt x="731969" y="2388253"/>
                    <a:pt x="719162" y="2393269"/>
                  </a:cubicBezTo>
                  <a:cubicBezTo>
                    <a:pt x="706356" y="2398285"/>
                    <a:pt x="688746" y="2408316"/>
                    <a:pt x="675940" y="2409988"/>
                  </a:cubicBezTo>
                  <a:cubicBezTo>
                    <a:pt x="661532" y="2409988"/>
                    <a:pt x="655129" y="2404973"/>
                    <a:pt x="643923" y="2399957"/>
                  </a:cubicBezTo>
                  <a:cubicBezTo>
                    <a:pt x="632717" y="2394941"/>
                    <a:pt x="623112" y="2389925"/>
                    <a:pt x="611906" y="2383238"/>
                  </a:cubicBezTo>
                  <a:cubicBezTo>
                    <a:pt x="599100" y="2374878"/>
                    <a:pt x="587894" y="2361503"/>
                    <a:pt x="573486" y="2356487"/>
                  </a:cubicBezTo>
                  <a:cubicBezTo>
                    <a:pt x="560679" y="2351471"/>
                    <a:pt x="543070" y="2339768"/>
                    <a:pt x="543070" y="2339768"/>
                  </a:cubicBezTo>
                  <a:cubicBezTo>
                    <a:pt x="531864" y="2331408"/>
                    <a:pt x="512654" y="2308001"/>
                    <a:pt x="499848" y="2299641"/>
                  </a:cubicBezTo>
                  <a:cubicBezTo>
                    <a:pt x="488642" y="2289610"/>
                    <a:pt x="480638" y="2284594"/>
                    <a:pt x="474234" y="2279578"/>
                  </a:cubicBezTo>
                  <a:cubicBezTo>
                    <a:pt x="467831" y="2274562"/>
                    <a:pt x="456625" y="2264531"/>
                    <a:pt x="456625" y="2264531"/>
                  </a:cubicBezTo>
                  <a:cubicBezTo>
                    <a:pt x="450222" y="2257843"/>
                    <a:pt x="434213" y="2249484"/>
                    <a:pt x="408600" y="2229420"/>
                  </a:cubicBezTo>
                  <a:cubicBezTo>
                    <a:pt x="392592" y="2219389"/>
                    <a:pt x="371781" y="2209357"/>
                    <a:pt x="360575" y="2202670"/>
                  </a:cubicBezTo>
                  <a:cubicBezTo>
                    <a:pt x="349369" y="2195982"/>
                    <a:pt x="346167" y="2192638"/>
                    <a:pt x="341365" y="2187622"/>
                  </a:cubicBezTo>
                  <a:cubicBezTo>
                    <a:pt x="336562" y="2182607"/>
                    <a:pt x="331760" y="2172575"/>
                    <a:pt x="326957" y="2169231"/>
                  </a:cubicBezTo>
                  <a:cubicBezTo>
                    <a:pt x="322155" y="2165887"/>
                    <a:pt x="309348" y="2172575"/>
                    <a:pt x="306147" y="2169231"/>
                  </a:cubicBezTo>
                  <a:cubicBezTo>
                    <a:pt x="302945" y="2165887"/>
                    <a:pt x="306147" y="2154184"/>
                    <a:pt x="304546" y="2149168"/>
                  </a:cubicBezTo>
                  <a:cubicBezTo>
                    <a:pt x="302945" y="2142480"/>
                    <a:pt x="298142" y="2154184"/>
                    <a:pt x="293340" y="2137465"/>
                  </a:cubicBezTo>
                  <a:cubicBezTo>
                    <a:pt x="290138" y="2130777"/>
                    <a:pt x="285336" y="2117401"/>
                    <a:pt x="283735" y="2109042"/>
                  </a:cubicBezTo>
                  <a:cubicBezTo>
                    <a:pt x="282134" y="2100682"/>
                    <a:pt x="286936" y="2093995"/>
                    <a:pt x="286936" y="2087307"/>
                  </a:cubicBezTo>
                  <a:cubicBezTo>
                    <a:pt x="286936" y="2080619"/>
                    <a:pt x="288537" y="2070588"/>
                    <a:pt x="286936" y="2063900"/>
                  </a:cubicBezTo>
                  <a:cubicBezTo>
                    <a:pt x="285336" y="2057212"/>
                    <a:pt x="277331" y="2052196"/>
                    <a:pt x="272529" y="2048853"/>
                  </a:cubicBezTo>
                  <a:cubicBezTo>
                    <a:pt x="269327" y="2043837"/>
                    <a:pt x="254920" y="2045509"/>
                    <a:pt x="253319" y="2038821"/>
                  </a:cubicBezTo>
                  <a:cubicBezTo>
                    <a:pt x="251718" y="2032133"/>
                    <a:pt x="261323" y="2015414"/>
                    <a:pt x="259722" y="2008726"/>
                  </a:cubicBezTo>
                  <a:cubicBezTo>
                    <a:pt x="253319" y="2007054"/>
                    <a:pt x="246916" y="2003711"/>
                    <a:pt x="240512" y="2002039"/>
                  </a:cubicBezTo>
                  <a:cubicBezTo>
                    <a:pt x="234109" y="1998695"/>
                    <a:pt x="238911" y="2002039"/>
                    <a:pt x="224504" y="1993679"/>
                  </a:cubicBezTo>
                  <a:cubicBezTo>
                    <a:pt x="216500" y="1986991"/>
                    <a:pt x="195689" y="1971944"/>
                    <a:pt x="187685" y="1963584"/>
                  </a:cubicBezTo>
                  <a:cubicBezTo>
                    <a:pt x="179680" y="1955225"/>
                    <a:pt x="182882" y="1945193"/>
                    <a:pt x="178080" y="1938506"/>
                  </a:cubicBezTo>
                  <a:cubicBezTo>
                    <a:pt x="173277" y="1931818"/>
                    <a:pt x="165273" y="1931818"/>
                    <a:pt x="162071" y="1928474"/>
                  </a:cubicBezTo>
                  <a:cubicBezTo>
                    <a:pt x="157269" y="1925130"/>
                    <a:pt x="170075" y="1923458"/>
                    <a:pt x="158870" y="1921786"/>
                  </a:cubicBezTo>
                  <a:cubicBezTo>
                    <a:pt x="154067" y="1918442"/>
                    <a:pt x="146063" y="1911755"/>
                    <a:pt x="134857" y="1911755"/>
                  </a:cubicBezTo>
                  <a:cubicBezTo>
                    <a:pt x="123651" y="1911755"/>
                    <a:pt x="99639" y="1921786"/>
                    <a:pt x="91634" y="1921786"/>
                  </a:cubicBezTo>
                  <a:cubicBezTo>
                    <a:pt x="83630" y="1921786"/>
                    <a:pt x="85231" y="1911755"/>
                    <a:pt x="82029" y="1906739"/>
                  </a:cubicBezTo>
                  <a:cubicBezTo>
                    <a:pt x="78828" y="1901723"/>
                    <a:pt x="72424" y="1890020"/>
                    <a:pt x="75626" y="1886676"/>
                  </a:cubicBezTo>
                  <a:cubicBezTo>
                    <a:pt x="78828" y="1883332"/>
                    <a:pt x="96437" y="1886676"/>
                    <a:pt x="104441" y="1886676"/>
                  </a:cubicBezTo>
                  <a:cubicBezTo>
                    <a:pt x="112445" y="1886676"/>
                    <a:pt x="118849" y="1883332"/>
                    <a:pt x="125252" y="1881660"/>
                  </a:cubicBezTo>
                  <a:cubicBezTo>
                    <a:pt x="131655" y="1879988"/>
                    <a:pt x="142861" y="1874972"/>
                    <a:pt x="144462" y="1871629"/>
                  </a:cubicBezTo>
                  <a:cubicBezTo>
                    <a:pt x="146063" y="1868285"/>
                    <a:pt x="139660" y="1863269"/>
                    <a:pt x="133256" y="1861597"/>
                  </a:cubicBezTo>
                  <a:cubicBezTo>
                    <a:pt x="126853" y="1859925"/>
                    <a:pt x="114046" y="1861597"/>
                    <a:pt x="106042" y="1861597"/>
                  </a:cubicBezTo>
                  <a:cubicBezTo>
                    <a:pt x="98038" y="1861597"/>
                    <a:pt x="94836" y="1859925"/>
                    <a:pt x="86832" y="1858253"/>
                  </a:cubicBezTo>
                  <a:cubicBezTo>
                    <a:pt x="78828" y="1856581"/>
                    <a:pt x="62819" y="1851565"/>
                    <a:pt x="61219" y="1848222"/>
                  </a:cubicBezTo>
                  <a:cubicBezTo>
                    <a:pt x="51613" y="1841534"/>
                    <a:pt x="78828" y="1843206"/>
                    <a:pt x="77227" y="1833174"/>
                  </a:cubicBezTo>
                  <a:cubicBezTo>
                    <a:pt x="75626" y="1829830"/>
                    <a:pt x="51613" y="1833174"/>
                    <a:pt x="46811" y="1828158"/>
                  </a:cubicBezTo>
                  <a:cubicBezTo>
                    <a:pt x="42008" y="1823143"/>
                    <a:pt x="46811" y="1813111"/>
                    <a:pt x="46811" y="1806423"/>
                  </a:cubicBezTo>
                  <a:cubicBezTo>
                    <a:pt x="46811" y="1799736"/>
                    <a:pt x="48412" y="1796392"/>
                    <a:pt x="48412" y="1788032"/>
                  </a:cubicBezTo>
                  <a:cubicBezTo>
                    <a:pt x="48412" y="1781345"/>
                    <a:pt x="48412" y="1769641"/>
                    <a:pt x="43609" y="1751250"/>
                  </a:cubicBezTo>
                  <a:cubicBezTo>
                    <a:pt x="43609" y="1739546"/>
                    <a:pt x="53214" y="1727843"/>
                    <a:pt x="51613" y="1717811"/>
                  </a:cubicBezTo>
                  <a:cubicBezTo>
                    <a:pt x="50013" y="1707780"/>
                    <a:pt x="37206" y="1696076"/>
                    <a:pt x="32403" y="1686045"/>
                  </a:cubicBezTo>
                  <a:cubicBezTo>
                    <a:pt x="27601" y="1674341"/>
                    <a:pt x="16395" y="1677685"/>
                    <a:pt x="19597" y="1657622"/>
                  </a:cubicBezTo>
                  <a:cubicBezTo>
                    <a:pt x="14794" y="1652606"/>
                    <a:pt x="-2815" y="1657622"/>
                    <a:pt x="387" y="1652606"/>
                  </a:cubicBezTo>
                  <a:cubicBezTo>
                    <a:pt x="3588" y="1647591"/>
                    <a:pt x="26000" y="1634215"/>
                    <a:pt x="37206" y="1620840"/>
                  </a:cubicBezTo>
                  <a:cubicBezTo>
                    <a:pt x="48412" y="1607464"/>
                    <a:pt x="58017" y="1587401"/>
                    <a:pt x="62819" y="1572354"/>
                  </a:cubicBezTo>
                  <a:cubicBezTo>
                    <a:pt x="67622" y="1557307"/>
                    <a:pt x="66021" y="1545603"/>
                    <a:pt x="67622" y="1530556"/>
                  </a:cubicBezTo>
                  <a:cubicBezTo>
                    <a:pt x="70824" y="1515508"/>
                    <a:pt x="77227" y="1493773"/>
                    <a:pt x="82029" y="1482070"/>
                  </a:cubicBezTo>
                  <a:cubicBezTo>
                    <a:pt x="83630" y="1467023"/>
                    <a:pt x="96437" y="1467023"/>
                    <a:pt x="99639" y="1456991"/>
                  </a:cubicBezTo>
                  <a:cubicBezTo>
                    <a:pt x="102840" y="1446959"/>
                    <a:pt x="99639" y="1436928"/>
                    <a:pt x="99639" y="1420209"/>
                  </a:cubicBezTo>
                  <a:cubicBezTo>
                    <a:pt x="99639" y="1405161"/>
                    <a:pt x="102840" y="1368379"/>
                    <a:pt x="101239" y="1356676"/>
                  </a:cubicBezTo>
                  <a:cubicBezTo>
                    <a:pt x="99639" y="1343300"/>
                    <a:pt x="93235" y="1346644"/>
                    <a:pt x="90034" y="1339956"/>
                  </a:cubicBezTo>
                  <a:cubicBezTo>
                    <a:pt x="86832" y="1329925"/>
                    <a:pt x="82029" y="1321565"/>
                    <a:pt x="80429" y="1309862"/>
                  </a:cubicBezTo>
                  <a:cubicBezTo>
                    <a:pt x="80429" y="1299830"/>
                    <a:pt x="83630" y="1286455"/>
                    <a:pt x="85231" y="1276423"/>
                  </a:cubicBezTo>
                  <a:cubicBezTo>
                    <a:pt x="83630" y="1264720"/>
                    <a:pt x="96437" y="1261376"/>
                    <a:pt x="90034" y="1244657"/>
                  </a:cubicBezTo>
                  <a:cubicBezTo>
                    <a:pt x="88433" y="1234625"/>
                    <a:pt x="82029" y="1226265"/>
                    <a:pt x="77227" y="1219578"/>
                  </a:cubicBezTo>
                  <a:cubicBezTo>
                    <a:pt x="72424" y="1212890"/>
                    <a:pt x="67622" y="1209546"/>
                    <a:pt x="61219" y="1206202"/>
                  </a:cubicBezTo>
                  <a:cubicBezTo>
                    <a:pt x="54815" y="1202858"/>
                    <a:pt x="40408" y="1206202"/>
                    <a:pt x="38807" y="1201186"/>
                  </a:cubicBezTo>
                  <a:cubicBezTo>
                    <a:pt x="37206" y="1196171"/>
                    <a:pt x="51613" y="1187811"/>
                    <a:pt x="53214" y="1179451"/>
                  </a:cubicBezTo>
                  <a:cubicBezTo>
                    <a:pt x="54815" y="1167748"/>
                    <a:pt x="43609" y="1162732"/>
                    <a:pt x="43609" y="1151029"/>
                  </a:cubicBezTo>
                  <a:cubicBezTo>
                    <a:pt x="43609" y="1144341"/>
                    <a:pt x="51613" y="1140997"/>
                    <a:pt x="53214" y="1134309"/>
                  </a:cubicBezTo>
                  <a:cubicBezTo>
                    <a:pt x="54815" y="1127622"/>
                    <a:pt x="50013" y="1112574"/>
                    <a:pt x="54815" y="1105887"/>
                  </a:cubicBezTo>
                  <a:cubicBezTo>
                    <a:pt x="61219" y="1095855"/>
                    <a:pt x="75626" y="1104215"/>
                    <a:pt x="82029" y="1099199"/>
                  </a:cubicBezTo>
                  <a:cubicBezTo>
                    <a:pt x="88433" y="1094183"/>
                    <a:pt x="90034" y="1089167"/>
                    <a:pt x="93235" y="1079136"/>
                  </a:cubicBezTo>
                  <a:cubicBezTo>
                    <a:pt x="94836" y="1067432"/>
                    <a:pt x="101239" y="1050713"/>
                    <a:pt x="104441" y="1035666"/>
                  </a:cubicBezTo>
                  <a:cubicBezTo>
                    <a:pt x="109244" y="1025634"/>
                    <a:pt x="115647" y="1025634"/>
                    <a:pt x="118849" y="1018947"/>
                  </a:cubicBezTo>
                  <a:cubicBezTo>
                    <a:pt x="122050" y="1012259"/>
                    <a:pt x="115647" y="1003899"/>
                    <a:pt x="120450" y="995540"/>
                  </a:cubicBezTo>
                  <a:cubicBezTo>
                    <a:pt x="131655" y="985508"/>
                    <a:pt x="150865" y="965445"/>
                    <a:pt x="150865" y="965445"/>
                  </a:cubicBezTo>
                  <a:cubicBezTo>
                    <a:pt x="158870" y="953741"/>
                    <a:pt x="165273" y="948726"/>
                    <a:pt x="173277" y="938694"/>
                  </a:cubicBezTo>
                  <a:cubicBezTo>
                    <a:pt x="181281" y="928663"/>
                    <a:pt x="197290" y="918631"/>
                    <a:pt x="202092" y="905256"/>
                  </a:cubicBezTo>
                  <a:cubicBezTo>
                    <a:pt x="208495" y="891880"/>
                    <a:pt x="192487" y="873489"/>
                    <a:pt x="205294" y="858442"/>
                  </a:cubicBezTo>
                  <a:cubicBezTo>
                    <a:pt x="208495" y="848410"/>
                    <a:pt x="219701" y="848410"/>
                    <a:pt x="224504" y="840051"/>
                  </a:cubicBezTo>
                  <a:cubicBezTo>
                    <a:pt x="229306" y="831691"/>
                    <a:pt x="227706" y="818315"/>
                    <a:pt x="235710" y="809956"/>
                  </a:cubicBezTo>
                  <a:cubicBezTo>
                    <a:pt x="243714" y="801596"/>
                    <a:pt x="259722" y="796580"/>
                    <a:pt x="269327" y="788221"/>
                  </a:cubicBezTo>
                  <a:cubicBezTo>
                    <a:pt x="277331" y="778189"/>
                    <a:pt x="293340" y="773174"/>
                    <a:pt x="298142" y="763142"/>
                  </a:cubicBezTo>
                  <a:cubicBezTo>
                    <a:pt x="304546" y="753110"/>
                    <a:pt x="302945" y="736391"/>
                    <a:pt x="306147" y="728032"/>
                  </a:cubicBezTo>
                  <a:cubicBezTo>
                    <a:pt x="317352" y="718000"/>
                    <a:pt x="307747" y="709640"/>
                    <a:pt x="322155" y="707968"/>
                  </a:cubicBezTo>
                  <a:cubicBezTo>
                    <a:pt x="328558" y="699609"/>
                    <a:pt x="320554" y="691249"/>
                    <a:pt x="339764" y="684561"/>
                  </a:cubicBezTo>
                  <a:cubicBezTo>
                    <a:pt x="349369" y="679546"/>
                    <a:pt x="366978" y="681218"/>
                    <a:pt x="379785" y="677874"/>
                  </a:cubicBezTo>
                  <a:cubicBezTo>
                    <a:pt x="392592" y="674530"/>
                    <a:pt x="410201" y="671186"/>
                    <a:pt x="421407" y="667842"/>
                  </a:cubicBezTo>
                  <a:cubicBezTo>
                    <a:pt x="437415" y="661155"/>
                    <a:pt x="431012" y="659483"/>
                    <a:pt x="447020" y="652795"/>
                  </a:cubicBezTo>
                  <a:cubicBezTo>
                    <a:pt x="456625" y="644435"/>
                    <a:pt x="464629" y="627716"/>
                    <a:pt x="475835" y="619356"/>
                  </a:cubicBezTo>
                  <a:cubicBezTo>
                    <a:pt x="487041" y="610997"/>
                    <a:pt x="501448" y="616013"/>
                    <a:pt x="512654" y="604309"/>
                  </a:cubicBezTo>
                  <a:cubicBezTo>
                    <a:pt x="528663" y="579230"/>
                    <a:pt x="531864" y="575886"/>
                    <a:pt x="547873" y="550807"/>
                  </a:cubicBezTo>
                  <a:cubicBezTo>
                    <a:pt x="554276" y="535760"/>
                    <a:pt x="557478" y="549136"/>
                    <a:pt x="562280" y="527400"/>
                  </a:cubicBezTo>
                  <a:cubicBezTo>
                    <a:pt x="565482" y="520713"/>
                    <a:pt x="567083" y="515697"/>
                    <a:pt x="567083" y="509009"/>
                  </a:cubicBezTo>
                  <a:cubicBezTo>
                    <a:pt x="567083" y="502322"/>
                    <a:pt x="559079" y="497306"/>
                    <a:pt x="557478" y="483930"/>
                  </a:cubicBezTo>
                  <a:cubicBezTo>
                    <a:pt x="555877" y="470555"/>
                    <a:pt x="554276" y="442132"/>
                    <a:pt x="557478" y="428757"/>
                  </a:cubicBezTo>
                  <a:cubicBezTo>
                    <a:pt x="560679" y="415381"/>
                    <a:pt x="570284" y="413710"/>
                    <a:pt x="576688" y="402006"/>
                  </a:cubicBezTo>
                  <a:cubicBezTo>
                    <a:pt x="595898" y="376927"/>
                    <a:pt x="584692" y="375255"/>
                    <a:pt x="592696" y="356864"/>
                  </a:cubicBezTo>
                  <a:cubicBezTo>
                    <a:pt x="600700" y="345161"/>
                    <a:pt x="611906" y="333457"/>
                    <a:pt x="623112" y="328441"/>
                  </a:cubicBezTo>
                  <a:cubicBezTo>
                    <a:pt x="634318" y="318410"/>
                    <a:pt x="650326" y="300019"/>
                    <a:pt x="663133" y="291659"/>
                  </a:cubicBezTo>
                  <a:cubicBezTo>
                    <a:pt x="675940" y="283299"/>
                    <a:pt x="690347" y="279956"/>
                    <a:pt x="704755" y="276612"/>
                  </a:cubicBezTo>
                  <a:cubicBezTo>
                    <a:pt x="715961" y="271596"/>
                    <a:pt x="720763" y="264908"/>
                    <a:pt x="733570" y="256549"/>
                  </a:cubicBezTo>
                  <a:cubicBezTo>
                    <a:pt x="755981" y="238157"/>
                    <a:pt x="755981" y="236485"/>
                    <a:pt x="783196" y="226454"/>
                  </a:cubicBezTo>
                  <a:cubicBezTo>
                    <a:pt x="792801" y="213079"/>
                    <a:pt x="792801" y="203047"/>
                    <a:pt x="796002" y="191343"/>
                  </a:cubicBezTo>
                  <a:cubicBezTo>
                    <a:pt x="799204" y="179640"/>
                    <a:pt x="799204" y="166265"/>
                    <a:pt x="804007" y="156233"/>
                  </a:cubicBezTo>
                  <a:cubicBezTo>
                    <a:pt x="805607" y="149545"/>
                    <a:pt x="816813" y="137842"/>
                    <a:pt x="821616" y="132826"/>
                  </a:cubicBezTo>
                  <a:cubicBezTo>
                    <a:pt x="826418" y="126138"/>
                    <a:pt x="828019" y="111091"/>
                    <a:pt x="834422" y="107747"/>
                  </a:cubicBezTo>
                  <a:cubicBezTo>
                    <a:pt x="840826" y="104403"/>
                    <a:pt x="853632" y="111091"/>
                    <a:pt x="858435" y="111091"/>
                  </a:cubicBezTo>
                  <a:cubicBezTo>
                    <a:pt x="866439" y="116107"/>
                    <a:pt x="880847" y="127810"/>
                    <a:pt x="888851" y="137842"/>
                  </a:cubicBezTo>
                  <a:cubicBezTo>
                    <a:pt x="896855" y="144530"/>
                    <a:pt x="898456" y="149545"/>
                    <a:pt x="906460" y="151217"/>
                  </a:cubicBezTo>
                  <a:cubicBezTo>
                    <a:pt x="919267" y="149545"/>
                    <a:pt x="924069" y="159577"/>
                    <a:pt x="935275" y="152889"/>
                  </a:cubicBezTo>
                  <a:cubicBezTo>
                    <a:pt x="941678" y="149545"/>
                    <a:pt x="948082" y="149545"/>
                    <a:pt x="954485" y="146201"/>
                  </a:cubicBezTo>
                  <a:cubicBezTo>
                    <a:pt x="960888" y="142858"/>
                    <a:pt x="964090" y="147873"/>
                    <a:pt x="970493" y="149545"/>
                  </a:cubicBezTo>
                  <a:cubicBezTo>
                    <a:pt x="978498" y="151217"/>
                    <a:pt x="991304" y="149545"/>
                    <a:pt x="999309" y="151217"/>
                  </a:cubicBezTo>
                  <a:cubicBezTo>
                    <a:pt x="1007313" y="149545"/>
                    <a:pt x="1015317" y="139514"/>
                    <a:pt x="1021720" y="141186"/>
                  </a:cubicBezTo>
                  <a:cubicBezTo>
                    <a:pt x="1029724" y="139514"/>
                    <a:pt x="1010514" y="159577"/>
                    <a:pt x="1037729" y="156233"/>
                  </a:cubicBezTo>
                  <a:cubicBezTo>
                    <a:pt x="1044132" y="159577"/>
                    <a:pt x="1050535" y="156233"/>
                    <a:pt x="1061741" y="157905"/>
                  </a:cubicBezTo>
                  <a:cubicBezTo>
                    <a:pt x="1072947" y="159577"/>
                    <a:pt x="1095359" y="164593"/>
                    <a:pt x="1103363" y="162921"/>
                  </a:cubicBezTo>
                  <a:cubicBezTo>
                    <a:pt x="1111367" y="161249"/>
                    <a:pt x="1108165" y="146201"/>
                    <a:pt x="1114569" y="142858"/>
                  </a:cubicBezTo>
                  <a:cubicBezTo>
                    <a:pt x="1120972" y="139514"/>
                    <a:pt x="1136980" y="146201"/>
                    <a:pt x="1141783" y="142858"/>
                  </a:cubicBezTo>
                  <a:cubicBezTo>
                    <a:pt x="1146585" y="139514"/>
                    <a:pt x="1141783" y="131154"/>
                    <a:pt x="1146585" y="126138"/>
                  </a:cubicBezTo>
                  <a:cubicBezTo>
                    <a:pt x="1151388" y="121123"/>
                    <a:pt x="1162594" y="114435"/>
                    <a:pt x="1170598" y="111091"/>
                  </a:cubicBezTo>
                  <a:cubicBezTo>
                    <a:pt x="1178602" y="107747"/>
                    <a:pt x="1186606" y="106075"/>
                    <a:pt x="1194611" y="106075"/>
                  </a:cubicBezTo>
                  <a:cubicBezTo>
                    <a:pt x="1202615" y="104403"/>
                    <a:pt x="1212220" y="109419"/>
                    <a:pt x="1220224" y="107747"/>
                  </a:cubicBezTo>
                  <a:cubicBezTo>
                    <a:pt x="1228228" y="104403"/>
                    <a:pt x="1236232" y="94372"/>
                    <a:pt x="1244236" y="87684"/>
                  </a:cubicBezTo>
                  <a:cubicBezTo>
                    <a:pt x="1250640" y="80996"/>
                    <a:pt x="1239434" y="77653"/>
                    <a:pt x="1268249" y="70965"/>
                  </a:cubicBezTo>
                  <a:cubicBezTo>
                    <a:pt x="1277854" y="65949"/>
                    <a:pt x="1287459" y="62605"/>
                    <a:pt x="1301867" y="60933"/>
                  </a:cubicBezTo>
                  <a:cubicBezTo>
                    <a:pt x="1316274" y="59261"/>
                    <a:pt x="1345089" y="59261"/>
                    <a:pt x="1357896" y="55917"/>
                  </a:cubicBezTo>
                  <a:cubicBezTo>
                    <a:pt x="1370703" y="52574"/>
                    <a:pt x="1372303" y="45886"/>
                    <a:pt x="1377106" y="45886"/>
                  </a:cubicBezTo>
                  <a:cubicBezTo>
                    <a:pt x="1381908" y="45886"/>
                    <a:pt x="1385110" y="52574"/>
                    <a:pt x="1391513" y="52574"/>
                  </a:cubicBezTo>
                  <a:cubicBezTo>
                    <a:pt x="1397917" y="52574"/>
                    <a:pt x="1409123" y="45886"/>
                    <a:pt x="1420328" y="42542"/>
                  </a:cubicBezTo>
                  <a:cubicBezTo>
                    <a:pt x="1431534" y="39198"/>
                    <a:pt x="1437938" y="35854"/>
                    <a:pt x="1460349" y="35854"/>
                  </a:cubicBezTo>
                  <a:cubicBezTo>
                    <a:pt x="1482761" y="32511"/>
                    <a:pt x="1538790" y="24151"/>
                    <a:pt x="1554799" y="25823"/>
                  </a:cubicBezTo>
                  <a:cubicBezTo>
                    <a:pt x="1570807" y="27495"/>
                    <a:pt x="1554799" y="39198"/>
                    <a:pt x="1559601" y="42542"/>
                  </a:cubicBezTo>
                  <a:cubicBezTo>
                    <a:pt x="1564404" y="44214"/>
                    <a:pt x="1564404" y="55917"/>
                    <a:pt x="1585215" y="50902"/>
                  </a:cubicBezTo>
                  <a:cubicBezTo>
                    <a:pt x="1591618" y="49230"/>
                    <a:pt x="1591618" y="37526"/>
                    <a:pt x="1598021" y="35854"/>
                  </a:cubicBezTo>
                  <a:cubicBezTo>
                    <a:pt x="1604425" y="34182"/>
                    <a:pt x="1617231" y="42542"/>
                    <a:pt x="1623635" y="40870"/>
                  </a:cubicBezTo>
                  <a:cubicBezTo>
                    <a:pt x="1630038" y="39198"/>
                    <a:pt x="1634840" y="24151"/>
                    <a:pt x="1641244" y="20807"/>
                  </a:cubicBezTo>
                  <a:cubicBezTo>
                    <a:pt x="1647647" y="17463"/>
                    <a:pt x="1655651" y="14119"/>
                    <a:pt x="1660454" y="15791"/>
                  </a:cubicBezTo>
                  <a:cubicBezTo>
                    <a:pt x="1665256" y="17463"/>
                    <a:pt x="1668458" y="25823"/>
                    <a:pt x="1674861" y="27495"/>
                  </a:cubicBezTo>
                  <a:cubicBezTo>
                    <a:pt x="1679664" y="31257"/>
                    <a:pt x="1677263" y="31257"/>
                    <a:pt x="1703676" y="27495"/>
                  </a:cubicBezTo>
                  <a:cubicBezTo>
                    <a:pt x="1710080" y="25823"/>
                    <a:pt x="1703676" y="14119"/>
                    <a:pt x="1710080" y="12447"/>
                  </a:cubicBezTo>
                  <a:cubicBezTo>
                    <a:pt x="1716483" y="10776"/>
                    <a:pt x="1737294" y="15791"/>
                    <a:pt x="1743697" y="17463"/>
                  </a:cubicBezTo>
                  <a:cubicBezTo>
                    <a:pt x="1750101" y="19135"/>
                    <a:pt x="1740496" y="25823"/>
                    <a:pt x="1751702" y="27495"/>
                  </a:cubicBezTo>
                  <a:cubicBezTo>
                    <a:pt x="1762907" y="29167"/>
                    <a:pt x="1801327" y="30839"/>
                    <a:pt x="1814134" y="27495"/>
                  </a:cubicBezTo>
                  <a:cubicBezTo>
                    <a:pt x="1826941" y="24151"/>
                    <a:pt x="1818937" y="15791"/>
                    <a:pt x="1825340" y="10776"/>
                  </a:cubicBezTo>
                  <a:cubicBezTo>
                    <a:pt x="1831743" y="5760"/>
                    <a:pt x="1841348" y="2416"/>
                    <a:pt x="1849353" y="744"/>
                  </a:cubicBezTo>
                  <a:close/>
                </a:path>
              </a:pathLst>
            </a:custGeom>
            <a:solidFill>
              <a:srgbClr val="8B971B"/>
            </a:solidFill>
            <a:ln w="9525" cap="flat" cmpd="sng">
              <a:noFill/>
              <a:prstDash val="solid"/>
              <a:round/>
              <a:headEnd type="none" w="med" len="med"/>
              <a:tailEnd type="none" w="med" len="med"/>
            </a:ln>
            <a:effectLst/>
          </p:spPr>
          <p:txBody>
            <a:bodyPr/>
            <a:lstStyle/>
            <a:p>
              <a:pPr marL="0" marR="0" lvl="0" indent="0" defTabSz="448045" eaLnBrk="1" fontAlgn="base" latinLnBrk="0" hangingPunct="1">
                <a:lnSpc>
                  <a:spcPct val="100000"/>
                </a:lnSpc>
                <a:spcBef>
                  <a:spcPct val="0"/>
                </a:spcBef>
                <a:spcAft>
                  <a:spcPct val="0"/>
                </a:spcAft>
                <a:buClrTx/>
                <a:buSzTx/>
                <a:buFontTx/>
                <a:buNone/>
                <a:tabLst/>
                <a:defRPr/>
              </a:pPr>
              <a:endParaRPr kumimoji="0" lang="en-CA" sz="1599" b="0" i="0" u="none" strike="noStrike" kern="0" cap="none" spc="0" normalizeH="0" baseline="0" noProof="0" dirty="0">
                <a:ln>
                  <a:noFill/>
                </a:ln>
                <a:solidFill>
                  <a:prstClr val="black"/>
                </a:solidFill>
                <a:effectLst/>
                <a:uLnTx/>
                <a:uFillTx/>
              </a:endParaRPr>
            </a:p>
          </p:txBody>
        </p:sp>
      </p:grpSp>
    </p:spTree>
    <p:extLst>
      <p:ext uri="{BB962C8B-B14F-4D97-AF65-F5344CB8AC3E}">
        <p14:creationId xmlns:p14="http://schemas.microsoft.com/office/powerpoint/2010/main" val="2107800474"/>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6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2"/>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3" name="Text Placeholder 5">
            <a:extLst>
              <a:ext uri="{FF2B5EF4-FFF2-40B4-BE49-F238E27FC236}">
                <a16:creationId xmlns:a16="http://schemas.microsoft.com/office/drawing/2014/main" id="{CDED3805-C18B-4FE2-ACC3-CA5054A499CD}"/>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02017253"/>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2"/>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13" name="Text Placeholder 5">
            <a:extLst>
              <a:ext uri="{FF2B5EF4-FFF2-40B4-BE49-F238E27FC236}">
                <a16:creationId xmlns:a16="http://schemas.microsoft.com/office/drawing/2014/main" id="{CDED3805-C18B-4FE2-ACC3-CA5054A499CD}"/>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91171653"/>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8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2"/>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13" name="Text Placeholder 5">
            <a:extLst>
              <a:ext uri="{FF2B5EF4-FFF2-40B4-BE49-F238E27FC236}">
                <a16:creationId xmlns:a16="http://schemas.microsoft.com/office/drawing/2014/main" id="{CDED3805-C18B-4FE2-ACC3-CA5054A499CD}"/>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6421787"/>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3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939391170"/>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45925122"/>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2927267"/>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5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82078903"/>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9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32085" y="436158"/>
            <a:ext cx="1820292" cy="950068"/>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0" name="Slide Number Placeholder 5"/>
          <p:cNvSpPr>
            <a:spLocks noGrp="1"/>
          </p:cNvSpPr>
          <p:nvPr>
            <p:ph type="sldNum" sz="quarter" idx="4"/>
          </p:nvPr>
        </p:nvSpPr>
        <p:spPr>
          <a:xfrm>
            <a:off x="8559477" y="572788"/>
            <a:ext cx="247697" cy="113108"/>
          </a:xfrm>
          <a:prstGeom prst="rect">
            <a:avLst/>
          </a:prstGeom>
        </p:spPr>
        <p:txBody>
          <a:bodyPr vert="horz" lIns="0" tIns="0" rIns="0" bIns="0" rtlCol="0" anchor="ctr">
            <a:spAutoFit/>
          </a:bodyPr>
          <a:lstStyle>
            <a:lvl1pPr>
              <a:defRPr lang="en-GB" sz="735" b="0" smtClean="0">
                <a:solidFill>
                  <a:schemeClr val="tx1">
                    <a:lumMod val="75000"/>
                    <a:lumOff val="25000"/>
                  </a:schemeClr>
                </a:solidFill>
              </a:defRPr>
            </a:lvl1pPr>
          </a:lstStyle>
          <a:p>
            <a:pPr algn="ctr"/>
            <a:fld id="{CDD7DD23-A34B-405D-8F36-5709C0D1BF0C}" type="slidenum">
              <a:rPr lang="en-ZA" smtClean="0"/>
              <a:pPr algn="ctr"/>
              <a:t>‹#›</a:t>
            </a:fld>
            <a:endParaRPr lang="en-ZA" dirty="0"/>
          </a:p>
        </p:txBody>
      </p:sp>
      <p:cxnSp>
        <p:nvCxnSpPr>
          <p:cNvPr id="12" name="Straight Connector 11"/>
          <p:cNvCxnSpPr/>
          <p:nvPr userDrawn="1"/>
        </p:nvCxnSpPr>
        <p:spPr>
          <a:xfrm>
            <a:off x="8683325" y="773467"/>
            <a:ext cx="0" cy="41694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316" descr="Image result for african leaders malaria alliance logo"/>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9263"/>
          <a:stretch/>
        </p:blipFill>
        <p:spPr bwMode="auto">
          <a:xfrm>
            <a:off x="8306652" y="6286257"/>
            <a:ext cx="500522" cy="305947"/>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p:cNvSpPr>
            <a:spLocks noGrp="1"/>
          </p:cNvSpPr>
          <p:nvPr>
            <p:ph type="body" sz="quarter" idx="17" hasCustomPrompt="1"/>
          </p:nvPr>
        </p:nvSpPr>
        <p:spPr>
          <a:xfrm>
            <a:off x="224036" y="6392127"/>
            <a:ext cx="6911276" cy="114775"/>
          </a:xfrm>
        </p:spPr>
        <p:txBody>
          <a:bodyPr vert="horz" wrap="square" lIns="0" tIns="0" rIns="0" bIns="0" rtlCol="0" anchor="b">
            <a:spAutoFit/>
          </a:bodyPr>
          <a:lstStyle>
            <a:lvl1pPr marL="0" indent="0">
              <a:buNone/>
              <a:defRPr lang="en-US" sz="735" dirty="0" smtClean="0">
                <a:latin typeface="+mj-lt"/>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21" lvl="0" indent="-168021">
              <a:lnSpc>
                <a:spcPct val="110000"/>
              </a:lnSpc>
              <a:spcBef>
                <a:spcPts val="0"/>
              </a:spcBef>
              <a:spcAft>
                <a:spcPts val="221"/>
              </a:spcAft>
            </a:pPr>
            <a:r>
              <a:rPr lang="en-US" dirty="0"/>
              <a:t>SOURCE:</a:t>
            </a:r>
          </a:p>
        </p:txBody>
      </p:sp>
    </p:spTree>
    <p:extLst>
      <p:ext uri="{BB962C8B-B14F-4D97-AF65-F5344CB8AC3E}">
        <p14:creationId xmlns:p14="http://schemas.microsoft.com/office/powerpoint/2010/main" val="1417713605"/>
      </p:ext>
    </p:extLst>
  </p:cSld>
  <p:clrMapOvr>
    <a:overrideClrMapping bg1="lt1" tx1="dk1" bg2="lt2" tx2="dk2" accent1="accent1" accent2="accent2" accent3="accent3" accent4="accent4" accent5="accent5" accent6="accent6" hlink="hlink" folHlink="folHlink"/>
  </p:clrMapOvr>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0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32085" y="436158"/>
            <a:ext cx="1820292" cy="950068"/>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0" name="Slide Number Placeholder 5"/>
          <p:cNvSpPr>
            <a:spLocks noGrp="1"/>
          </p:cNvSpPr>
          <p:nvPr>
            <p:ph type="sldNum" sz="quarter" idx="4"/>
          </p:nvPr>
        </p:nvSpPr>
        <p:spPr>
          <a:xfrm>
            <a:off x="8559477" y="572788"/>
            <a:ext cx="247697" cy="113108"/>
          </a:xfrm>
          <a:prstGeom prst="rect">
            <a:avLst/>
          </a:prstGeom>
        </p:spPr>
        <p:txBody>
          <a:bodyPr vert="horz" lIns="0" tIns="0" rIns="0" bIns="0" rtlCol="0" anchor="ctr">
            <a:spAutoFit/>
          </a:bodyPr>
          <a:lstStyle>
            <a:lvl1pPr>
              <a:defRPr lang="en-GB" sz="735" b="0" smtClean="0">
                <a:solidFill>
                  <a:schemeClr val="tx1">
                    <a:lumMod val="75000"/>
                    <a:lumOff val="25000"/>
                  </a:schemeClr>
                </a:solidFill>
              </a:defRPr>
            </a:lvl1pPr>
          </a:lstStyle>
          <a:p>
            <a:pPr algn="ctr"/>
            <a:fld id="{CDD7DD23-A34B-405D-8F36-5709C0D1BF0C}" type="slidenum">
              <a:rPr lang="en-ZA" smtClean="0"/>
              <a:pPr algn="ctr"/>
              <a:t>‹#›</a:t>
            </a:fld>
            <a:endParaRPr lang="en-ZA" dirty="0"/>
          </a:p>
        </p:txBody>
      </p:sp>
      <p:cxnSp>
        <p:nvCxnSpPr>
          <p:cNvPr id="12" name="Straight Connector 11"/>
          <p:cNvCxnSpPr/>
          <p:nvPr userDrawn="1"/>
        </p:nvCxnSpPr>
        <p:spPr>
          <a:xfrm>
            <a:off x="8683325" y="773467"/>
            <a:ext cx="0" cy="41694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316" descr="Image result for african leaders malaria alliance logo"/>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9263"/>
          <a:stretch/>
        </p:blipFill>
        <p:spPr bwMode="auto">
          <a:xfrm>
            <a:off x="8306652" y="6286257"/>
            <a:ext cx="500522" cy="305947"/>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p:cNvSpPr>
            <a:spLocks noGrp="1"/>
          </p:cNvSpPr>
          <p:nvPr>
            <p:ph type="body" sz="quarter" idx="17" hasCustomPrompt="1"/>
          </p:nvPr>
        </p:nvSpPr>
        <p:spPr>
          <a:xfrm>
            <a:off x="224036" y="6392127"/>
            <a:ext cx="6911276" cy="114775"/>
          </a:xfrm>
        </p:spPr>
        <p:txBody>
          <a:bodyPr vert="horz" wrap="square" lIns="0" tIns="0" rIns="0" bIns="0" rtlCol="0" anchor="b">
            <a:spAutoFit/>
          </a:bodyPr>
          <a:lstStyle>
            <a:lvl1pPr marL="0" indent="0">
              <a:buNone/>
              <a:defRPr lang="en-US" sz="735" dirty="0" smtClean="0">
                <a:latin typeface="+mj-lt"/>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21" lvl="0" indent="-168021">
              <a:lnSpc>
                <a:spcPct val="110000"/>
              </a:lnSpc>
              <a:spcBef>
                <a:spcPts val="0"/>
              </a:spcBef>
              <a:spcAft>
                <a:spcPts val="221"/>
              </a:spcAft>
            </a:pPr>
            <a:r>
              <a:rPr lang="en-US" dirty="0"/>
              <a:t>SOURCE:</a:t>
            </a:r>
          </a:p>
        </p:txBody>
      </p:sp>
    </p:spTree>
    <p:extLst>
      <p:ext uri="{BB962C8B-B14F-4D97-AF65-F5344CB8AC3E}">
        <p14:creationId xmlns:p14="http://schemas.microsoft.com/office/powerpoint/2010/main" val="2775411702"/>
      </p:ext>
    </p:extLst>
  </p:cSld>
  <p:clrMapOvr>
    <a:overrideClrMapping bg1="lt1" tx1="dk1" bg2="lt2" tx2="dk2" accent1="accent1" accent2="accent2" accent3="accent3" accent4="accent4" accent5="accent5" accent6="accent6" hlink="hlink" folHlink="folHlink"/>
  </p:clrMapOvr>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32085" y="436158"/>
            <a:ext cx="1820292" cy="950068"/>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0" name="Slide Number Placeholder 5"/>
          <p:cNvSpPr>
            <a:spLocks noGrp="1"/>
          </p:cNvSpPr>
          <p:nvPr>
            <p:ph type="sldNum" sz="quarter" idx="4"/>
          </p:nvPr>
        </p:nvSpPr>
        <p:spPr>
          <a:xfrm>
            <a:off x="8559477" y="572788"/>
            <a:ext cx="247697" cy="113108"/>
          </a:xfrm>
          <a:prstGeom prst="rect">
            <a:avLst/>
          </a:prstGeom>
        </p:spPr>
        <p:txBody>
          <a:bodyPr vert="horz" lIns="0" tIns="0" rIns="0" bIns="0" rtlCol="0" anchor="ctr">
            <a:spAutoFit/>
          </a:bodyPr>
          <a:lstStyle>
            <a:lvl1pPr>
              <a:defRPr lang="en-GB" sz="735" b="0" smtClean="0">
                <a:solidFill>
                  <a:schemeClr val="tx1">
                    <a:lumMod val="75000"/>
                    <a:lumOff val="25000"/>
                  </a:schemeClr>
                </a:solidFill>
              </a:defRPr>
            </a:lvl1pPr>
          </a:lstStyle>
          <a:p>
            <a:pPr algn="ctr"/>
            <a:fld id="{CDD7DD23-A34B-405D-8F36-5709C0D1BF0C}" type="slidenum">
              <a:rPr lang="en-ZA" smtClean="0"/>
              <a:pPr algn="ctr"/>
              <a:t>‹#›</a:t>
            </a:fld>
            <a:endParaRPr lang="en-ZA" dirty="0"/>
          </a:p>
        </p:txBody>
      </p:sp>
      <p:cxnSp>
        <p:nvCxnSpPr>
          <p:cNvPr id="12" name="Straight Connector 11"/>
          <p:cNvCxnSpPr/>
          <p:nvPr userDrawn="1"/>
        </p:nvCxnSpPr>
        <p:spPr>
          <a:xfrm>
            <a:off x="8683325" y="773467"/>
            <a:ext cx="0" cy="41694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316" descr="Image result for african leaders malaria alliance logo"/>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9263"/>
          <a:stretch/>
        </p:blipFill>
        <p:spPr bwMode="auto">
          <a:xfrm>
            <a:off x="8306652" y="6286257"/>
            <a:ext cx="500522" cy="305947"/>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p:cNvSpPr>
            <a:spLocks noGrp="1"/>
          </p:cNvSpPr>
          <p:nvPr>
            <p:ph type="body" sz="quarter" idx="17" hasCustomPrompt="1"/>
          </p:nvPr>
        </p:nvSpPr>
        <p:spPr>
          <a:xfrm>
            <a:off x="224036" y="6392127"/>
            <a:ext cx="6911276" cy="114775"/>
          </a:xfrm>
        </p:spPr>
        <p:txBody>
          <a:bodyPr vert="horz" wrap="square" lIns="0" tIns="0" rIns="0" bIns="0" rtlCol="0" anchor="b">
            <a:spAutoFit/>
          </a:bodyPr>
          <a:lstStyle>
            <a:lvl1pPr marL="0" indent="0">
              <a:buNone/>
              <a:defRPr lang="en-US" sz="735" dirty="0" smtClean="0">
                <a:latin typeface="+mj-lt"/>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21" lvl="0" indent="-168021">
              <a:lnSpc>
                <a:spcPct val="110000"/>
              </a:lnSpc>
              <a:spcBef>
                <a:spcPts val="0"/>
              </a:spcBef>
              <a:spcAft>
                <a:spcPts val="221"/>
              </a:spcAft>
            </a:pPr>
            <a:r>
              <a:rPr lang="en-US" dirty="0"/>
              <a:t>SOURCE:</a:t>
            </a:r>
          </a:p>
        </p:txBody>
      </p:sp>
    </p:spTree>
    <p:extLst>
      <p:ext uri="{BB962C8B-B14F-4D97-AF65-F5344CB8AC3E}">
        <p14:creationId xmlns:p14="http://schemas.microsoft.com/office/powerpoint/2010/main" val="4014567315"/>
      </p:ext>
    </p:extLst>
  </p:cSld>
  <p:clrMapOvr>
    <a:overrideClrMapping bg1="lt1" tx1="dk1" bg2="lt2" tx2="dk2" accent1="accent1" accent2="accent2" accent3="accent3" accent4="accent4" accent5="accent5" accent6="accent6" hlink="hlink" folHlink="folHlink"/>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2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32085" y="436158"/>
            <a:ext cx="1820292" cy="950068"/>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0" name="Slide Number Placeholder 5"/>
          <p:cNvSpPr>
            <a:spLocks noGrp="1"/>
          </p:cNvSpPr>
          <p:nvPr>
            <p:ph type="sldNum" sz="quarter" idx="4"/>
          </p:nvPr>
        </p:nvSpPr>
        <p:spPr>
          <a:xfrm>
            <a:off x="8559477" y="572788"/>
            <a:ext cx="247697" cy="113108"/>
          </a:xfrm>
          <a:prstGeom prst="rect">
            <a:avLst/>
          </a:prstGeom>
        </p:spPr>
        <p:txBody>
          <a:bodyPr vert="horz" lIns="0" tIns="0" rIns="0" bIns="0" rtlCol="0" anchor="ctr">
            <a:spAutoFit/>
          </a:bodyPr>
          <a:lstStyle>
            <a:lvl1pPr>
              <a:defRPr lang="en-GB" sz="735" b="0" smtClean="0">
                <a:solidFill>
                  <a:schemeClr val="tx1">
                    <a:lumMod val="75000"/>
                    <a:lumOff val="25000"/>
                  </a:schemeClr>
                </a:solidFill>
              </a:defRPr>
            </a:lvl1pPr>
          </a:lstStyle>
          <a:p>
            <a:pPr algn="ctr"/>
            <a:fld id="{CDD7DD23-A34B-405D-8F36-5709C0D1BF0C}" type="slidenum">
              <a:rPr lang="en-ZA" smtClean="0"/>
              <a:pPr algn="ctr"/>
              <a:t>‹#›</a:t>
            </a:fld>
            <a:endParaRPr lang="en-ZA" dirty="0"/>
          </a:p>
        </p:txBody>
      </p:sp>
      <p:cxnSp>
        <p:nvCxnSpPr>
          <p:cNvPr id="12" name="Straight Connector 11"/>
          <p:cNvCxnSpPr/>
          <p:nvPr userDrawn="1"/>
        </p:nvCxnSpPr>
        <p:spPr>
          <a:xfrm>
            <a:off x="8683325" y="773467"/>
            <a:ext cx="0" cy="41694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316" descr="Image result for african leaders malaria alliance logo"/>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9263"/>
          <a:stretch/>
        </p:blipFill>
        <p:spPr bwMode="auto">
          <a:xfrm>
            <a:off x="8306652" y="6286257"/>
            <a:ext cx="500522" cy="305947"/>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p:cNvSpPr>
            <a:spLocks noGrp="1"/>
          </p:cNvSpPr>
          <p:nvPr>
            <p:ph type="body" sz="quarter" idx="17" hasCustomPrompt="1"/>
          </p:nvPr>
        </p:nvSpPr>
        <p:spPr>
          <a:xfrm>
            <a:off x="224036" y="6392127"/>
            <a:ext cx="6911276" cy="114775"/>
          </a:xfrm>
        </p:spPr>
        <p:txBody>
          <a:bodyPr vert="horz" wrap="square" lIns="0" tIns="0" rIns="0" bIns="0" rtlCol="0" anchor="b">
            <a:spAutoFit/>
          </a:bodyPr>
          <a:lstStyle>
            <a:lvl1pPr marL="0" indent="0">
              <a:buNone/>
              <a:defRPr lang="en-US" sz="735" dirty="0" smtClean="0">
                <a:latin typeface="+mj-lt"/>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21" lvl="0" indent="-168021">
              <a:lnSpc>
                <a:spcPct val="110000"/>
              </a:lnSpc>
              <a:spcBef>
                <a:spcPts val="0"/>
              </a:spcBef>
              <a:spcAft>
                <a:spcPts val="221"/>
              </a:spcAft>
            </a:pPr>
            <a:r>
              <a:rPr lang="en-US" dirty="0"/>
              <a:t>SOURCE:</a:t>
            </a:r>
          </a:p>
        </p:txBody>
      </p:sp>
    </p:spTree>
    <p:extLst>
      <p:ext uri="{BB962C8B-B14F-4D97-AF65-F5344CB8AC3E}">
        <p14:creationId xmlns:p14="http://schemas.microsoft.com/office/powerpoint/2010/main" val="1749148792"/>
      </p:ext>
    </p:extLst>
  </p:cSld>
  <p:clrMapOvr>
    <a:overrideClrMapping bg1="lt1" tx1="dk1" bg2="lt2" tx2="dk2" accent1="accent1" accent2="accent2" accent3="accent3" accent4="accent4" accent5="accent5" accent6="accent6" hlink="hlink" folHlink="folHlink"/>
  </p:clrMapOvr>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3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32085" y="436158"/>
            <a:ext cx="1820292" cy="950068"/>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0" name="Slide Number Placeholder 5"/>
          <p:cNvSpPr>
            <a:spLocks noGrp="1"/>
          </p:cNvSpPr>
          <p:nvPr>
            <p:ph type="sldNum" sz="quarter" idx="4"/>
          </p:nvPr>
        </p:nvSpPr>
        <p:spPr>
          <a:xfrm>
            <a:off x="8559477" y="572788"/>
            <a:ext cx="247697" cy="113108"/>
          </a:xfrm>
          <a:prstGeom prst="rect">
            <a:avLst/>
          </a:prstGeom>
        </p:spPr>
        <p:txBody>
          <a:bodyPr vert="horz" lIns="0" tIns="0" rIns="0" bIns="0" rtlCol="0" anchor="ctr">
            <a:spAutoFit/>
          </a:bodyPr>
          <a:lstStyle>
            <a:lvl1pPr>
              <a:defRPr lang="en-GB" sz="735" b="0" smtClean="0">
                <a:solidFill>
                  <a:schemeClr val="tx1">
                    <a:lumMod val="75000"/>
                    <a:lumOff val="25000"/>
                  </a:schemeClr>
                </a:solidFill>
              </a:defRPr>
            </a:lvl1pPr>
          </a:lstStyle>
          <a:p>
            <a:pPr algn="ctr"/>
            <a:fld id="{CDD7DD23-A34B-405D-8F36-5709C0D1BF0C}" type="slidenum">
              <a:rPr lang="en-ZA" smtClean="0"/>
              <a:pPr algn="ctr"/>
              <a:t>‹#›</a:t>
            </a:fld>
            <a:endParaRPr lang="en-ZA" dirty="0"/>
          </a:p>
        </p:txBody>
      </p:sp>
      <p:cxnSp>
        <p:nvCxnSpPr>
          <p:cNvPr id="12" name="Straight Connector 11"/>
          <p:cNvCxnSpPr/>
          <p:nvPr userDrawn="1"/>
        </p:nvCxnSpPr>
        <p:spPr>
          <a:xfrm>
            <a:off x="8683325" y="773467"/>
            <a:ext cx="0" cy="41694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316" descr="Image result for african leaders malaria alliance logo"/>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9263"/>
          <a:stretch/>
        </p:blipFill>
        <p:spPr bwMode="auto">
          <a:xfrm>
            <a:off x="8306652" y="6286257"/>
            <a:ext cx="500522" cy="305947"/>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p:cNvSpPr>
            <a:spLocks noGrp="1"/>
          </p:cNvSpPr>
          <p:nvPr>
            <p:ph type="body" sz="quarter" idx="17" hasCustomPrompt="1"/>
          </p:nvPr>
        </p:nvSpPr>
        <p:spPr>
          <a:xfrm>
            <a:off x="224036" y="6392127"/>
            <a:ext cx="6911276" cy="114775"/>
          </a:xfrm>
        </p:spPr>
        <p:txBody>
          <a:bodyPr vert="horz" wrap="square" lIns="0" tIns="0" rIns="0" bIns="0" rtlCol="0" anchor="b">
            <a:spAutoFit/>
          </a:bodyPr>
          <a:lstStyle>
            <a:lvl1pPr marL="0" indent="0">
              <a:buNone/>
              <a:defRPr lang="en-US" sz="735" dirty="0" smtClean="0">
                <a:latin typeface="+mj-lt"/>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21" lvl="0" indent="-168021">
              <a:lnSpc>
                <a:spcPct val="110000"/>
              </a:lnSpc>
              <a:spcBef>
                <a:spcPts val="0"/>
              </a:spcBef>
              <a:spcAft>
                <a:spcPts val="221"/>
              </a:spcAft>
            </a:pPr>
            <a:r>
              <a:rPr lang="en-US" dirty="0"/>
              <a:t>SOURCE:</a:t>
            </a:r>
          </a:p>
        </p:txBody>
      </p:sp>
    </p:spTree>
    <p:extLst>
      <p:ext uri="{BB962C8B-B14F-4D97-AF65-F5344CB8AC3E}">
        <p14:creationId xmlns:p14="http://schemas.microsoft.com/office/powerpoint/2010/main" val="1370650050"/>
      </p:ext>
    </p:extLst>
  </p:cSld>
  <p:clrMapOvr>
    <a:overrideClrMapping bg1="lt1" tx1="dk1" bg2="lt2" tx2="dk2" accent1="accent1" accent2="accent2" accent3="accent3" accent4="accent4" accent5="accent5" accent6="accent6" hlink="hlink" folHlink="folHlink"/>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4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361959"/>
          </a:xfrm>
        </p:spPr>
        <p:txBody>
          <a:bodyPr wrap="square" lIns="0" tIns="0" rIns="0" bIns="0" anchor="t">
            <a:spAutoFit/>
          </a:bodyPr>
          <a:lstStyle>
            <a:lvl1pPr>
              <a:defRPr sz="2352"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7"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92"/>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92"/>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92"/>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92"/>
          </a:p>
        </p:txBody>
      </p:sp>
      <p:sp>
        <p:nvSpPr>
          <p:cNvPr id="16" name="Text Placeholder 6"/>
          <p:cNvSpPr>
            <a:spLocks noGrp="1"/>
          </p:cNvSpPr>
          <p:nvPr userDrawn="1">
            <p:ph type="body" sz="quarter" idx="17" hasCustomPrompt="1"/>
          </p:nvPr>
        </p:nvSpPr>
        <p:spPr>
          <a:xfrm>
            <a:off x="154262" y="6449574"/>
            <a:ext cx="6911276" cy="86049"/>
          </a:xfrm>
        </p:spPr>
        <p:txBody>
          <a:bodyPr vert="horz" wrap="square" lIns="0" tIns="0" rIns="0" bIns="0" rtlCol="0" anchor="b">
            <a:spAutoFit/>
          </a:bodyPr>
          <a:lstStyle>
            <a:lvl1pPr marL="0" indent="0">
              <a:buNone/>
              <a:defRPr lang="en-US" sz="551" dirty="0" smtClean="0">
                <a:latin typeface="Arial" panose="020B0604020202020204" pitchFamily="34" charset="0"/>
                <a:cs typeface="Arial" panose="020B0604020202020204" pitchFamily="34" charset="0"/>
              </a:defRPr>
            </a:lvl1pPr>
            <a:lvl2pPr>
              <a:defRPr lang="en-US" sz="772" dirty="0" smtClean="0">
                <a:latin typeface="+mj-lt"/>
              </a:defRPr>
            </a:lvl2pPr>
            <a:lvl3pPr>
              <a:defRPr lang="en-US" sz="772" dirty="0" smtClean="0">
                <a:latin typeface="+mj-lt"/>
              </a:defRPr>
            </a:lvl3pPr>
            <a:lvl4pPr>
              <a:defRPr lang="en-US" sz="772" dirty="0" smtClean="0">
                <a:latin typeface="+mj-lt"/>
              </a:defRPr>
            </a:lvl4pPr>
            <a:lvl5pPr>
              <a:defRPr lang="en-GB" sz="772" dirty="0">
                <a:latin typeface="+mj-lt"/>
              </a:defRPr>
            </a:lvl5pPr>
          </a:lstStyle>
          <a:p>
            <a:pPr marL="126013" lvl="0" indent="-126013">
              <a:lnSpc>
                <a:spcPct val="110000"/>
              </a:lnSpc>
              <a:spcBef>
                <a:spcPts val="0"/>
              </a:spcBef>
              <a:spcAft>
                <a:spcPts val="165"/>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5" y="6241772"/>
            <a:ext cx="529006" cy="293851"/>
          </a:xfrm>
          <a:prstGeom prst="rect">
            <a:avLst/>
          </a:prstGeom>
        </p:spPr>
      </p:pic>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053045"/>
          </a:xfrm>
        </p:spPr>
        <p:txBody>
          <a:bodyPr wrap="square" lIns="0" tIns="0" rIns="0" bIns="0">
            <a:spAutoFit/>
          </a:bodyPr>
          <a:lstStyle>
            <a:lvl1pPr marL="0" indent="0">
              <a:lnSpc>
                <a:spcPct val="110000"/>
              </a:lnSpc>
              <a:spcBef>
                <a:spcPts val="0"/>
              </a:spcBef>
              <a:spcAft>
                <a:spcPts val="165"/>
              </a:spcAft>
              <a:buNone/>
              <a:defRPr sz="1470">
                <a:latin typeface="Arial" panose="020B0604020202020204" pitchFamily="34" charset="0"/>
                <a:cs typeface="Arial" panose="020B0604020202020204" pitchFamily="34" charset="0"/>
              </a:defRPr>
            </a:lvl1pPr>
            <a:lvl2pPr marL="126013" indent="-126013">
              <a:lnSpc>
                <a:spcPct val="110000"/>
              </a:lnSpc>
              <a:spcBef>
                <a:spcPts val="0"/>
              </a:spcBef>
              <a:spcAft>
                <a:spcPts val="165"/>
              </a:spcAft>
              <a:defRPr sz="1470">
                <a:latin typeface="Arial" panose="020B0604020202020204" pitchFamily="34" charset="0"/>
                <a:cs typeface="Arial" panose="020B0604020202020204" pitchFamily="34" charset="0"/>
              </a:defRPr>
            </a:lvl2pPr>
            <a:lvl3pPr marL="252026" indent="-126013">
              <a:lnSpc>
                <a:spcPct val="110000"/>
              </a:lnSpc>
              <a:spcBef>
                <a:spcPts val="0"/>
              </a:spcBef>
              <a:spcAft>
                <a:spcPts val="165"/>
              </a:spcAft>
              <a:defRPr sz="1470">
                <a:latin typeface="Arial" panose="020B0604020202020204" pitchFamily="34" charset="0"/>
                <a:cs typeface="Arial" panose="020B0604020202020204" pitchFamily="34" charset="0"/>
              </a:defRPr>
            </a:lvl3pPr>
            <a:lvl4pPr marL="378038" indent="-126013">
              <a:lnSpc>
                <a:spcPct val="110000"/>
              </a:lnSpc>
              <a:spcBef>
                <a:spcPts val="0"/>
              </a:spcBef>
              <a:spcAft>
                <a:spcPts val="165"/>
              </a:spcAft>
              <a:defRPr sz="1470">
                <a:latin typeface="Arial" panose="020B0604020202020204" pitchFamily="34" charset="0"/>
                <a:cs typeface="Arial" panose="020B0604020202020204" pitchFamily="34" charset="0"/>
              </a:defRPr>
            </a:lvl4pPr>
            <a:lvl5pPr>
              <a:defRPr sz="772">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9906448"/>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7"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doc id"/>
          <p:cNvSpPr txBox="1">
            <a:spLocks noChangeArrowheads="1"/>
          </p:cNvSpPr>
          <p:nvPr/>
        </p:nvSpPr>
        <p:spPr bwMode="auto">
          <a:xfrm>
            <a:off x="8442325"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a:solidFill>
                <a:prstClr val="black"/>
              </a:solidFill>
              <a:latin typeface="Arial"/>
            </a:endParaRPr>
          </a:p>
        </p:txBody>
      </p:sp>
      <p:grpSp>
        <p:nvGrpSpPr>
          <p:cNvPr id="2" name="Title Elements"/>
          <p:cNvGrpSpPr/>
          <p:nvPr userDrawn="1"/>
        </p:nvGrpSpPr>
        <p:grpSpPr>
          <a:xfrm>
            <a:off x="0" y="0"/>
            <a:ext cx="8958264" cy="6723063"/>
            <a:chOff x="0" y="0"/>
            <a:chExt cx="8958264" cy="6723063"/>
          </a:xfrm>
        </p:grpSpPr>
        <p:sp>
          <p:nvSpPr>
            <p:cNvPr id="9" name="Document type" hidden="1"/>
            <p:cNvSpPr txBox="1">
              <a:spLocks noChangeArrowheads="1"/>
            </p:cNvSpPr>
            <p:nvPr/>
          </p:nvSpPr>
          <p:spPr bwMode="auto">
            <a:xfrm>
              <a:off x="2640013" y="4930775"/>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prstClr val="black"/>
                  </a:solidFill>
                  <a:latin typeface="Arial"/>
                </a:rPr>
                <a:t>Document type</a:t>
              </a:r>
            </a:p>
          </p:txBody>
        </p:sp>
        <p:sp>
          <p:nvSpPr>
            <p:cNvPr id="10" name="Date" hidden="1"/>
            <p:cNvSpPr txBox="1">
              <a:spLocks noChangeArrowheads="1"/>
            </p:cNvSpPr>
            <p:nvPr/>
          </p:nvSpPr>
          <p:spPr bwMode="auto">
            <a:xfrm>
              <a:off x="2640013" y="5199063"/>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prstClr val="black"/>
                  </a:solidFill>
                  <a:latin typeface="Arial"/>
                </a:rPr>
                <a:t>Date</a:t>
              </a:r>
            </a:p>
          </p:txBody>
        </p:sp>
        <p:sp>
          <p:nvSpPr>
            <p:cNvPr id="11" name="Disclaimer" hidden="1"/>
            <p:cNvSpPr>
              <a:spLocks noChangeArrowheads="1"/>
            </p:cNvSpPr>
            <p:nvPr/>
          </p:nvSpPr>
          <p:spPr bwMode="auto">
            <a:xfrm>
              <a:off x="2640013" y="5895975"/>
              <a:ext cx="512127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4863" eaLnBrk="0" hangingPunct="0"/>
              <a:r>
                <a:rPr lang="en-US" sz="800" dirty="0">
                  <a:solidFill>
                    <a:prstClr val="black"/>
                  </a:solidFill>
                  <a:latin typeface="Arial"/>
                </a:rPr>
                <a:t>CONFIDENTIAL AND PROPRIETARY</a:t>
              </a:r>
            </a:p>
            <a:p>
              <a:pPr defTabSz="804863" eaLnBrk="0" hangingPunct="0"/>
              <a:r>
                <a:rPr lang="en-US" sz="800" dirty="0">
                  <a:solidFill>
                    <a:prstClr val="black"/>
                  </a:solidFill>
                  <a:latin typeface="Arial"/>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2238375"/>
              <a:ext cx="2193925" cy="4484688"/>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prstClr val="black"/>
                </a:solidFill>
                <a:latin typeface="Arial"/>
              </a:endParaRPr>
            </a:p>
          </p:txBody>
        </p:sp>
        <p:sp>
          <p:nvSpPr>
            <p:cNvPr id="13" name="TitleTopPlaceholder" hidden="1"/>
            <p:cNvSpPr>
              <a:spLocks noChangeArrowheads="1"/>
            </p:cNvSpPr>
            <p:nvPr/>
          </p:nvSpPr>
          <p:spPr bwMode="auto">
            <a:xfrm>
              <a:off x="0" y="0"/>
              <a:ext cx="2193925" cy="2238375"/>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prstClr val="black"/>
                </a:solidFill>
                <a:latin typeface="Arial"/>
              </a:endParaRPr>
            </a:p>
          </p:txBody>
        </p:sp>
        <p:sp>
          <p:nvSpPr>
            <p:cNvPr id="19" name="Rectangle 18" hidden="1"/>
            <p:cNvSpPr/>
            <p:nvPr/>
          </p:nvSpPr>
          <p:spPr>
            <a:xfrm>
              <a:off x="0" y="0"/>
              <a:ext cx="8958264" cy="6721475"/>
            </a:xfrm>
            <a:prstGeom prst="rect">
              <a:avLst/>
            </a:prstGeom>
            <a:noFill/>
            <a:ln w="3175">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solidFill>
              </a:endParaRPr>
            </a:p>
          </p:txBody>
        </p:sp>
      </p:grpSp>
      <p:pic>
        <p:nvPicPr>
          <p:cNvPr id="18" name="TitleBottomBarBW" hidden="1"/>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7173913" y="6443663"/>
            <a:ext cx="1636712" cy="192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562672" y="3052054"/>
            <a:ext cx="7879488" cy="646331"/>
          </a:xfrm>
          <a:prstGeom prst="rect">
            <a:avLst/>
          </a:prstGeom>
        </p:spPr>
        <p:txBody>
          <a:bodyPr/>
          <a:lstStyle>
            <a:lvl1pPr>
              <a:defRPr sz="4200" b="0" baseline="0">
                <a:solidFill>
                  <a:srgbClr val="375199"/>
                </a:solidFill>
                <a:latin typeface="Arial" panose="020B0604020202020204" pitchFamily="34" charset="0"/>
                <a:ea typeface="+mj-ea"/>
                <a:cs typeface="Arial" panose="020B0604020202020204" pitchFamily="34" charset="0"/>
              </a:defRPr>
            </a:lvl1pPr>
          </a:lstStyle>
          <a:p>
            <a:pPr lvl="0"/>
            <a:r>
              <a:rPr lang="en-US" noProof="0" dirty="0"/>
              <a:t>Click to edit Master title style</a:t>
            </a:r>
          </a:p>
        </p:txBody>
      </p:sp>
      <p:sp>
        <p:nvSpPr>
          <p:cNvPr id="13315" name="Rectangle 1027"/>
          <p:cNvSpPr>
            <a:spLocks noGrp="1" noChangeArrowheads="1"/>
          </p:cNvSpPr>
          <p:nvPr>
            <p:ph type="subTitle" idx="1"/>
          </p:nvPr>
        </p:nvSpPr>
        <p:spPr>
          <a:xfrm>
            <a:off x="562672" y="4598902"/>
            <a:ext cx="4935537" cy="338554"/>
          </a:xfrm>
          <a:prstGeom prst="rect">
            <a:avLst/>
          </a:prstGeom>
        </p:spPr>
        <p:txBody>
          <a:bodyPr>
            <a:spAutoFit/>
          </a:bodyPr>
          <a:lstStyle>
            <a:lvl1pPr>
              <a:defRPr sz="2200" baseline="0">
                <a:solidFill>
                  <a:schemeClr val="tx2"/>
                </a:solidFill>
                <a:latin typeface="+mn-lt"/>
                <a:ea typeface="+mn-ea"/>
              </a:defRPr>
            </a:lvl1pPr>
          </a:lstStyle>
          <a:p>
            <a:pPr lvl="0"/>
            <a:r>
              <a:rPr lang="en-US" noProof="0" dirty="0"/>
              <a:t>Click to edit Master subtitle style</a:t>
            </a:r>
          </a:p>
        </p:txBody>
      </p:sp>
    </p:spTree>
    <p:extLst>
      <p:ext uri="{BB962C8B-B14F-4D97-AF65-F5344CB8AC3E}">
        <p14:creationId xmlns:p14="http://schemas.microsoft.com/office/powerpoint/2010/main" val="2026550106"/>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4" name="Picture 2">
            <a:extLst>
              <a:ext uri="{FF2B5EF4-FFF2-40B4-BE49-F238E27FC236}">
                <a16:creationId xmlns:a16="http://schemas.microsoft.com/office/drawing/2014/main" id="{95E7C383-2785-42A2-92AD-8BFE340E9A16}"/>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697809" y="97631"/>
            <a:ext cx="474047" cy="54794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a:extLst>
              <a:ext uri="{FF2B5EF4-FFF2-40B4-BE49-F238E27FC236}">
                <a16:creationId xmlns:a16="http://schemas.microsoft.com/office/drawing/2014/main" id="{49957759-473A-4B0F-817A-33DD3F8C57F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64832" t="36741"/>
          <a:stretch/>
        </p:blipFill>
        <p:spPr bwMode="auto">
          <a:xfrm>
            <a:off x="2584496" y="6539459"/>
            <a:ext cx="6376942" cy="182016"/>
          </a:xfrm>
          <a:prstGeom prst="rect">
            <a:avLst/>
          </a:prstGeom>
          <a:noFill/>
          <a:ln>
            <a:solidFill>
              <a:srgbClr val="503D6A"/>
            </a:solidFill>
          </a:ln>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DB55ABA2-4BC5-47C3-A144-6D989A47724F}"/>
              </a:ext>
            </a:extLst>
          </p:cNvPr>
          <p:cNvSpPr/>
          <p:nvPr userDrawn="1"/>
        </p:nvSpPr>
        <p:spPr>
          <a:xfrm>
            <a:off x="1" y="6535483"/>
            <a:ext cx="2584496" cy="188072"/>
          </a:xfrm>
          <a:prstGeom prst="rect">
            <a:avLst/>
          </a:prstGeom>
          <a:solidFill>
            <a:srgbClr val="198A00"/>
          </a:solidFill>
          <a:ln w="9525">
            <a:solidFill>
              <a:srgbClr val="503D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262611222"/>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Only">
    <p:bg>
      <p:bgRef idx="1001">
        <a:schemeClr val="bg1"/>
      </p:bgRef>
    </p:bg>
    <p:spTree>
      <p:nvGrpSpPr>
        <p:cNvPr id="1" name=""/>
        <p:cNvGrpSpPr/>
        <p:nvPr/>
      </p:nvGrpSpPr>
      <p:grpSpPr>
        <a:xfrm>
          <a:off x="0" y="0"/>
          <a:ext cx="0" cy="0"/>
          <a:chOff x="0" y="0"/>
          <a:chExt cx="0" cy="0"/>
        </a:xfrm>
      </p:grpSpPr>
      <p:sp>
        <p:nvSpPr>
          <p:cNvPr id="2" name="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72146538"/>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2_Title Only">
    <p:bg>
      <p:bgRef idx="1001">
        <a:schemeClr val="bg1"/>
      </p:bgRef>
    </p:bg>
    <p:spTree>
      <p:nvGrpSpPr>
        <p:cNvPr id="1" name=""/>
        <p:cNvGrpSpPr/>
        <p:nvPr/>
      </p:nvGrpSpPr>
      <p:grpSpPr>
        <a:xfrm>
          <a:off x="0" y="0"/>
          <a:ext cx="0" cy="0"/>
          <a:chOff x="0" y="0"/>
          <a:chExt cx="0" cy="0"/>
        </a:xfrm>
      </p:grpSpPr>
      <p:graphicFrame>
        <p:nvGraphicFramePr>
          <p:cNvPr id="3" name="Object 300" hidden="1"/>
          <p:cNvGraphicFramePr>
            <a:graphicFrameLocks noChangeAspect="1"/>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3" name="think-cell Slide" r:id="rId14" imgW="360" imgH="360" progId="">
                  <p:embed/>
                </p:oleObj>
              </mc:Choice>
              <mc:Fallback>
                <p:oleObj name="think-cell Slide" r:id="rId14" imgW="360" imgH="360" progId="">
                  <p:embed/>
                  <p:pic>
                    <p:nvPicPr>
                      <p:cNvPr id="3" name="Object 30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McK 1. On-page tracker" hidden="1"/>
          <p:cNvSpPr>
            <a:spLocks noChangeArrowheads="1"/>
          </p:cNvSpPr>
          <p:nvPr>
            <p:custDataLst>
              <p:tags r:id="rId3"/>
            </p:custDataLst>
          </p:nvPr>
        </p:nvSpPr>
        <p:spPr bwMode="auto">
          <a:xfrm>
            <a:off x="119063" y="26989"/>
            <a:ext cx="838371" cy="21114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1372" dirty="0">
                <a:solidFill>
                  <a:srgbClr val="808080"/>
                </a:solidFill>
              </a:rPr>
              <a:t>TRACKER</a:t>
            </a:r>
          </a:p>
        </p:txBody>
      </p:sp>
      <p:sp>
        <p:nvSpPr>
          <p:cNvPr id="9" name="McK 3. Unit of measure" hidden="1"/>
          <p:cNvSpPr txBox="1">
            <a:spLocks noChangeArrowheads="1"/>
          </p:cNvSpPr>
          <p:nvPr>
            <p:custDataLst>
              <p:tags r:id="rId4"/>
            </p:custDataLst>
          </p:nvPr>
        </p:nvSpPr>
        <p:spPr bwMode="auto">
          <a:xfrm>
            <a:off x="119063" y="531813"/>
            <a:ext cx="3656012" cy="21114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372" dirty="0">
                <a:solidFill>
                  <a:srgbClr val="808080"/>
                </a:solidFill>
              </a:rPr>
              <a:t>Unit of measure</a:t>
            </a:r>
          </a:p>
        </p:txBody>
      </p:sp>
      <p:grpSp>
        <p:nvGrpSpPr>
          <p:cNvPr id="10" name="McK Slide Elements"/>
          <p:cNvGrpSpPr>
            <a:grpSpLocks/>
          </p:cNvGrpSpPr>
          <p:nvPr userDrawn="1"/>
        </p:nvGrpSpPr>
        <p:grpSpPr bwMode="auto">
          <a:xfrm>
            <a:off x="119063" y="6080125"/>
            <a:ext cx="8548687" cy="508000"/>
            <a:chOff x="75" y="3830"/>
            <a:chExt cx="5385" cy="320"/>
          </a:xfrm>
        </p:grpSpPr>
        <p:sp>
          <p:nvSpPr>
            <p:cNvPr id="11" name="McK 4. Footnote" hidden="1"/>
            <p:cNvSpPr txBox="1">
              <a:spLocks noChangeArrowheads="1"/>
            </p:cNvSpPr>
            <p:nvPr userDrawn="1"/>
          </p:nvSpPr>
          <p:spPr bwMode="auto">
            <a:xfrm>
              <a:off x="75" y="3830"/>
              <a:ext cx="5385" cy="9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980" dirty="0">
                  <a:solidFill>
                    <a:srgbClr val="000000"/>
                  </a:solidFill>
                </a:rPr>
                <a:t>1 Footnote</a:t>
              </a:r>
            </a:p>
          </p:txBody>
        </p:sp>
        <p:sp>
          <p:nvSpPr>
            <p:cNvPr id="12" name="McK 5. Source" hidden="1"/>
            <p:cNvSpPr>
              <a:spLocks noChangeArrowheads="1"/>
            </p:cNvSpPr>
            <p:nvPr userDrawn="1"/>
          </p:nvSpPr>
          <p:spPr bwMode="auto">
            <a:xfrm>
              <a:off x="75" y="4054"/>
              <a:ext cx="4323" cy="9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09600" indent="-609600" defTabSz="895350">
                <a:tabLst>
                  <a:tab pos="612775" algn="l"/>
                </a:tabLst>
                <a:defRPr sz="1600">
                  <a:solidFill>
                    <a:schemeClr val="tx1"/>
                  </a:solidFill>
                  <a:latin typeface="Arial" charset="0"/>
                </a:defRPr>
              </a:lvl1pPr>
              <a:lvl2pPr marL="742950" indent="-285750" defTabSz="895350">
                <a:tabLst>
                  <a:tab pos="612775" algn="l"/>
                </a:tabLst>
                <a:defRPr sz="1600">
                  <a:solidFill>
                    <a:schemeClr val="tx1"/>
                  </a:solidFill>
                  <a:latin typeface="Arial" charset="0"/>
                </a:defRPr>
              </a:lvl2pPr>
              <a:lvl3pPr marL="1143000" indent="-228600" defTabSz="895350">
                <a:tabLst>
                  <a:tab pos="612775" algn="l"/>
                </a:tabLst>
                <a:defRPr sz="1600">
                  <a:solidFill>
                    <a:schemeClr val="tx1"/>
                  </a:solidFill>
                  <a:latin typeface="Arial" charset="0"/>
                </a:defRPr>
              </a:lvl3pPr>
              <a:lvl4pPr marL="1600200" indent="-228600" defTabSz="895350">
                <a:tabLst>
                  <a:tab pos="612775" algn="l"/>
                </a:tabLst>
                <a:defRPr sz="1600">
                  <a:solidFill>
                    <a:schemeClr val="tx1"/>
                  </a:solidFill>
                  <a:latin typeface="Arial" charset="0"/>
                </a:defRPr>
              </a:lvl4pPr>
              <a:lvl5pPr marL="2057400" indent="-228600" defTabSz="895350">
                <a:tabLst>
                  <a:tab pos="612775" algn="l"/>
                </a:tabLst>
                <a:defRPr sz="1600">
                  <a:solidFill>
                    <a:schemeClr val="tx1"/>
                  </a:solidFill>
                  <a:latin typeface="Arial" charset="0"/>
                </a:defRPr>
              </a:lvl5pPr>
              <a:lvl6pPr marL="2514600" indent="-228600" defTabSz="895350" eaLnBrk="0" fontAlgn="base" hangingPunct="0">
                <a:spcBef>
                  <a:spcPct val="0"/>
                </a:spcBef>
                <a:spcAft>
                  <a:spcPct val="0"/>
                </a:spcAft>
                <a:tabLst>
                  <a:tab pos="612775" algn="l"/>
                </a:tabLst>
                <a:defRPr sz="1600">
                  <a:solidFill>
                    <a:schemeClr val="tx1"/>
                  </a:solidFill>
                  <a:latin typeface="Arial" charset="0"/>
                </a:defRPr>
              </a:lvl6pPr>
              <a:lvl7pPr marL="2971800" indent="-228600" defTabSz="895350" eaLnBrk="0" fontAlgn="base" hangingPunct="0">
                <a:spcBef>
                  <a:spcPct val="0"/>
                </a:spcBef>
                <a:spcAft>
                  <a:spcPct val="0"/>
                </a:spcAft>
                <a:tabLst>
                  <a:tab pos="612775" algn="l"/>
                </a:tabLst>
                <a:defRPr sz="1600">
                  <a:solidFill>
                    <a:schemeClr val="tx1"/>
                  </a:solidFill>
                  <a:latin typeface="Arial" charset="0"/>
                </a:defRPr>
              </a:lvl7pPr>
              <a:lvl8pPr marL="3429000" indent="-228600" defTabSz="895350" eaLnBrk="0" fontAlgn="base" hangingPunct="0">
                <a:spcBef>
                  <a:spcPct val="0"/>
                </a:spcBef>
                <a:spcAft>
                  <a:spcPct val="0"/>
                </a:spcAft>
                <a:tabLst>
                  <a:tab pos="612775" algn="l"/>
                </a:tabLst>
                <a:defRPr sz="1600">
                  <a:solidFill>
                    <a:schemeClr val="tx1"/>
                  </a:solidFill>
                  <a:latin typeface="Arial" charset="0"/>
                </a:defRPr>
              </a:lvl8pPr>
              <a:lvl9pPr marL="3886200" indent="-228600" defTabSz="895350" eaLnBrk="0" fontAlgn="base" hangingPunct="0">
                <a:spcBef>
                  <a:spcPct val="0"/>
                </a:spcBef>
                <a:spcAft>
                  <a:spcPct val="0"/>
                </a:spcAft>
                <a:tabLst>
                  <a:tab pos="612775" algn="l"/>
                </a:tabLst>
                <a:defRPr sz="1600">
                  <a:solidFill>
                    <a:schemeClr val="tx1"/>
                  </a:solidFill>
                  <a:latin typeface="Arial" charset="0"/>
                </a:defRPr>
              </a:lvl9pPr>
            </a:lstStyle>
            <a:p>
              <a:pPr fontAlgn="base">
                <a:spcBef>
                  <a:spcPct val="0"/>
                </a:spcBef>
                <a:spcAft>
                  <a:spcPct val="0"/>
                </a:spcAft>
                <a:defRPr/>
              </a:pPr>
              <a:r>
                <a:rPr lang="en-US" sz="980" dirty="0">
                  <a:solidFill>
                    <a:srgbClr val="000000"/>
                  </a:solidFill>
                </a:rPr>
                <a:t>SOURCE: Source</a:t>
              </a:r>
            </a:p>
          </p:txBody>
        </p:sp>
      </p:grpSp>
      <p:grpSp>
        <p:nvGrpSpPr>
          <p:cNvPr id="13" name="ACET" hidden="1"/>
          <p:cNvGrpSpPr>
            <a:grpSpLocks/>
          </p:cNvGrpSpPr>
          <p:nvPr>
            <p:custDataLst>
              <p:tags r:id="rId5"/>
            </p:custDataLst>
          </p:nvPr>
        </p:nvGrpSpPr>
        <p:grpSpPr bwMode="auto">
          <a:xfrm>
            <a:off x="1452573" y="1127125"/>
            <a:ext cx="4264025" cy="508000"/>
            <a:chOff x="915" y="710"/>
            <a:chExt cx="2686" cy="320"/>
          </a:xfrm>
        </p:grpSpPr>
        <p:cxnSp>
          <p:nvCxnSpPr>
            <p:cNvPr id="14" name="AutoShape 249" hidden="1"/>
            <p:cNvCxnSpPr>
              <a:cxnSpLocks noChangeShapeType="1"/>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5" name="AutoShape 250" hidden="1"/>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1568" dirty="0">
                  <a:solidFill>
                    <a:srgbClr val="000000"/>
                  </a:solidFill>
                </a:rPr>
                <a:t>Title</a:t>
              </a:r>
            </a:p>
            <a:p>
              <a:pPr defTabSz="891846" fontAlgn="base">
                <a:spcBef>
                  <a:spcPct val="0"/>
                </a:spcBef>
                <a:spcAft>
                  <a:spcPct val="0"/>
                </a:spcAft>
                <a:defRPr/>
              </a:pPr>
              <a:r>
                <a:rPr lang="en-US" sz="1568" dirty="0">
                  <a:solidFill>
                    <a:srgbClr val="808080"/>
                  </a:solidFill>
                </a:rPr>
                <a:t>Unit of measure</a:t>
              </a:r>
            </a:p>
          </p:txBody>
        </p:sp>
      </p:grpSp>
      <p:sp>
        <p:nvSpPr>
          <p:cNvPr id="16" name="Working Draft" hidden="1"/>
          <p:cNvSpPr txBox="1">
            <a:spLocks noChangeArrowheads="1"/>
          </p:cNvSpPr>
          <p:nvPr>
            <p:custDataLst>
              <p:tags r:id="rId6"/>
            </p:custDataLst>
          </p:nvPr>
        </p:nvSpPr>
        <p:spPr bwMode="auto">
          <a:xfrm rot="5400000">
            <a:off x="7964276" y="1934377"/>
            <a:ext cx="1854675" cy="9047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588">
                <a:solidFill>
                  <a:srgbClr val="000000"/>
                </a:solidFill>
              </a:rPr>
              <a:t>Last Modified 1/2/2017 12:32 PM Pacific Standard Time</a:t>
            </a:r>
            <a:endParaRPr lang="en-US" sz="1568" dirty="0">
              <a:solidFill>
                <a:srgbClr val="000000"/>
              </a:solidFill>
            </a:endParaRPr>
          </a:p>
        </p:txBody>
      </p:sp>
      <p:sp>
        <p:nvSpPr>
          <p:cNvPr id="17" name="Printed" hidden="1"/>
          <p:cNvSpPr txBox="1">
            <a:spLocks noChangeArrowheads="1"/>
          </p:cNvSpPr>
          <p:nvPr>
            <p:custDataLst>
              <p:tags r:id="rId7"/>
            </p:custDataLst>
          </p:nvPr>
        </p:nvSpPr>
        <p:spPr bwMode="auto">
          <a:xfrm rot="5400000">
            <a:off x="8049211" y="3852871"/>
            <a:ext cx="1684757" cy="9047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588">
                <a:solidFill>
                  <a:srgbClr val="000000"/>
                </a:solidFill>
              </a:rPr>
              <a:t>Printed 10/7/2016 9:44 AM Eastern Standard Time</a:t>
            </a:r>
            <a:endParaRPr lang="en-US" sz="1568" dirty="0">
              <a:solidFill>
                <a:srgbClr val="000000"/>
              </a:solidFill>
            </a:endParaRPr>
          </a:p>
        </p:txBody>
      </p:sp>
      <p:sp>
        <p:nvSpPr>
          <p:cNvPr id="19" name="doc id"/>
          <p:cNvSpPr>
            <a:spLocks noChangeArrowheads="1"/>
          </p:cNvSpPr>
          <p:nvPr>
            <p:custDataLst>
              <p:tags r:id="rId8"/>
            </p:custDataLst>
          </p:nvPr>
        </p:nvSpPr>
        <p:spPr bwMode="auto">
          <a:xfrm>
            <a:off x="8081970" y="36513"/>
            <a:ext cx="657225" cy="12223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endParaRPr lang="en-US" sz="784" dirty="0">
              <a:solidFill>
                <a:srgbClr val="000000"/>
              </a:solidFill>
            </a:endParaRPr>
          </a:p>
        </p:txBody>
      </p:sp>
      <p:sp>
        <p:nvSpPr>
          <p:cNvPr id="20" name="Line 55"/>
          <p:cNvSpPr>
            <a:spLocks noChangeShapeType="1"/>
          </p:cNvSpPr>
          <p:nvPr userDrawn="1">
            <p:custDataLst>
              <p:tags r:id="rId9"/>
            </p:custDataLst>
          </p:nvPr>
        </p:nvSpPr>
        <p:spPr bwMode="auto">
          <a:xfrm>
            <a:off x="-1588" y="6300788"/>
            <a:ext cx="8961438" cy="0"/>
          </a:xfrm>
          <a:prstGeom prst="line">
            <a:avLst/>
          </a:prstGeom>
          <a:noFill/>
          <a:ln w="9525">
            <a:solidFill>
              <a:srgbClr val="C0C0C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0996" tIns="45502" rIns="90996" bIns="45502"/>
          <a:lstStyle/>
          <a:p>
            <a:pPr defTabSz="891846" fontAlgn="base">
              <a:spcBef>
                <a:spcPct val="0"/>
              </a:spcBef>
              <a:spcAft>
                <a:spcPct val="0"/>
              </a:spcAft>
            </a:pPr>
            <a:endParaRPr lang="en-US" sz="1568">
              <a:solidFill>
                <a:srgbClr val="000000"/>
              </a:solidFill>
            </a:endParaRPr>
          </a:p>
        </p:txBody>
      </p:sp>
      <p:sp>
        <p:nvSpPr>
          <p:cNvPr id="22" name="doc id"/>
          <p:cNvSpPr txBox="1">
            <a:spLocks noChangeArrowheads="1"/>
          </p:cNvSpPr>
          <p:nvPr userDrawn="1">
            <p:custDataLst>
              <p:tags r:id="rId10"/>
            </p:custDataLst>
          </p:nvPr>
        </p:nvSpPr>
        <p:spPr bwMode="auto">
          <a:xfrm>
            <a:off x="8442325"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a:solidFill>
                <a:srgbClr val="000000"/>
              </a:solidFill>
            </a:endParaRPr>
          </a:p>
        </p:txBody>
      </p:sp>
      <p:sp>
        <p:nvSpPr>
          <p:cNvPr id="32" name="doc id"/>
          <p:cNvSpPr>
            <a:spLocks noChangeArrowheads="1"/>
          </p:cNvSpPr>
          <p:nvPr>
            <p:custDataLst>
              <p:tags r:id="rId11"/>
            </p:custDataLst>
          </p:nvPr>
        </p:nvSpPr>
        <p:spPr bwMode="auto">
          <a:xfrm>
            <a:off x="8502884" y="0"/>
            <a:ext cx="385693" cy="8624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endParaRPr lang="en-US" sz="784" dirty="0">
              <a:solidFill>
                <a:srgbClr val="000000"/>
              </a:solidFill>
            </a:endParaRPr>
          </a:p>
        </p:txBody>
      </p:sp>
      <p:sp>
        <p:nvSpPr>
          <p:cNvPr id="33" name="doc id"/>
          <p:cNvSpPr txBox="1">
            <a:spLocks noChangeArrowheads="1"/>
          </p:cNvSpPr>
          <p:nvPr userDrawn="1">
            <p:custDataLst>
              <p:tags r:id="rId12"/>
            </p:custDataLst>
          </p:nvPr>
        </p:nvSpPr>
        <p:spPr bwMode="auto">
          <a:xfrm>
            <a:off x="8714359" y="0"/>
            <a:ext cx="173282" cy="86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a:solidFill>
                <a:srgbClr val="000000"/>
              </a:solidFill>
            </a:endParaRPr>
          </a:p>
        </p:txBody>
      </p:sp>
      <p:sp>
        <p:nvSpPr>
          <p:cNvPr id="31" name="SlideBottomBar">
            <a:extLst>
              <a:ext uri="{FF2B5EF4-FFF2-40B4-BE49-F238E27FC236}">
                <a16:creationId xmlns:a16="http://schemas.microsoft.com/office/drawing/2014/main" id="{78FD313C-7A67-4358-A15B-8BB46DAC13B0}"/>
              </a:ext>
            </a:extLst>
          </p:cNvPr>
          <p:cNvSpPr>
            <a:spLocks noChangeArrowheads="1"/>
          </p:cNvSpPr>
          <p:nvPr userDrawn="1"/>
        </p:nvSpPr>
        <p:spPr bwMode="auto">
          <a:xfrm>
            <a:off x="0" y="5886718"/>
            <a:ext cx="8961438" cy="422275"/>
          </a:xfrm>
          <a:prstGeom prst="rect">
            <a:avLst/>
          </a:prstGeom>
          <a:solidFill>
            <a:schemeClr val="bg1"/>
          </a:solidFill>
          <a:ln>
            <a:noFill/>
          </a:ln>
          <a:effectLst/>
        </p:spPr>
        <p:txBody>
          <a:bodyPr wrap="none" anchor="ctr"/>
          <a:lstStyle/>
          <a:p>
            <a:endParaRPr lang="en-US" dirty="0">
              <a:solidFill>
                <a:prstClr val="black"/>
              </a:solidFill>
              <a:latin typeface="Arial"/>
            </a:endParaRPr>
          </a:p>
        </p:txBody>
      </p:sp>
      <p:sp>
        <p:nvSpPr>
          <p:cNvPr id="34" name="Slide Number">
            <a:extLst>
              <a:ext uri="{FF2B5EF4-FFF2-40B4-BE49-F238E27FC236}">
                <a16:creationId xmlns:a16="http://schemas.microsoft.com/office/drawing/2014/main" id="{E7A65611-4C29-49E0-91C7-3BAF1BD0ACB1}"/>
              </a:ext>
            </a:extLst>
          </p:cNvPr>
          <p:cNvSpPr txBox="1">
            <a:spLocks/>
          </p:cNvSpPr>
          <p:nvPr userDrawn="1"/>
        </p:nvSpPr>
        <p:spPr>
          <a:xfrm>
            <a:off x="8620402" y="6434981"/>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a:fld id="{9DFEBC09-D879-48E7-AEAD-5FE66CDB4CF0}" type="slidenum">
              <a:rPr lang="en-US" smtClean="0">
                <a:solidFill>
                  <a:srgbClr val="39302A"/>
                </a:solidFill>
              </a:rPr>
              <a:pPr algn="ctr"/>
              <a:t>‹#›</a:t>
            </a:fld>
            <a:endParaRPr lang="en-US" dirty="0">
              <a:solidFill>
                <a:srgbClr val="39302A"/>
              </a:solidFill>
            </a:endParaRPr>
          </a:p>
        </p:txBody>
      </p:sp>
      <p:sp>
        <p:nvSpPr>
          <p:cNvPr id="42" name="Rectangle 41">
            <a:extLst>
              <a:ext uri="{FF2B5EF4-FFF2-40B4-BE49-F238E27FC236}">
                <a16:creationId xmlns:a16="http://schemas.microsoft.com/office/drawing/2014/main" id="{DC702686-8039-43C4-9CB7-39F46A7CE481}"/>
              </a:ext>
            </a:extLst>
          </p:cNvPr>
          <p:cNvSpPr/>
          <p:nvPr userDrawn="1"/>
        </p:nvSpPr>
        <p:spPr>
          <a:xfrm>
            <a:off x="0" y="6390504"/>
            <a:ext cx="8961438" cy="340398"/>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pic>
        <p:nvPicPr>
          <p:cNvPr id="43" name="Picture 42">
            <a:extLst>
              <a:ext uri="{FF2B5EF4-FFF2-40B4-BE49-F238E27FC236}">
                <a16:creationId xmlns:a16="http://schemas.microsoft.com/office/drawing/2014/main" id="{93C2CD2C-0D87-4912-BDCF-BB04DB906874}"/>
              </a:ext>
            </a:extLst>
          </p:cNvPr>
          <p:cNvPicPr>
            <a:picLocks noChangeAspect="1"/>
          </p:cNvPicPr>
          <p:nvPr userDrawn="1"/>
        </p:nvPicPr>
        <p:blipFill>
          <a:blip r:embed="rId16"/>
          <a:stretch>
            <a:fillRect/>
          </a:stretch>
        </p:blipFill>
        <p:spPr>
          <a:xfrm>
            <a:off x="4057195" y="6395593"/>
            <a:ext cx="506012" cy="335309"/>
          </a:xfrm>
          <a:prstGeom prst="rect">
            <a:avLst/>
          </a:prstGeom>
        </p:spPr>
      </p:pic>
      <p:pic>
        <p:nvPicPr>
          <p:cNvPr id="44" name="Picture 43">
            <a:extLst>
              <a:ext uri="{FF2B5EF4-FFF2-40B4-BE49-F238E27FC236}">
                <a16:creationId xmlns:a16="http://schemas.microsoft.com/office/drawing/2014/main" id="{C85CF614-A83F-4D6E-A207-A04B5D033D38}"/>
              </a:ext>
            </a:extLst>
          </p:cNvPr>
          <p:cNvPicPr>
            <a:picLocks noChangeAspect="1"/>
          </p:cNvPicPr>
          <p:nvPr userDrawn="1"/>
        </p:nvPicPr>
        <p:blipFill>
          <a:blip r:embed="rId17"/>
          <a:stretch>
            <a:fillRect/>
          </a:stretch>
        </p:blipFill>
        <p:spPr>
          <a:xfrm>
            <a:off x="8301843" y="59362"/>
            <a:ext cx="627942" cy="634039"/>
          </a:xfrm>
          <a:prstGeom prst="rect">
            <a:avLst/>
          </a:prstGeom>
        </p:spPr>
      </p:pic>
    </p:spTree>
    <p:extLst>
      <p:ext uri="{BB962C8B-B14F-4D97-AF65-F5344CB8AC3E}">
        <p14:creationId xmlns:p14="http://schemas.microsoft.com/office/powerpoint/2010/main" val="3902383871"/>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cSld name="Blank">
    <p:bg>
      <p:bgRef idx="1001">
        <a:schemeClr val="bg1"/>
      </p:bgRef>
    </p:bg>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ea typeface="MS PGothic" panose="020B0600070205080204" pitchFamily="34" charset="-128"/>
              </a:defRPr>
            </a:lvl1pPr>
          </a:lstStyle>
          <a:p>
            <a:pPr>
              <a:defRPr/>
            </a:pPr>
            <a:fld id="{390C57AB-764E-458C-B1A5-5787A8CEE192}" type="datetime1">
              <a:rPr lang="en-US"/>
              <a:pPr>
                <a:defRPr/>
              </a:pPr>
              <a:t>6/7/21</a:t>
            </a:fld>
            <a:endParaRPr lang="en-US"/>
          </a:p>
        </p:txBody>
      </p:sp>
      <p:sp>
        <p:nvSpPr>
          <p:cNvPr id="3" name="Footer Placeholder 4"/>
          <p:cNvSpPr>
            <a:spLocks noGrp="1"/>
          </p:cNvSpPr>
          <p:nvPr>
            <p:ph type="ftr" sz="quarter" idx="11"/>
          </p:nvPr>
        </p:nvSpPr>
        <p:spPr/>
        <p:txBody>
          <a:bodyPr/>
          <a:lstStyle>
            <a:lvl1pPr>
              <a:defRPr>
                <a:ea typeface="MS PGothic" panose="020B0600070205080204" pitchFamily="34" charset="-128"/>
              </a:defRPr>
            </a:lvl1pPr>
          </a:lstStyle>
          <a:p>
            <a:pPr>
              <a:defRPr/>
            </a:pPr>
            <a:endParaRPr lang="en-US"/>
          </a:p>
        </p:txBody>
      </p:sp>
      <p:sp>
        <p:nvSpPr>
          <p:cNvPr id="4" name="Slide Number Placeholder 5"/>
          <p:cNvSpPr>
            <a:spLocks noGrp="1"/>
          </p:cNvSpPr>
          <p:nvPr>
            <p:ph type="sldNum" sz="quarter" idx="12"/>
          </p:nvPr>
        </p:nvSpPr>
        <p:spPr/>
        <p:txBody>
          <a:bodyPr/>
          <a:lstStyle>
            <a:lvl1pPr>
              <a:defRPr>
                <a:latin typeface="Tahoma" panose="020B0604030504040204" pitchFamily="34" charset="0"/>
                <a:ea typeface="MS PGothic" panose="020B0600070205080204" pitchFamily="34" charset="-128"/>
              </a:defRPr>
            </a:lvl1pPr>
          </a:lstStyle>
          <a:p>
            <a:pPr>
              <a:defRPr/>
            </a:pPr>
            <a:fld id="{80533F63-1CFA-412D-B712-E583B36004FA}" type="slidenum">
              <a:rPr lang="en-US" altLang="en-US"/>
              <a:pPr>
                <a:defRPr/>
              </a:pPr>
              <a:t>‹#›</a:t>
            </a:fld>
            <a:endParaRPr lang="en-US" altLang="en-US"/>
          </a:p>
        </p:txBody>
      </p:sp>
    </p:spTree>
    <p:extLst>
      <p:ext uri="{BB962C8B-B14F-4D97-AF65-F5344CB8AC3E}">
        <p14:creationId xmlns:p14="http://schemas.microsoft.com/office/powerpoint/2010/main" val="2989679860"/>
      </p:ext>
    </p:extLst>
  </p:cSld>
  <p:clrMapOvr>
    <a:overrideClrMapping bg1="lt1" tx1="dk1" bg2="lt2" tx2="dk2" accent1="accent1" accent2="accent2" accent3="accent3" accent4="accent4" accent5="accent5" accent6="accent6" hlink="hlink" folHlink="folHlink"/>
  </p:clrMapOvr>
  <p:transition spd="slow"/>
</p:sldLayout>
</file>

<file path=ppt/slideLayouts/slideLayout51.xml><?xml version="1.0" encoding="utf-8"?>
<p:sldLayout xmlns:a="http://schemas.openxmlformats.org/drawingml/2006/main" xmlns:r="http://schemas.openxmlformats.org/officeDocument/2006/relationships" xmlns:p="http://schemas.openxmlformats.org/presentationml/2006/main" type="obj">
  <p:cSld name="Title and Content">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41"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3992651"/>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2_Title Only">
    <p:bg>
      <p:bgRef idx="1001">
        <a:schemeClr val="bg1"/>
      </p:bgRef>
    </p:bg>
    <p:spTree>
      <p:nvGrpSpPr>
        <p:cNvPr id="1" name=""/>
        <p:cNvGrpSpPr/>
        <p:nvPr/>
      </p:nvGrpSpPr>
      <p:grpSpPr>
        <a:xfrm>
          <a:off x="0" y="0"/>
          <a:ext cx="0" cy="0"/>
          <a:chOff x="0" y="0"/>
          <a:chExt cx="0" cy="0"/>
        </a:xfrm>
      </p:grpSpPr>
      <p:graphicFrame>
        <p:nvGraphicFramePr>
          <p:cNvPr id="3" name="Object 300" hidden="1"/>
          <p:cNvGraphicFramePr>
            <a:graphicFrameLocks noChangeAspect="1"/>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65" name="think-cell Slide" r:id="rId19" imgW="360" imgH="360" progId="">
                  <p:embed/>
                </p:oleObj>
              </mc:Choice>
              <mc:Fallback>
                <p:oleObj name="think-cell Slide" r:id="rId19" imgW="360" imgH="360" progId="">
                  <p:embed/>
                  <p:pic>
                    <p:nvPicPr>
                      <p:cNvPr id="3" name="Object 300"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27"/>
          <p:cNvGrpSpPr>
            <a:grpSpLocks/>
          </p:cNvGrpSpPr>
          <p:nvPr userDrawn="1">
            <p:custDataLst>
              <p:tags r:id="rId3"/>
            </p:custDataLst>
          </p:nvPr>
        </p:nvGrpSpPr>
        <p:grpSpPr bwMode="auto">
          <a:xfrm flipH="1">
            <a:off x="8089907" y="6300810"/>
            <a:ext cx="869950" cy="420687"/>
            <a:chOff x="0" y="647"/>
            <a:chExt cx="2278" cy="3325"/>
          </a:xfrm>
        </p:grpSpPr>
        <p:sp>
          <p:nvSpPr>
            <p:cNvPr id="5" name="Freeform 28"/>
            <p:cNvSpPr>
              <a:spLocks/>
            </p:cNvSpPr>
            <p:nvPr>
              <p:custDataLst>
                <p:tags r:id="rId16"/>
              </p:custDataLst>
            </p:nvPr>
          </p:nvSpPr>
          <p:spPr bwMode="auto">
            <a:xfrm>
              <a:off x="0" y="648"/>
              <a:ext cx="1650" cy="3324"/>
            </a:xfrm>
            <a:custGeom>
              <a:avLst/>
              <a:gdLst>
                <a:gd name="T0" fmla="*/ 343 w 1778"/>
                <a:gd name="T1" fmla="*/ 0 h 3324"/>
                <a:gd name="T2" fmla="*/ 308 w 1778"/>
                <a:gd name="T3" fmla="*/ 204 h 3324"/>
                <a:gd name="T4" fmla="*/ 210 w 1778"/>
                <a:gd name="T5" fmla="*/ 318 h 3324"/>
                <a:gd name="T6" fmla="*/ 396 w 1778"/>
                <a:gd name="T7" fmla="*/ 456 h 3324"/>
                <a:gd name="T8" fmla="*/ 760 w 1778"/>
                <a:gd name="T9" fmla="*/ 888 h 3324"/>
                <a:gd name="T10" fmla="*/ 990 w 1778"/>
                <a:gd name="T11" fmla="*/ 1446 h 3324"/>
                <a:gd name="T12" fmla="*/ 1054 w 1778"/>
                <a:gd name="T13" fmla="*/ 2028 h 3324"/>
                <a:gd name="T14" fmla="*/ 1023 w 1778"/>
                <a:gd name="T15" fmla="*/ 2496 h 3324"/>
                <a:gd name="T16" fmla="*/ 902 w 1778"/>
                <a:gd name="T17" fmla="*/ 2850 h 3324"/>
                <a:gd name="T18" fmla="*/ 748 w 1778"/>
                <a:gd name="T19" fmla="*/ 3162 h 3324"/>
                <a:gd name="T20" fmla="*/ 571 w 1778"/>
                <a:gd name="T21" fmla="*/ 3324 h 3324"/>
                <a:gd name="T22" fmla="*/ 2 w 1778"/>
                <a:gd name="T23" fmla="*/ 3324 h 3324"/>
                <a:gd name="T24" fmla="*/ 0 w 1778"/>
                <a:gd name="T25" fmla="*/ 0 h 3324"/>
                <a:gd name="T26" fmla="*/ 343 w 1778"/>
                <a:gd name="T27" fmla="*/ 0 h 332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78" h="3324">
                  <a:moveTo>
                    <a:pt x="580" y="0"/>
                  </a:moveTo>
                  <a:lnTo>
                    <a:pt x="520" y="204"/>
                  </a:lnTo>
                  <a:lnTo>
                    <a:pt x="354" y="318"/>
                  </a:lnTo>
                  <a:lnTo>
                    <a:pt x="669" y="456"/>
                  </a:lnTo>
                  <a:lnTo>
                    <a:pt x="1283" y="888"/>
                  </a:lnTo>
                  <a:lnTo>
                    <a:pt x="1671" y="1446"/>
                  </a:lnTo>
                  <a:lnTo>
                    <a:pt x="1778" y="2028"/>
                  </a:lnTo>
                  <a:lnTo>
                    <a:pt x="1724" y="2496"/>
                  </a:lnTo>
                  <a:lnTo>
                    <a:pt x="1522" y="2850"/>
                  </a:lnTo>
                  <a:lnTo>
                    <a:pt x="1260" y="3162"/>
                  </a:lnTo>
                  <a:lnTo>
                    <a:pt x="962" y="3324"/>
                  </a:lnTo>
                  <a:lnTo>
                    <a:pt x="2" y="3324"/>
                  </a:lnTo>
                  <a:lnTo>
                    <a:pt x="0" y="0"/>
                  </a:lnTo>
                  <a:lnTo>
                    <a:pt x="580" y="0"/>
                  </a:lnTo>
                  <a:close/>
                </a:path>
              </a:pathLst>
            </a:custGeom>
            <a:solidFill>
              <a:srgbClr val="EAEAEA"/>
            </a:solidFill>
            <a:ln>
              <a:noFill/>
            </a:ln>
            <a:effectLst/>
            <a:extLst>
              <a:ext uri="{91240B29-F687-4f45-9708-019B960494DF}">
                <a14:hiddenLine xmlns="" xmlns:a14="http://schemas.microsoft.com/office/drawing/2010/main" w="9525">
                  <a:solidFill>
                    <a:schemeClr val="tx1"/>
                  </a:solidFill>
                  <a:round/>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891846" fontAlgn="base">
                <a:spcBef>
                  <a:spcPct val="0"/>
                </a:spcBef>
                <a:spcAft>
                  <a:spcPct val="0"/>
                </a:spcAft>
              </a:pPr>
              <a:endParaRPr lang="en-US" sz="1568">
                <a:solidFill>
                  <a:srgbClr val="000000"/>
                </a:solidFill>
              </a:endParaRPr>
            </a:p>
          </p:txBody>
        </p:sp>
        <p:pic>
          <p:nvPicPr>
            <p:cNvPr id="6" name="Picture 29"/>
            <p:cNvPicPr>
              <a:picLocks noChangeAspect="1" noChangeArrowheads="1"/>
            </p:cNvPicPr>
            <p:nvPr>
              <p:custDataLst>
                <p:tags r:id="rId17"/>
              </p:custDataLst>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a:ext>
              </a:extLst>
            </a:blip>
            <a:srcRect l="44395" t="8026" b="26535"/>
            <a:stretch>
              <a:fillRect/>
            </a:stretch>
          </p:blipFill>
          <p:spPr bwMode="auto">
            <a:xfrm>
              <a:off x="72" y="647"/>
              <a:ext cx="2206" cy="33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sp>
        <p:nvSpPr>
          <p:cNvPr id="7" name="SlideLogoText"/>
          <p:cNvSpPr>
            <a:spLocks noChangeArrowheads="1"/>
          </p:cNvSpPr>
          <p:nvPr>
            <p:custDataLst>
              <p:tags r:id="rId4"/>
            </p:custDataLst>
          </p:nvPr>
        </p:nvSpPr>
        <p:spPr bwMode="auto">
          <a:xfrm>
            <a:off x="7108180" y="6479382"/>
            <a:ext cx="1053173" cy="15081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r>
              <a:rPr lang="en-US" sz="980" dirty="0">
                <a:solidFill>
                  <a:srgbClr val="000000"/>
                </a:solidFill>
              </a:rPr>
              <a:t> Management Tool</a:t>
            </a:r>
          </a:p>
        </p:txBody>
      </p:sp>
      <p:sp>
        <p:nvSpPr>
          <p:cNvPr id="8" name="McK 1. On-page tracker" hidden="1"/>
          <p:cNvSpPr>
            <a:spLocks noChangeArrowheads="1"/>
          </p:cNvSpPr>
          <p:nvPr>
            <p:custDataLst>
              <p:tags r:id="rId5"/>
            </p:custDataLst>
          </p:nvPr>
        </p:nvSpPr>
        <p:spPr bwMode="auto">
          <a:xfrm>
            <a:off x="119063" y="26989"/>
            <a:ext cx="838371" cy="21114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1372" dirty="0">
                <a:solidFill>
                  <a:srgbClr val="808080"/>
                </a:solidFill>
              </a:rPr>
              <a:t>TRACKER</a:t>
            </a:r>
          </a:p>
        </p:txBody>
      </p:sp>
      <p:sp>
        <p:nvSpPr>
          <p:cNvPr id="9" name="McK 3. Unit of measure" hidden="1"/>
          <p:cNvSpPr txBox="1">
            <a:spLocks noChangeArrowheads="1"/>
          </p:cNvSpPr>
          <p:nvPr>
            <p:custDataLst>
              <p:tags r:id="rId6"/>
            </p:custDataLst>
          </p:nvPr>
        </p:nvSpPr>
        <p:spPr bwMode="auto">
          <a:xfrm>
            <a:off x="119063" y="531813"/>
            <a:ext cx="3656012" cy="21114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372" dirty="0">
                <a:solidFill>
                  <a:srgbClr val="808080"/>
                </a:solidFill>
              </a:rPr>
              <a:t>Unit of measure</a:t>
            </a:r>
          </a:p>
        </p:txBody>
      </p:sp>
      <p:grpSp>
        <p:nvGrpSpPr>
          <p:cNvPr id="10" name="McK Slide Elements"/>
          <p:cNvGrpSpPr>
            <a:grpSpLocks/>
          </p:cNvGrpSpPr>
          <p:nvPr userDrawn="1"/>
        </p:nvGrpSpPr>
        <p:grpSpPr bwMode="auto">
          <a:xfrm>
            <a:off x="119063" y="6080125"/>
            <a:ext cx="8548687" cy="508000"/>
            <a:chOff x="75" y="3830"/>
            <a:chExt cx="5385" cy="320"/>
          </a:xfrm>
        </p:grpSpPr>
        <p:sp>
          <p:nvSpPr>
            <p:cNvPr id="11" name="McK 4. Footnote" hidden="1"/>
            <p:cNvSpPr txBox="1">
              <a:spLocks noChangeArrowheads="1"/>
            </p:cNvSpPr>
            <p:nvPr userDrawn="1"/>
          </p:nvSpPr>
          <p:spPr bwMode="auto">
            <a:xfrm>
              <a:off x="75" y="3830"/>
              <a:ext cx="5385" cy="9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980" dirty="0">
                  <a:solidFill>
                    <a:srgbClr val="000000"/>
                  </a:solidFill>
                </a:rPr>
                <a:t>1 Footnote</a:t>
              </a:r>
            </a:p>
          </p:txBody>
        </p:sp>
        <p:sp>
          <p:nvSpPr>
            <p:cNvPr id="12" name="McK 5. Source" hidden="1"/>
            <p:cNvSpPr>
              <a:spLocks noChangeArrowheads="1"/>
            </p:cNvSpPr>
            <p:nvPr userDrawn="1"/>
          </p:nvSpPr>
          <p:spPr bwMode="auto">
            <a:xfrm>
              <a:off x="75" y="4054"/>
              <a:ext cx="4323" cy="9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09600" indent="-609600" defTabSz="895350">
                <a:tabLst>
                  <a:tab pos="612775" algn="l"/>
                </a:tabLst>
                <a:defRPr sz="1600">
                  <a:solidFill>
                    <a:schemeClr val="tx1"/>
                  </a:solidFill>
                  <a:latin typeface="Arial" charset="0"/>
                </a:defRPr>
              </a:lvl1pPr>
              <a:lvl2pPr marL="742950" indent="-285750" defTabSz="895350">
                <a:tabLst>
                  <a:tab pos="612775" algn="l"/>
                </a:tabLst>
                <a:defRPr sz="1600">
                  <a:solidFill>
                    <a:schemeClr val="tx1"/>
                  </a:solidFill>
                  <a:latin typeface="Arial" charset="0"/>
                </a:defRPr>
              </a:lvl2pPr>
              <a:lvl3pPr marL="1143000" indent="-228600" defTabSz="895350">
                <a:tabLst>
                  <a:tab pos="612775" algn="l"/>
                </a:tabLst>
                <a:defRPr sz="1600">
                  <a:solidFill>
                    <a:schemeClr val="tx1"/>
                  </a:solidFill>
                  <a:latin typeface="Arial" charset="0"/>
                </a:defRPr>
              </a:lvl3pPr>
              <a:lvl4pPr marL="1600200" indent="-228600" defTabSz="895350">
                <a:tabLst>
                  <a:tab pos="612775" algn="l"/>
                </a:tabLst>
                <a:defRPr sz="1600">
                  <a:solidFill>
                    <a:schemeClr val="tx1"/>
                  </a:solidFill>
                  <a:latin typeface="Arial" charset="0"/>
                </a:defRPr>
              </a:lvl4pPr>
              <a:lvl5pPr marL="2057400" indent="-228600" defTabSz="895350">
                <a:tabLst>
                  <a:tab pos="612775" algn="l"/>
                </a:tabLst>
                <a:defRPr sz="1600">
                  <a:solidFill>
                    <a:schemeClr val="tx1"/>
                  </a:solidFill>
                  <a:latin typeface="Arial" charset="0"/>
                </a:defRPr>
              </a:lvl5pPr>
              <a:lvl6pPr marL="2514600" indent="-228600" defTabSz="895350" eaLnBrk="0" fontAlgn="base" hangingPunct="0">
                <a:spcBef>
                  <a:spcPct val="0"/>
                </a:spcBef>
                <a:spcAft>
                  <a:spcPct val="0"/>
                </a:spcAft>
                <a:tabLst>
                  <a:tab pos="612775" algn="l"/>
                </a:tabLst>
                <a:defRPr sz="1600">
                  <a:solidFill>
                    <a:schemeClr val="tx1"/>
                  </a:solidFill>
                  <a:latin typeface="Arial" charset="0"/>
                </a:defRPr>
              </a:lvl6pPr>
              <a:lvl7pPr marL="2971800" indent="-228600" defTabSz="895350" eaLnBrk="0" fontAlgn="base" hangingPunct="0">
                <a:spcBef>
                  <a:spcPct val="0"/>
                </a:spcBef>
                <a:spcAft>
                  <a:spcPct val="0"/>
                </a:spcAft>
                <a:tabLst>
                  <a:tab pos="612775" algn="l"/>
                </a:tabLst>
                <a:defRPr sz="1600">
                  <a:solidFill>
                    <a:schemeClr val="tx1"/>
                  </a:solidFill>
                  <a:latin typeface="Arial" charset="0"/>
                </a:defRPr>
              </a:lvl7pPr>
              <a:lvl8pPr marL="3429000" indent="-228600" defTabSz="895350" eaLnBrk="0" fontAlgn="base" hangingPunct="0">
                <a:spcBef>
                  <a:spcPct val="0"/>
                </a:spcBef>
                <a:spcAft>
                  <a:spcPct val="0"/>
                </a:spcAft>
                <a:tabLst>
                  <a:tab pos="612775" algn="l"/>
                </a:tabLst>
                <a:defRPr sz="1600">
                  <a:solidFill>
                    <a:schemeClr val="tx1"/>
                  </a:solidFill>
                  <a:latin typeface="Arial" charset="0"/>
                </a:defRPr>
              </a:lvl8pPr>
              <a:lvl9pPr marL="3886200" indent="-228600" defTabSz="895350" eaLnBrk="0" fontAlgn="base" hangingPunct="0">
                <a:spcBef>
                  <a:spcPct val="0"/>
                </a:spcBef>
                <a:spcAft>
                  <a:spcPct val="0"/>
                </a:spcAft>
                <a:tabLst>
                  <a:tab pos="612775" algn="l"/>
                </a:tabLst>
                <a:defRPr sz="1600">
                  <a:solidFill>
                    <a:schemeClr val="tx1"/>
                  </a:solidFill>
                  <a:latin typeface="Arial" charset="0"/>
                </a:defRPr>
              </a:lvl9pPr>
            </a:lstStyle>
            <a:p>
              <a:pPr fontAlgn="base">
                <a:spcBef>
                  <a:spcPct val="0"/>
                </a:spcBef>
                <a:spcAft>
                  <a:spcPct val="0"/>
                </a:spcAft>
                <a:defRPr/>
              </a:pPr>
              <a:r>
                <a:rPr lang="en-US" sz="980" dirty="0">
                  <a:solidFill>
                    <a:srgbClr val="000000"/>
                  </a:solidFill>
                </a:rPr>
                <a:t>SOURCE: Source</a:t>
              </a:r>
            </a:p>
          </p:txBody>
        </p:sp>
      </p:grpSp>
      <p:grpSp>
        <p:nvGrpSpPr>
          <p:cNvPr id="13" name="ACET" hidden="1"/>
          <p:cNvGrpSpPr>
            <a:grpSpLocks/>
          </p:cNvGrpSpPr>
          <p:nvPr>
            <p:custDataLst>
              <p:tags r:id="rId7"/>
            </p:custDataLst>
          </p:nvPr>
        </p:nvGrpSpPr>
        <p:grpSpPr bwMode="auto">
          <a:xfrm>
            <a:off x="1452573" y="1127125"/>
            <a:ext cx="4264025" cy="508000"/>
            <a:chOff x="915" y="710"/>
            <a:chExt cx="2686" cy="320"/>
          </a:xfrm>
        </p:grpSpPr>
        <p:cxnSp>
          <p:nvCxnSpPr>
            <p:cNvPr id="14" name="AutoShape 249" hidden="1"/>
            <p:cNvCxnSpPr>
              <a:cxnSpLocks noChangeShapeType="1"/>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5" name="AutoShape 250" hidden="1"/>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1568" dirty="0">
                  <a:solidFill>
                    <a:srgbClr val="000000"/>
                  </a:solidFill>
                </a:rPr>
                <a:t>Title</a:t>
              </a:r>
            </a:p>
            <a:p>
              <a:pPr defTabSz="891846" fontAlgn="base">
                <a:spcBef>
                  <a:spcPct val="0"/>
                </a:spcBef>
                <a:spcAft>
                  <a:spcPct val="0"/>
                </a:spcAft>
                <a:defRPr/>
              </a:pPr>
              <a:r>
                <a:rPr lang="en-US" sz="1568" dirty="0">
                  <a:solidFill>
                    <a:srgbClr val="808080"/>
                  </a:solidFill>
                </a:rPr>
                <a:t>Unit of measure</a:t>
              </a:r>
            </a:p>
          </p:txBody>
        </p:sp>
      </p:grpSp>
      <p:sp>
        <p:nvSpPr>
          <p:cNvPr id="16" name="Working Draft" hidden="1"/>
          <p:cNvSpPr txBox="1">
            <a:spLocks noChangeArrowheads="1"/>
          </p:cNvSpPr>
          <p:nvPr>
            <p:custDataLst>
              <p:tags r:id="rId8"/>
            </p:custDataLst>
          </p:nvPr>
        </p:nvSpPr>
        <p:spPr bwMode="auto">
          <a:xfrm rot="5400000">
            <a:off x="7964276" y="1934377"/>
            <a:ext cx="1854675" cy="9047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588">
                <a:solidFill>
                  <a:srgbClr val="000000"/>
                </a:solidFill>
              </a:rPr>
              <a:t>Last Modified 1/2/2017 12:32 PM Pacific Standard Time</a:t>
            </a:r>
            <a:endParaRPr lang="en-US" sz="1568" dirty="0">
              <a:solidFill>
                <a:srgbClr val="000000"/>
              </a:solidFill>
            </a:endParaRPr>
          </a:p>
        </p:txBody>
      </p:sp>
      <p:sp>
        <p:nvSpPr>
          <p:cNvPr id="17" name="Printed" hidden="1"/>
          <p:cNvSpPr txBox="1">
            <a:spLocks noChangeArrowheads="1"/>
          </p:cNvSpPr>
          <p:nvPr>
            <p:custDataLst>
              <p:tags r:id="rId9"/>
            </p:custDataLst>
          </p:nvPr>
        </p:nvSpPr>
        <p:spPr bwMode="auto">
          <a:xfrm rot="5400000">
            <a:off x="8049211" y="3852871"/>
            <a:ext cx="1684757" cy="9047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588">
                <a:solidFill>
                  <a:srgbClr val="000000"/>
                </a:solidFill>
              </a:rPr>
              <a:t>Printed 10/7/2016 9:44 AM Eastern Standard Time</a:t>
            </a:r>
            <a:endParaRPr lang="en-US" sz="1568" dirty="0">
              <a:solidFill>
                <a:srgbClr val="000000"/>
              </a:solidFill>
            </a:endParaRPr>
          </a:p>
        </p:txBody>
      </p:sp>
      <p:sp>
        <p:nvSpPr>
          <p:cNvPr id="18" name="SlideLogoSeparator"/>
          <p:cNvSpPr>
            <a:spLocks noChangeArrowheads="1"/>
          </p:cNvSpPr>
          <p:nvPr>
            <p:custDataLst>
              <p:tags r:id="rId10"/>
            </p:custDataLst>
          </p:nvPr>
        </p:nvSpPr>
        <p:spPr bwMode="auto">
          <a:xfrm>
            <a:off x="8248277" y="6447647"/>
            <a:ext cx="38473" cy="18094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r>
              <a:rPr lang="en-US" sz="1176" dirty="0">
                <a:solidFill>
                  <a:srgbClr val="000000"/>
                </a:solidFill>
              </a:rPr>
              <a:t>|</a:t>
            </a:r>
          </a:p>
        </p:txBody>
      </p:sp>
      <p:sp>
        <p:nvSpPr>
          <p:cNvPr id="19" name="doc id"/>
          <p:cNvSpPr>
            <a:spLocks noChangeArrowheads="1"/>
          </p:cNvSpPr>
          <p:nvPr>
            <p:custDataLst>
              <p:tags r:id="rId11"/>
            </p:custDataLst>
          </p:nvPr>
        </p:nvSpPr>
        <p:spPr bwMode="auto">
          <a:xfrm>
            <a:off x="8081970" y="36513"/>
            <a:ext cx="657225" cy="12223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endParaRPr lang="en-US" sz="784" dirty="0">
              <a:solidFill>
                <a:srgbClr val="000000"/>
              </a:solidFill>
            </a:endParaRPr>
          </a:p>
        </p:txBody>
      </p:sp>
      <p:sp>
        <p:nvSpPr>
          <p:cNvPr id="20" name="Line 55"/>
          <p:cNvSpPr>
            <a:spLocks noChangeShapeType="1"/>
          </p:cNvSpPr>
          <p:nvPr userDrawn="1">
            <p:custDataLst>
              <p:tags r:id="rId12"/>
            </p:custDataLst>
          </p:nvPr>
        </p:nvSpPr>
        <p:spPr bwMode="auto">
          <a:xfrm>
            <a:off x="-1588" y="6300788"/>
            <a:ext cx="8961438" cy="0"/>
          </a:xfrm>
          <a:prstGeom prst="line">
            <a:avLst/>
          </a:prstGeom>
          <a:noFill/>
          <a:ln w="9525">
            <a:solidFill>
              <a:srgbClr val="C0C0C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0996" tIns="45502" rIns="90996" bIns="45502"/>
          <a:lstStyle/>
          <a:p>
            <a:pPr defTabSz="891846" fontAlgn="base">
              <a:spcBef>
                <a:spcPct val="0"/>
              </a:spcBef>
              <a:spcAft>
                <a:spcPct val="0"/>
              </a:spcAft>
            </a:pPr>
            <a:endParaRPr lang="en-US" sz="1568">
              <a:solidFill>
                <a:srgbClr val="000000"/>
              </a:solidFill>
            </a:endParaRPr>
          </a:p>
        </p:txBody>
      </p:sp>
      <p:sp>
        <p:nvSpPr>
          <p:cNvPr id="21" name="TextBox 21"/>
          <p:cNvSpPr txBox="1">
            <a:spLocks noChangeArrowheads="1"/>
          </p:cNvSpPr>
          <p:nvPr userDrawn="1"/>
        </p:nvSpPr>
        <p:spPr bwMode="auto">
          <a:xfrm>
            <a:off x="8545524" y="6435725"/>
            <a:ext cx="209550" cy="152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a:defRPr sz="1100" b="1">
                <a:solidFill>
                  <a:schemeClr val="tx1"/>
                </a:solidFill>
                <a:latin typeface="Arial" charset="0"/>
              </a:defRPr>
            </a:lvl1pPr>
            <a:lvl2pPr marL="742950" indent="-285750">
              <a:defRPr sz="1100" b="1">
                <a:solidFill>
                  <a:schemeClr val="tx1"/>
                </a:solidFill>
                <a:latin typeface="Arial" charset="0"/>
              </a:defRPr>
            </a:lvl2pPr>
            <a:lvl3pPr marL="1143000" indent="-228600">
              <a:defRPr sz="1100" b="1">
                <a:solidFill>
                  <a:schemeClr val="tx1"/>
                </a:solidFill>
                <a:latin typeface="Arial" charset="0"/>
              </a:defRPr>
            </a:lvl3pPr>
            <a:lvl4pPr marL="1600200" indent="-228600">
              <a:defRPr sz="1100" b="1">
                <a:solidFill>
                  <a:schemeClr val="tx1"/>
                </a:solidFill>
                <a:latin typeface="Arial" charset="0"/>
              </a:defRPr>
            </a:lvl4pPr>
            <a:lvl5pPr marL="2057400" indent="-228600">
              <a:defRPr sz="1100" b="1">
                <a:solidFill>
                  <a:schemeClr val="tx1"/>
                </a:solidFill>
                <a:latin typeface="Arial" charset="0"/>
              </a:defRPr>
            </a:lvl5pPr>
            <a:lvl6pPr marL="25146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6pPr>
            <a:lvl7pPr marL="29718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7pPr>
            <a:lvl8pPr marL="34290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8pPr>
            <a:lvl9pPr marL="38862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9pPr>
          </a:lstStyle>
          <a:p>
            <a:pPr defTabSz="891846" fontAlgn="base">
              <a:spcBef>
                <a:spcPct val="0"/>
              </a:spcBef>
              <a:spcAft>
                <a:spcPct val="0"/>
              </a:spcAft>
              <a:buClr>
                <a:srgbClr val="002960"/>
              </a:buClr>
            </a:pPr>
            <a:fld id="{E4B8F564-A5AC-4E92-B5C6-057A642C76E5}" type="slidenum">
              <a:rPr lang="en-US" sz="980" b="0">
                <a:solidFill>
                  <a:srgbClr val="000000"/>
                </a:solidFill>
              </a:rPr>
              <a:pPr defTabSz="891846" fontAlgn="base">
                <a:spcBef>
                  <a:spcPct val="0"/>
                </a:spcBef>
                <a:spcAft>
                  <a:spcPct val="0"/>
                </a:spcAft>
                <a:buClr>
                  <a:srgbClr val="002960"/>
                </a:buClr>
              </a:pPr>
              <a:t>‹#›</a:t>
            </a:fld>
            <a:endParaRPr lang="en-US" sz="980" b="0">
              <a:solidFill>
                <a:srgbClr val="000000"/>
              </a:solidFill>
            </a:endParaRPr>
          </a:p>
        </p:txBody>
      </p:sp>
      <p:sp>
        <p:nvSpPr>
          <p:cNvPr id="22" name="doc id"/>
          <p:cNvSpPr txBox="1">
            <a:spLocks noChangeArrowheads="1"/>
          </p:cNvSpPr>
          <p:nvPr userDrawn="1">
            <p:custDataLst>
              <p:tags r:id="rId13"/>
            </p:custDataLst>
          </p:nvPr>
        </p:nvSpPr>
        <p:spPr bwMode="auto">
          <a:xfrm>
            <a:off x="8442325"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a:solidFill>
                <a:srgbClr val="000000"/>
              </a:solidFill>
            </a:endParaRPr>
          </a:p>
        </p:txBody>
      </p:sp>
      <p:sp>
        <p:nvSpPr>
          <p:cNvPr id="32" name="doc id"/>
          <p:cNvSpPr>
            <a:spLocks noChangeArrowheads="1"/>
          </p:cNvSpPr>
          <p:nvPr>
            <p:custDataLst>
              <p:tags r:id="rId14"/>
            </p:custDataLst>
          </p:nvPr>
        </p:nvSpPr>
        <p:spPr bwMode="auto">
          <a:xfrm>
            <a:off x="8502884" y="0"/>
            <a:ext cx="385693" cy="8624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endParaRPr lang="en-US" sz="784" dirty="0">
              <a:solidFill>
                <a:srgbClr val="000000"/>
              </a:solidFill>
            </a:endParaRPr>
          </a:p>
        </p:txBody>
      </p:sp>
      <p:sp>
        <p:nvSpPr>
          <p:cNvPr id="33" name="doc id"/>
          <p:cNvSpPr txBox="1">
            <a:spLocks noChangeArrowheads="1"/>
          </p:cNvSpPr>
          <p:nvPr userDrawn="1">
            <p:custDataLst>
              <p:tags r:id="rId15"/>
            </p:custDataLst>
          </p:nvPr>
        </p:nvSpPr>
        <p:spPr bwMode="auto">
          <a:xfrm>
            <a:off x="8714359" y="0"/>
            <a:ext cx="173282" cy="86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a:solidFill>
                <a:srgbClr val="000000"/>
              </a:solidFill>
            </a:endParaRPr>
          </a:p>
        </p:txBody>
      </p:sp>
      <p:grpSp>
        <p:nvGrpSpPr>
          <p:cNvPr id="35" name="Group 34"/>
          <p:cNvGrpSpPr/>
          <p:nvPr userDrawn="1"/>
        </p:nvGrpSpPr>
        <p:grpSpPr>
          <a:xfrm>
            <a:off x="8530052" y="100745"/>
            <a:ext cx="402308" cy="387401"/>
            <a:chOff x="4546451" y="36513"/>
            <a:chExt cx="4281734" cy="3212617"/>
          </a:xfrm>
        </p:grpSpPr>
        <p:grpSp>
          <p:nvGrpSpPr>
            <p:cNvPr id="36" name="Group 35"/>
            <p:cNvGrpSpPr/>
            <p:nvPr userDrawn="1"/>
          </p:nvGrpSpPr>
          <p:grpSpPr>
            <a:xfrm>
              <a:off x="4546451" y="36513"/>
              <a:ext cx="4281734" cy="3212617"/>
              <a:chOff x="5092995" y="4741712"/>
              <a:chExt cx="1364293" cy="1023639"/>
            </a:xfrm>
          </p:grpSpPr>
          <p:sp>
            <p:nvSpPr>
              <p:cNvPr id="38" name="Oval 37"/>
              <p:cNvSpPr/>
              <p:nvPr userDrawn="1"/>
            </p:nvSpPr>
            <p:spPr>
              <a:xfrm flipH="1">
                <a:off x="5121276" y="4741712"/>
                <a:ext cx="1336012" cy="1023639"/>
              </a:xfrm>
              <a:prstGeom prst="ellipse">
                <a:avLst/>
              </a:prstGeom>
              <a:solidFill>
                <a:srgbClr val="6F0710"/>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sp>
            <p:nvSpPr>
              <p:cNvPr id="39" name="Oval 38"/>
              <p:cNvSpPr/>
              <p:nvPr userDrawn="1"/>
            </p:nvSpPr>
            <p:spPr>
              <a:xfrm flipH="1">
                <a:off x="5121276" y="4830540"/>
                <a:ext cx="1104142" cy="845983"/>
              </a:xfrm>
              <a:prstGeom prst="ellipse">
                <a:avLst/>
              </a:prstGeom>
              <a:solidFill>
                <a:srgbClr val="E06020"/>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sp>
            <p:nvSpPr>
              <p:cNvPr id="40" name="Oval 39"/>
              <p:cNvSpPr/>
              <p:nvPr userDrawn="1"/>
            </p:nvSpPr>
            <p:spPr>
              <a:xfrm flipH="1">
                <a:off x="5121276" y="4903952"/>
                <a:ext cx="912514" cy="699159"/>
              </a:xfrm>
              <a:prstGeom prst="ellipse">
                <a:avLst/>
              </a:prstGeom>
              <a:solidFill>
                <a:srgbClr val="FFCA08"/>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sp>
            <p:nvSpPr>
              <p:cNvPr id="41" name="Oval 40"/>
              <p:cNvSpPr/>
              <p:nvPr userDrawn="1"/>
            </p:nvSpPr>
            <p:spPr>
              <a:xfrm flipH="1">
                <a:off x="5092995" y="4949886"/>
                <a:ext cx="754144" cy="607291"/>
              </a:xfrm>
              <a:prstGeom prst="ellipse">
                <a:avLst/>
              </a:prstGeom>
              <a:solidFill>
                <a:sysClr val="window" lastClr="FFFFFF"/>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grpSp>
        <p:sp>
          <p:nvSpPr>
            <p:cNvPr id="37" name="Freeform 41"/>
            <p:cNvSpPr>
              <a:spLocks/>
            </p:cNvSpPr>
            <p:nvPr userDrawn="1"/>
          </p:nvSpPr>
          <p:spPr bwMode="gray">
            <a:xfrm>
              <a:off x="4970507" y="953526"/>
              <a:ext cx="1278348" cy="1418128"/>
            </a:xfrm>
            <a:custGeom>
              <a:avLst/>
              <a:gdLst/>
              <a:ahLst/>
              <a:cxnLst/>
              <a:rect l="l" t="t" r="r" b="b"/>
              <a:pathLst>
                <a:path w="4758872" h="5279224">
                  <a:moveTo>
                    <a:pt x="4623602" y="3613775"/>
                  </a:moveTo>
                  <a:cubicBezTo>
                    <a:pt x="4628404" y="3617119"/>
                    <a:pt x="4638009" y="3642198"/>
                    <a:pt x="4644412" y="3653901"/>
                  </a:cubicBezTo>
                  <a:cubicBezTo>
                    <a:pt x="4647614" y="3665605"/>
                    <a:pt x="4647614" y="3675636"/>
                    <a:pt x="4658820" y="3683996"/>
                  </a:cubicBezTo>
                  <a:cubicBezTo>
                    <a:pt x="4665223" y="3699043"/>
                    <a:pt x="4665223" y="3702387"/>
                    <a:pt x="4673228" y="3717434"/>
                  </a:cubicBezTo>
                  <a:cubicBezTo>
                    <a:pt x="4674828" y="3732482"/>
                    <a:pt x="4674828" y="3727466"/>
                    <a:pt x="4676429" y="3744185"/>
                  </a:cubicBezTo>
                  <a:cubicBezTo>
                    <a:pt x="4678030" y="3760904"/>
                    <a:pt x="4678030" y="3799359"/>
                    <a:pt x="4681232" y="3814406"/>
                  </a:cubicBezTo>
                  <a:cubicBezTo>
                    <a:pt x="4682833" y="3831125"/>
                    <a:pt x="4690837" y="3827781"/>
                    <a:pt x="4692438" y="3837813"/>
                  </a:cubicBezTo>
                  <a:cubicBezTo>
                    <a:pt x="4694038" y="3847845"/>
                    <a:pt x="4695639" y="3866236"/>
                    <a:pt x="4692438" y="3874595"/>
                  </a:cubicBezTo>
                  <a:cubicBezTo>
                    <a:pt x="4689236" y="3882955"/>
                    <a:pt x="4681232" y="3892986"/>
                    <a:pt x="4676429" y="3892986"/>
                  </a:cubicBezTo>
                  <a:cubicBezTo>
                    <a:pt x="4671627" y="3894658"/>
                    <a:pt x="4666824" y="3877939"/>
                    <a:pt x="4662022" y="3874595"/>
                  </a:cubicBezTo>
                  <a:cubicBezTo>
                    <a:pt x="4657219" y="3871251"/>
                    <a:pt x="4647614" y="3864564"/>
                    <a:pt x="4644412" y="3869580"/>
                  </a:cubicBezTo>
                  <a:cubicBezTo>
                    <a:pt x="4631606" y="3847845"/>
                    <a:pt x="4639610" y="3899674"/>
                    <a:pt x="4639610" y="3904690"/>
                  </a:cubicBezTo>
                  <a:cubicBezTo>
                    <a:pt x="4639610" y="3916393"/>
                    <a:pt x="4647614" y="3909706"/>
                    <a:pt x="4649215" y="3919737"/>
                  </a:cubicBezTo>
                  <a:cubicBezTo>
                    <a:pt x="4650816" y="3924753"/>
                    <a:pt x="4649215" y="3934785"/>
                    <a:pt x="4647614" y="3939800"/>
                  </a:cubicBezTo>
                  <a:cubicBezTo>
                    <a:pt x="4646013" y="3946488"/>
                    <a:pt x="4642812" y="3946488"/>
                    <a:pt x="4639610" y="3953176"/>
                  </a:cubicBezTo>
                  <a:cubicBezTo>
                    <a:pt x="4642812" y="3954848"/>
                    <a:pt x="4662022" y="3951504"/>
                    <a:pt x="4663623" y="3954848"/>
                  </a:cubicBezTo>
                  <a:cubicBezTo>
                    <a:pt x="4665223" y="3958192"/>
                    <a:pt x="4657219" y="3968223"/>
                    <a:pt x="4654017" y="3973239"/>
                  </a:cubicBezTo>
                  <a:cubicBezTo>
                    <a:pt x="4650816" y="3978255"/>
                    <a:pt x="4652417" y="3984942"/>
                    <a:pt x="4647614" y="3984942"/>
                  </a:cubicBezTo>
                  <a:cubicBezTo>
                    <a:pt x="4642812" y="3984942"/>
                    <a:pt x="4633207" y="3964879"/>
                    <a:pt x="4628404" y="3969895"/>
                  </a:cubicBezTo>
                  <a:cubicBezTo>
                    <a:pt x="4625202" y="3974911"/>
                    <a:pt x="4623602" y="3999990"/>
                    <a:pt x="4620400" y="4018381"/>
                  </a:cubicBezTo>
                  <a:cubicBezTo>
                    <a:pt x="4620400" y="4030084"/>
                    <a:pt x="4626803" y="4038444"/>
                    <a:pt x="4625202" y="4043460"/>
                  </a:cubicBezTo>
                  <a:cubicBezTo>
                    <a:pt x="4623602" y="4048475"/>
                    <a:pt x="4615597" y="4041788"/>
                    <a:pt x="4613997" y="4048475"/>
                  </a:cubicBezTo>
                  <a:cubicBezTo>
                    <a:pt x="4612396" y="4055163"/>
                    <a:pt x="4613997" y="4075226"/>
                    <a:pt x="4610795" y="4085258"/>
                  </a:cubicBezTo>
                  <a:cubicBezTo>
                    <a:pt x="4609194" y="4096961"/>
                    <a:pt x="4601190" y="4098633"/>
                    <a:pt x="4596387" y="4108665"/>
                  </a:cubicBezTo>
                  <a:cubicBezTo>
                    <a:pt x="4593186" y="4117024"/>
                    <a:pt x="4589984" y="4125384"/>
                    <a:pt x="4586782" y="4133744"/>
                  </a:cubicBezTo>
                  <a:cubicBezTo>
                    <a:pt x="4583581" y="4142103"/>
                    <a:pt x="4583581" y="4145447"/>
                    <a:pt x="4580379" y="4155479"/>
                  </a:cubicBezTo>
                  <a:cubicBezTo>
                    <a:pt x="4570774" y="4172198"/>
                    <a:pt x="4573976" y="4172198"/>
                    <a:pt x="4570774" y="4193933"/>
                  </a:cubicBezTo>
                  <a:cubicBezTo>
                    <a:pt x="4569173" y="4203964"/>
                    <a:pt x="4557967" y="4215668"/>
                    <a:pt x="4553165" y="4224027"/>
                  </a:cubicBezTo>
                  <a:cubicBezTo>
                    <a:pt x="4551564" y="4234059"/>
                    <a:pt x="4546761" y="4239075"/>
                    <a:pt x="4543560" y="4249106"/>
                  </a:cubicBezTo>
                  <a:cubicBezTo>
                    <a:pt x="4541959" y="4259138"/>
                    <a:pt x="4538757" y="4270841"/>
                    <a:pt x="4533955" y="4280873"/>
                  </a:cubicBezTo>
                  <a:cubicBezTo>
                    <a:pt x="4532354" y="4295920"/>
                    <a:pt x="4530753" y="4297592"/>
                    <a:pt x="4522749" y="4309296"/>
                  </a:cubicBezTo>
                  <a:cubicBezTo>
                    <a:pt x="4517946" y="4326015"/>
                    <a:pt x="4511543" y="4339390"/>
                    <a:pt x="4505140" y="4354438"/>
                  </a:cubicBezTo>
                  <a:cubicBezTo>
                    <a:pt x="4503539" y="4364469"/>
                    <a:pt x="4500337" y="4369485"/>
                    <a:pt x="4495535" y="4379516"/>
                  </a:cubicBezTo>
                  <a:cubicBezTo>
                    <a:pt x="4493934" y="4399580"/>
                    <a:pt x="4493934" y="4401251"/>
                    <a:pt x="4485930" y="4416299"/>
                  </a:cubicBezTo>
                  <a:cubicBezTo>
                    <a:pt x="4484329" y="4431346"/>
                    <a:pt x="4479526" y="4443050"/>
                    <a:pt x="4466720" y="4449737"/>
                  </a:cubicBezTo>
                  <a:cubicBezTo>
                    <a:pt x="4461917" y="4461441"/>
                    <a:pt x="4473123" y="4469800"/>
                    <a:pt x="4469921" y="4481504"/>
                  </a:cubicBezTo>
                  <a:cubicBezTo>
                    <a:pt x="4466720" y="4493207"/>
                    <a:pt x="4453913" y="4504911"/>
                    <a:pt x="4447510" y="4516614"/>
                  </a:cubicBezTo>
                  <a:cubicBezTo>
                    <a:pt x="4445909" y="4528318"/>
                    <a:pt x="4429900" y="4546709"/>
                    <a:pt x="4433102" y="4555069"/>
                  </a:cubicBezTo>
                  <a:lnTo>
                    <a:pt x="4426624" y="4560346"/>
                  </a:lnTo>
                  <a:cubicBezTo>
                    <a:pt x="4426999" y="4559875"/>
                    <a:pt x="4441106" y="4546709"/>
                    <a:pt x="4407489" y="4561756"/>
                  </a:cubicBezTo>
                  <a:lnTo>
                    <a:pt x="4404287" y="4570116"/>
                  </a:lnTo>
                  <a:cubicBezTo>
                    <a:pt x="4394682" y="4581819"/>
                    <a:pt x="4367468" y="4576804"/>
                    <a:pt x="4361064" y="4576804"/>
                  </a:cubicBezTo>
                  <a:cubicBezTo>
                    <a:pt x="4359464" y="4590179"/>
                    <a:pt x="4354661" y="4588507"/>
                    <a:pt x="4341854" y="4591851"/>
                  </a:cubicBezTo>
                  <a:cubicBezTo>
                    <a:pt x="4333850" y="4595195"/>
                    <a:pt x="4327447" y="4600210"/>
                    <a:pt x="4321044" y="4605226"/>
                  </a:cubicBezTo>
                  <a:cubicBezTo>
                    <a:pt x="4313039" y="4606898"/>
                    <a:pt x="4303434" y="4598539"/>
                    <a:pt x="4293829" y="4596867"/>
                  </a:cubicBezTo>
                  <a:cubicBezTo>
                    <a:pt x="4284224" y="4595195"/>
                    <a:pt x="4273018" y="4598539"/>
                    <a:pt x="4263413" y="4595195"/>
                  </a:cubicBezTo>
                  <a:cubicBezTo>
                    <a:pt x="4257010" y="4583491"/>
                    <a:pt x="4249006" y="4588507"/>
                    <a:pt x="4239401" y="4580147"/>
                  </a:cubicBezTo>
                  <a:cubicBezTo>
                    <a:pt x="4234598" y="4571788"/>
                    <a:pt x="4228195" y="4568444"/>
                    <a:pt x="4221792" y="4560084"/>
                  </a:cubicBezTo>
                  <a:cubicBezTo>
                    <a:pt x="4220191" y="4546709"/>
                    <a:pt x="4213787" y="4538349"/>
                    <a:pt x="4207384" y="4526646"/>
                  </a:cubicBezTo>
                  <a:cubicBezTo>
                    <a:pt x="4204182" y="4516614"/>
                    <a:pt x="4202582" y="4509927"/>
                    <a:pt x="4200981" y="4499895"/>
                  </a:cubicBezTo>
                  <a:cubicBezTo>
                    <a:pt x="4199380" y="4489863"/>
                    <a:pt x="4197779" y="4479832"/>
                    <a:pt x="4197779" y="4469800"/>
                  </a:cubicBezTo>
                  <a:cubicBezTo>
                    <a:pt x="4215388" y="4463113"/>
                    <a:pt x="4207384" y="4449737"/>
                    <a:pt x="4197779" y="4434690"/>
                  </a:cubicBezTo>
                  <a:cubicBezTo>
                    <a:pt x="4196178" y="4417971"/>
                    <a:pt x="4191376" y="4417971"/>
                    <a:pt x="4181771" y="4404595"/>
                  </a:cubicBezTo>
                  <a:cubicBezTo>
                    <a:pt x="4178569" y="4391220"/>
                    <a:pt x="4176968" y="4374501"/>
                    <a:pt x="4178569" y="4359453"/>
                  </a:cubicBezTo>
                  <a:cubicBezTo>
                    <a:pt x="4180170" y="4344406"/>
                    <a:pt x="4188174" y="4326015"/>
                    <a:pt x="4191376" y="4314311"/>
                  </a:cubicBezTo>
                  <a:cubicBezTo>
                    <a:pt x="4199380" y="4304280"/>
                    <a:pt x="4186573" y="4295920"/>
                    <a:pt x="4197779" y="4294248"/>
                  </a:cubicBezTo>
                  <a:cubicBezTo>
                    <a:pt x="4202582" y="4289233"/>
                    <a:pt x="4215388" y="4289233"/>
                    <a:pt x="4220191" y="4284217"/>
                  </a:cubicBezTo>
                  <a:cubicBezTo>
                    <a:pt x="4224993" y="4279201"/>
                    <a:pt x="4221792" y="4270841"/>
                    <a:pt x="4224993" y="4264154"/>
                  </a:cubicBezTo>
                  <a:cubicBezTo>
                    <a:pt x="4226594" y="4244091"/>
                    <a:pt x="4226594" y="4242419"/>
                    <a:pt x="4244203" y="4239075"/>
                  </a:cubicBezTo>
                  <a:cubicBezTo>
                    <a:pt x="4252208" y="4224027"/>
                    <a:pt x="4244203" y="4207308"/>
                    <a:pt x="4263413" y="4203964"/>
                  </a:cubicBezTo>
                  <a:cubicBezTo>
                    <a:pt x="4266615" y="4187245"/>
                    <a:pt x="4263413" y="4163838"/>
                    <a:pt x="4263413" y="4148791"/>
                  </a:cubicBezTo>
                  <a:cubicBezTo>
                    <a:pt x="4263413" y="4133744"/>
                    <a:pt x="4261813" y="4115352"/>
                    <a:pt x="4260212" y="4108665"/>
                  </a:cubicBezTo>
                  <a:cubicBezTo>
                    <a:pt x="4260212" y="4106993"/>
                    <a:pt x="4255409" y="4106993"/>
                    <a:pt x="4253808" y="4105321"/>
                  </a:cubicBezTo>
                  <a:cubicBezTo>
                    <a:pt x="4252208" y="4103649"/>
                    <a:pt x="4250607" y="4100305"/>
                    <a:pt x="4249006" y="4098633"/>
                  </a:cubicBezTo>
                  <a:cubicBezTo>
                    <a:pt x="4245804" y="4085258"/>
                    <a:pt x="4242603" y="4026740"/>
                    <a:pt x="4244203" y="4008349"/>
                  </a:cubicBezTo>
                  <a:cubicBezTo>
                    <a:pt x="4245804" y="3989958"/>
                    <a:pt x="4253808" y="3994974"/>
                    <a:pt x="4258611" y="3988286"/>
                  </a:cubicBezTo>
                  <a:cubicBezTo>
                    <a:pt x="4263413" y="3981598"/>
                    <a:pt x="4269817" y="3971567"/>
                    <a:pt x="4274619" y="3963207"/>
                  </a:cubicBezTo>
                  <a:cubicBezTo>
                    <a:pt x="4277821" y="3951504"/>
                    <a:pt x="4274619" y="3924753"/>
                    <a:pt x="4282623" y="3918065"/>
                  </a:cubicBezTo>
                  <a:cubicBezTo>
                    <a:pt x="4285825" y="3904690"/>
                    <a:pt x="4309838" y="3919737"/>
                    <a:pt x="4322644" y="3918065"/>
                  </a:cubicBezTo>
                  <a:cubicBezTo>
                    <a:pt x="4327447" y="3909706"/>
                    <a:pt x="4329048" y="3904690"/>
                    <a:pt x="4337052" y="3898002"/>
                  </a:cubicBezTo>
                  <a:cubicBezTo>
                    <a:pt x="4343455" y="3894658"/>
                    <a:pt x="4345056" y="3903018"/>
                    <a:pt x="4354661" y="3903018"/>
                  </a:cubicBezTo>
                  <a:cubicBezTo>
                    <a:pt x="4359464" y="3901346"/>
                    <a:pt x="4362665" y="3891315"/>
                    <a:pt x="4369069" y="3889643"/>
                  </a:cubicBezTo>
                  <a:cubicBezTo>
                    <a:pt x="4375472" y="3886299"/>
                    <a:pt x="4391480" y="3887971"/>
                    <a:pt x="4397884" y="3889643"/>
                  </a:cubicBezTo>
                  <a:cubicBezTo>
                    <a:pt x="4404287" y="3891315"/>
                    <a:pt x="4404287" y="3901346"/>
                    <a:pt x="4409090" y="3904690"/>
                  </a:cubicBezTo>
                  <a:cubicBezTo>
                    <a:pt x="4413892" y="3908034"/>
                    <a:pt x="4426699" y="3916393"/>
                    <a:pt x="4428300" y="3913050"/>
                  </a:cubicBezTo>
                  <a:cubicBezTo>
                    <a:pt x="4429900" y="3909706"/>
                    <a:pt x="4425098" y="3894658"/>
                    <a:pt x="4421896" y="3887971"/>
                  </a:cubicBezTo>
                  <a:cubicBezTo>
                    <a:pt x="4418695" y="3881283"/>
                    <a:pt x="4407489" y="3877939"/>
                    <a:pt x="4409090" y="3874595"/>
                  </a:cubicBezTo>
                  <a:cubicBezTo>
                    <a:pt x="4415493" y="3867908"/>
                    <a:pt x="4420295" y="3871251"/>
                    <a:pt x="4428300" y="3867908"/>
                  </a:cubicBezTo>
                  <a:cubicBezTo>
                    <a:pt x="4434703" y="3867908"/>
                    <a:pt x="4441106" y="3849516"/>
                    <a:pt x="4447510" y="3849516"/>
                  </a:cubicBezTo>
                  <a:cubicBezTo>
                    <a:pt x="4450711" y="3852860"/>
                    <a:pt x="4463518" y="3871251"/>
                    <a:pt x="4465119" y="3867908"/>
                  </a:cubicBezTo>
                  <a:cubicBezTo>
                    <a:pt x="4477925" y="3841157"/>
                    <a:pt x="4450711" y="3832797"/>
                    <a:pt x="4479526" y="3827781"/>
                  </a:cubicBezTo>
                  <a:cubicBezTo>
                    <a:pt x="4484329" y="3817750"/>
                    <a:pt x="4489131" y="3842829"/>
                    <a:pt x="4493934" y="3837813"/>
                  </a:cubicBezTo>
                  <a:cubicBezTo>
                    <a:pt x="4495535" y="3836141"/>
                    <a:pt x="4489131" y="3819422"/>
                    <a:pt x="4490732" y="3812734"/>
                  </a:cubicBezTo>
                  <a:cubicBezTo>
                    <a:pt x="4492333" y="3806046"/>
                    <a:pt x="4500337" y="3797687"/>
                    <a:pt x="4505140" y="3797687"/>
                  </a:cubicBezTo>
                  <a:cubicBezTo>
                    <a:pt x="4513144" y="3790999"/>
                    <a:pt x="4519547" y="3817750"/>
                    <a:pt x="4522749" y="3812734"/>
                  </a:cubicBezTo>
                  <a:cubicBezTo>
                    <a:pt x="4525951" y="3811062"/>
                    <a:pt x="4522749" y="3799359"/>
                    <a:pt x="4524350" y="3792671"/>
                  </a:cubicBezTo>
                  <a:cubicBezTo>
                    <a:pt x="4525951" y="3785983"/>
                    <a:pt x="4529152" y="3780968"/>
                    <a:pt x="4529152" y="3772608"/>
                  </a:cubicBezTo>
                  <a:cubicBezTo>
                    <a:pt x="4529152" y="3760904"/>
                    <a:pt x="4521148" y="3745857"/>
                    <a:pt x="4522749" y="3739169"/>
                  </a:cubicBezTo>
                  <a:cubicBezTo>
                    <a:pt x="4524350" y="3732482"/>
                    <a:pt x="4533955" y="3732482"/>
                    <a:pt x="4538757" y="3727466"/>
                  </a:cubicBezTo>
                  <a:lnTo>
                    <a:pt x="4547237" y="3731228"/>
                  </a:lnTo>
                  <a:cubicBezTo>
                    <a:pt x="4552565" y="3730601"/>
                    <a:pt x="4549563" y="3718688"/>
                    <a:pt x="4548362" y="3712419"/>
                  </a:cubicBezTo>
                  <a:lnTo>
                    <a:pt x="4551964" y="3706724"/>
                  </a:lnTo>
                  <a:cubicBezTo>
                    <a:pt x="4554666" y="3705940"/>
                    <a:pt x="4555566" y="3717852"/>
                    <a:pt x="4562770" y="3724122"/>
                  </a:cubicBezTo>
                  <a:cubicBezTo>
                    <a:pt x="4586782" y="3720778"/>
                    <a:pt x="4570774" y="3710747"/>
                    <a:pt x="4589984" y="3704059"/>
                  </a:cubicBezTo>
                  <a:cubicBezTo>
                    <a:pt x="4594787" y="3692356"/>
                    <a:pt x="4593186" y="3655573"/>
                    <a:pt x="4596387" y="3643870"/>
                  </a:cubicBezTo>
                  <a:cubicBezTo>
                    <a:pt x="4599589" y="3632166"/>
                    <a:pt x="4609194" y="3642198"/>
                    <a:pt x="4613997" y="3637182"/>
                  </a:cubicBezTo>
                  <a:cubicBezTo>
                    <a:pt x="4620400" y="3637182"/>
                    <a:pt x="4618799" y="3610431"/>
                    <a:pt x="4623602" y="3613775"/>
                  </a:cubicBezTo>
                  <a:close/>
                  <a:moveTo>
                    <a:pt x="4104187" y="2849912"/>
                  </a:moveTo>
                  <a:cubicBezTo>
                    <a:pt x="4103903" y="2852453"/>
                    <a:pt x="4101393" y="2855194"/>
                    <a:pt x="4104187" y="2849912"/>
                  </a:cubicBezTo>
                  <a:close/>
                  <a:moveTo>
                    <a:pt x="1459768" y="2256567"/>
                  </a:moveTo>
                  <a:cubicBezTo>
                    <a:pt x="1461366" y="2258228"/>
                    <a:pt x="1459589" y="2259201"/>
                    <a:pt x="1458749" y="2259515"/>
                  </a:cubicBezTo>
                  <a:cubicBezTo>
                    <a:pt x="1459538" y="2259103"/>
                    <a:pt x="1460036" y="2258080"/>
                    <a:pt x="1459768" y="2256567"/>
                  </a:cubicBezTo>
                  <a:close/>
                  <a:moveTo>
                    <a:pt x="1849353" y="744"/>
                  </a:moveTo>
                  <a:cubicBezTo>
                    <a:pt x="1857357" y="-928"/>
                    <a:pt x="1868563" y="744"/>
                    <a:pt x="1878168" y="744"/>
                  </a:cubicBezTo>
                  <a:cubicBezTo>
                    <a:pt x="1886172" y="4088"/>
                    <a:pt x="1889373" y="-928"/>
                    <a:pt x="1905382" y="5760"/>
                  </a:cubicBezTo>
                  <a:cubicBezTo>
                    <a:pt x="1910184" y="10776"/>
                    <a:pt x="1903781" y="24151"/>
                    <a:pt x="1906983" y="30839"/>
                  </a:cubicBezTo>
                  <a:cubicBezTo>
                    <a:pt x="1910184" y="37526"/>
                    <a:pt x="1918188" y="45886"/>
                    <a:pt x="1924592" y="45886"/>
                  </a:cubicBezTo>
                  <a:cubicBezTo>
                    <a:pt x="1930995" y="45886"/>
                    <a:pt x="1943802" y="30839"/>
                    <a:pt x="1950205" y="25823"/>
                  </a:cubicBezTo>
                  <a:cubicBezTo>
                    <a:pt x="1956609" y="20807"/>
                    <a:pt x="1966214" y="15791"/>
                    <a:pt x="1967814" y="17463"/>
                  </a:cubicBezTo>
                  <a:cubicBezTo>
                    <a:pt x="1966214" y="20807"/>
                    <a:pt x="1961411" y="22479"/>
                    <a:pt x="1959810" y="35854"/>
                  </a:cubicBezTo>
                  <a:cubicBezTo>
                    <a:pt x="1956609" y="42542"/>
                    <a:pt x="1953407" y="54246"/>
                    <a:pt x="1948604" y="60933"/>
                  </a:cubicBezTo>
                  <a:cubicBezTo>
                    <a:pt x="1943802" y="67621"/>
                    <a:pt x="1929394" y="69293"/>
                    <a:pt x="1926193" y="75981"/>
                  </a:cubicBezTo>
                  <a:cubicBezTo>
                    <a:pt x="1922991" y="82668"/>
                    <a:pt x="1926193" y="99388"/>
                    <a:pt x="1930995" y="106075"/>
                  </a:cubicBezTo>
                  <a:cubicBezTo>
                    <a:pt x="1935798" y="112763"/>
                    <a:pt x="1948604" y="112763"/>
                    <a:pt x="1953407" y="116107"/>
                  </a:cubicBezTo>
                  <a:cubicBezTo>
                    <a:pt x="1956609" y="121123"/>
                    <a:pt x="1972617" y="104403"/>
                    <a:pt x="1964613" y="122795"/>
                  </a:cubicBezTo>
                  <a:cubicBezTo>
                    <a:pt x="1966214" y="127810"/>
                    <a:pt x="1967814" y="144530"/>
                    <a:pt x="1967814" y="151217"/>
                  </a:cubicBezTo>
                  <a:cubicBezTo>
                    <a:pt x="1967814" y="157905"/>
                    <a:pt x="1966214" y="161249"/>
                    <a:pt x="1963012" y="167937"/>
                  </a:cubicBezTo>
                  <a:cubicBezTo>
                    <a:pt x="1959810" y="174624"/>
                    <a:pt x="1950205" y="186328"/>
                    <a:pt x="1943802" y="191343"/>
                  </a:cubicBezTo>
                  <a:cubicBezTo>
                    <a:pt x="1937398" y="196359"/>
                    <a:pt x="1927793" y="198031"/>
                    <a:pt x="1921390" y="203047"/>
                  </a:cubicBezTo>
                  <a:cubicBezTo>
                    <a:pt x="1914987" y="208063"/>
                    <a:pt x="1905382" y="214750"/>
                    <a:pt x="1905382" y="223110"/>
                  </a:cubicBezTo>
                  <a:cubicBezTo>
                    <a:pt x="1897378" y="246517"/>
                    <a:pt x="1890974" y="244845"/>
                    <a:pt x="1918188" y="256549"/>
                  </a:cubicBezTo>
                  <a:cubicBezTo>
                    <a:pt x="1922991" y="263236"/>
                    <a:pt x="1929394" y="266580"/>
                    <a:pt x="1935798" y="268252"/>
                  </a:cubicBezTo>
                  <a:cubicBezTo>
                    <a:pt x="1943802" y="271596"/>
                    <a:pt x="1956609" y="271596"/>
                    <a:pt x="1963012" y="276612"/>
                  </a:cubicBezTo>
                  <a:cubicBezTo>
                    <a:pt x="1972617" y="283299"/>
                    <a:pt x="1938999" y="291659"/>
                    <a:pt x="1979020" y="303362"/>
                  </a:cubicBezTo>
                  <a:cubicBezTo>
                    <a:pt x="1988625" y="308378"/>
                    <a:pt x="2004634" y="303362"/>
                    <a:pt x="2017440" y="306706"/>
                  </a:cubicBezTo>
                  <a:cubicBezTo>
                    <a:pt x="2030247" y="310050"/>
                    <a:pt x="2043054" y="325098"/>
                    <a:pt x="2054260" y="328441"/>
                  </a:cubicBezTo>
                  <a:cubicBezTo>
                    <a:pt x="2065465" y="331785"/>
                    <a:pt x="2081474" y="330113"/>
                    <a:pt x="2089478" y="328441"/>
                  </a:cubicBezTo>
                  <a:cubicBezTo>
                    <a:pt x="2097482" y="326769"/>
                    <a:pt x="2100684" y="320082"/>
                    <a:pt x="2107087" y="318410"/>
                  </a:cubicBezTo>
                  <a:lnTo>
                    <a:pt x="2127898" y="318410"/>
                  </a:lnTo>
                  <a:cubicBezTo>
                    <a:pt x="2132700" y="320082"/>
                    <a:pt x="2127898" y="330113"/>
                    <a:pt x="2132700" y="331785"/>
                  </a:cubicBezTo>
                  <a:cubicBezTo>
                    <a:pt x="2137503" y="333457"/>
                    <a:pt x="2151910" y="330113"/>
                    <a:pt x="2159915" y="331785"/>
                  </a:cubicBezTo>
                  <a:cubicBezTo>
                    <a:pt x="2167919" y="333457"/>
                    <a:pt x="2177524" y="338473"/>
                    <a:pt x="2183927" y="341817"/>
                  </a:cubicBezTo>
                  <a:cubicBezTo>
                    <a:pt x="2190331" y="345161"/>
                    <a:pt x="2195133" y="351848"/>
                    <a:pt x="2204738" y="353520"/>
                  </a:cubicBezTo>
                  <a:cubicBezTo>
                    <a:pt x="2214343" y="360208"/>
                    <a:pt x="2227150" y="343489"/>
                    <a:pt x="2238356" y="356864"/>
                  </a:cubicBezTo>
                  <a:cubicBezTo>
                    <a:pt x="2246360" y="360208"/>
                    <a:pt x="2252763" y="368568"/>
                    <a:pt x="2255965" y="376927"/>
                  </a:cubicBezTo>
                  <a:cubicBezTo>
                    <a:pt x="2259166" y="385287"/>
                    <a:pt x="2259166" y="395318"/>
                    <a:pt x="2260767" y="403678"/>
                  </a:cubicBezTo>
                  <a:cubicBezTo>
                    <a:pt x="2262368" y="412038"/>
                    <a:pt x="2265570" y="425413"/>
                    <a:pt x="2270372" y="430429"/>
                  </a:cubicBezTo>
                  <a:cubicBezTo>
                    <a:pt x="2273574" y="437117"/>
                    <a:pt x="2283179" y="435445"/>
                    <a:pt x="2289582" y="437117"/>
                  </a:cubicBezTo>
                  <a:cubicBezTo>
                    <a:pt x="2295986" y="438788"/>
                    <a:pt x="2299187" y="445476"/>
                    <a:pt x="2313595" y="447148"/>
                  </a:cubicBezTo>
                  <a:cubicBezTo>
                    <a:pt x="2328002" y="448820"/>
                    <a:pt x="2358418" y="442132"/>
                    <a:pt x="2372826" y="443804"/>
                  </a:cubicBezTo>
                  <a:cubicBezTo>
                    <a:pt x="2388834" y="445476"/>
                    <a:pt x="2384032" y="455508"/>
                    <a:pt x="2400040" y="462195"/>
                  </a:cubicBezTo>
                  <a:cubicBezTo>
                    <a:pt x="2409645" y="465539"/>
                    <a:pt x="2420851" y="460523"/>
                    <a:pt x="2428855" y="463867"/>
                  </a:cubicBezTo>
                  <a:cubicBezTo>
                    <a:pt x="2436859" y="467211"/>
                    <a:pt x="2438460" y="477243"/>
                    <a:pt x="2444863" y="482258"/>
                  </a:cubicBezTo>
                  <a:cubicBezTo>
                    <a:pt x="2451267" y="487274"/>
                    <a:pt x="2464073" y="488946"/>
                    <a:pt x="2472078" y="492290"/>
                  </a:cubicBezTo>
                  <a:cubicBezTo>
                    <a:pt x="2484884" y="497306"/>
                    <a:pt x="2478481" y="502322"/>
                    <a:pt x="2491288" y="507337"/>
                  </a:cubicBezTo>
                  <a:cubicBezTo>
                    <a:pt x="2497691" y="509009"/>
                    <a:pt x="2529708" y="512353"/>
                    <a:pt x="2529708" y="512353"/>
                  </a:cubicBezTo>
                  <a:cubicBezTo>
                    <a:pt x="2540914" y="509009"/>
                    <a:pt x="2550519" y="502322"/>
                    <a:pt x="2558523" y="483930"/>
                  </a:cubicBezTo>
                  <a:cubicBezTo>
                    <a:pt x="2566527" y="477243"/>
                    <a:pt x="2574531" y="482258"/>
                    <a:pt x="2577733" y="473899"/>
                  </a:cubicBezTo>
                  <a:cubicBezTo>
                    <a:pt x="2580935" y="465539"/>
                    <a:pt x="2579334" y="445476"/>
                    <a:pt x="2577733" y="432101"/>
                  </a:cubicBezTo>
                  <a:cubicBezTo>
                    <a:pt x="2576132" y="418725"/>
                    <a:pt x="2563325" y="407022"/>
                    <a:pt x="2563325" y="396990"/>
                  </a:cubicBezTo>
                  <a:cubicBezTo>
                    <a:pt x="2566527" y="390303"/>
                    <a:pt x="2577733" y="370239"/>
                    <a:pt x="2582535" y="366896"/>
                  </a:cubicBezTo>
                  <a:cubicBezTo>
                    <a:pt x="2590540" y="360208"/>
                    <a:pt x="2595342" y="348504"/>
                    <a:pt x="2611350" y="343489"/>
                  </a:cubicBezTo>
                  <a:cubicBezTo>
                    <a:pt x="2620955" y="338473"/>
                    <a:pt x="2630560" y="336801"/>
                    <a:pt x="2641766" y="333457"/>
                  </a:cubicBezTo>
                  <a:cubicBezTo>
                    <a:pt x="2652972" y="330113"/>
                    <a:pt x="2668981" y="325098"/>
                    <a:pt x="2683388" y="323426"/>
                  </a:cubicBezTo>
                  <a:cubicBezTo>
                    <a:pt x="2697796" y="323426"/>
                    <a:pt x="2705800" y="315066"/>
                    <a:pt x="2728211" y="323426"/>
                  </a:cubicBezTo>
                  <a:cubicBezTo>
                    <a:pt x="2739417" y="325098"/>
                    <a:pt x="2747421" y="333457"/>
                    <a:pt x="2755426" y="336801"/>
                  </a:cubicBezTo>
                  <a:cubicBezTo>
                    <a:pt x="2763430" y="340145"/>
                    <a:pt x="2776237" y="336801"/>
                    <a:pt x="2779438" y="341817"/>
                  </a:cubicBezTo>
                  <a:cubicBezTo>
                    <a:pt x="2782640" y="346833"/>
                    <a:pt x="2773035" y="366896"/>
                    <a:pt x="2779438" y="371911"/>
                  </a:cubicBezTo>
                  <a:cubicBezTo>
                    <a:pt x="2785842" y="376927"/>
                    <a:pt x="2808253" y="373583"/>
                    <a:pt x="2821060" y="376927"/>
                  </a:cubicBezTo>
                  <a:cubicBezTo>
                    <a:pt x="2833867" y="381943"/>
                    <a:pt x="2846673" y="385287"/>
                    <a:pt x="2859480" y="390303"/>
                  </a:cubicBezTo>
                  <a:cubicBezTo>
                    <a:pt x="2865883" y="391975"/>
                    <a:pt x="2885093" y="386959"/>
                    <a:pt x="2885093" y="386959"/>
                  </a:cubicBezTo>
                  <a:cubicBezTo>
                    <a:pt x="2893098" y="388631"/>
                    <a:pt x="2899501" y="390303"/>
                    <a:pt x="2909106" y="396990"/>
                  </a:cubicBezTo>
                  <a:cubicBezTo>
                    <a:pt x="2915509" y="403678"/>
                    <a:pt x="2913908" y="422069"/>
                    <a:pt x="2920312" y="427085"/>
                  </a:cubicBezTo>
                  <a:cubicBezTo>
                    <a:pt x="2926715" y="432101"/>
                    <a:pt x="2931518" y="425413"/>
                    <a:pt x="2942723" y="423741"/>
                  </a:cubicBezTo>
                  <a:cubicBezTo>
                    <a:pt x="2952328" y="423741"/>
                    <a:pt x="2971539" y="417053"/>
                    <a:pt x="2992349" y="418725"/>
                  </a:cubicBezTo>
                  <a:cubicBezTo>
                    <a:pt x="3003555" y="420397"/>
                    <a:pt x="2998753" y="427085"/>
                    <a:pt x="3006757" y="428757"/>
                  </a:cubicBezTo>
                  <a:cubicBezTo>
                    <a:pt x="3014761" y="430429"/>
                    <a:pt x="3030769" y="425413"/>
                    <a:pt x="3040374" y="427085"/>
                  </a:cubicBezTo>
                  <a:cubicBezTo>
                    <a:pt x="3049979" y="428757"/>
                    <a:pt x="3057984" y="440460"/>
                    <a:pt x="3067589" y="442132"/>
                  </a:cubicBezTo>
                  <a:cubicBezTo>
                    <a:pt x="3075593" y="448820"/>
                    <a:pt x="3080395" y="438788"/>
                    <a:pt x="3096404" y="442132"/>
                  </a:cubicBezTo>
                  <a:cubicBezTo>
                    <a:pt x="3102807" y="443804"/>
                    <a:pt x="3102807" y="452164"/>
                    <a:pt x="3110811" y="453836"/>
                  </a:cubicBezTo>
                  <a:cubicBezTo>
                    <a:pt x="3118815" y="455508"/>
                    <a:pt x="3133223" y="450492"/>
                    <a:pt x="3141227" y="452164"/>
                  </a:cubicBezTo>
                  <a:cubicBezTo>
                    <a:pt x="3149231" y="453836"/>
                    <a:pt x="3150832" y="460523"/>
                    <a:pt x="3160437" y="463867"/>
                  </a:cubicBezTo>
                  <a:cubicBezTo>
                    <a:pt x="3168441" y="465539"/>
                    <a:pt x="3182849" y="473899"/>
                    <a:pt x="3197256" y="472227"/>
                  </a:cubicBezTo>
                  <a:cubicBezTo>
                    <a:pt x="3210063" y="470555"/>
                    <a:pt x="3227672" y="457180"/>
                    <a:pt x="3235676" y="452164"/>
                  </a:cubicBezTo>
                  <a:cubicBezTo>
                    <a:pt x="3242080" y="450492"/>
                    <a:pt x="3243681" y="437117"/>
                    <a:pt x="3250084" y="437117"/>
                  </a:cubicBezTo>
                  <a:cubicBezTo>
                    <a:pt x="3259689" y="433773"/>
                    <a:pt x="3245281" y="427085"/>
                    <a:pt x="3290105" y="428757"/>
                  </a:cubicBezTo>
                  <a:cubicBezTo>
                    <a:pt x="3299710" y="427085"/>
                    <a:pt x="3302912" y="422069"/>
                    <a:pt x="3309315" y="422069"/>
                  </a:cubicBezTo>
                  <a:cubicBezTo>
                    <a:pt x="3315718" y="422069"/>
                    <a:pt x="3323722" y="423741"/>
                    <a:pt x="3333327" y="423741"/>
                  </a:cubicBezTo>
                  <a:cubicBezTo>
                    <a:pt x="3342932" y="423741"/>
                    <a:pt x="3360542" y="423741"/>
                    <a:pt x="3366945" y="427085"/>
                  </a:cubicBezTo>
                  <a:cubicBezTo>
                    <a:pt x="3373348" y="430429"/>
                    <a:pt x="3366945" y="438788"/>
                    <a:pt x="3370147" y="442132"/>
                  </a:cubicBezTo>
                  <a:cubicBezTo>
                    <a:pt x="3373348" y="445476"/>
                    <a:pt x="3384554" y="442132"/>
                    <a:pt x="3390958" y="443804"/>
                  </a:cubicBezTo>
                  <a:cubicBezTo>
                    <a:pt x="3397361" y="445476"/>
                    <a:pt x="3405365" y="450492"/>
                    <a:pt x="3413369" y="452164"/>
                  </a:cubicBezTo>
                  <a:cubicBezTo>
                    <a:pt x="3421373" y="453836"/>
                    <a:pt x="3430978" y="457180"/>
                    <a:pt x="3437382" y="457180"/>
                  </a:cubicBezTo>
                  <a:cubicBezTo>
                    <a:pt x="3443785" y="457180"/>
                    <a:pt x="3448588" y="450492"/>
                    <a:pt x="3456592" y="448820"/>
                  </a:cubicBezTo>
                  <a:cubicBezTo>
                    <a:pt x="3464596" y="447148"/>
                    <a:pt x="3475802" y="452164"/>
                    <a:pt x="3485407" y="452164"/>
                  </a:cubicBezTo>
                  <a:cubicBezTo>
                    <a:pt x="3495012" y="452164"/>
                    <a:pt x="3512621" y="453836"/>
                    <a:pt x="3519024" y="450492"/>
                  </a:cubicBezTo>
                  <a:cubicBezTo>
                    <a:pt x="3528629" y="453836"/>
                    <a:pt x="3522226" y="427085"/>
                    <a:pt x="3528629" y="433773"/>
                  </a:cubicBezTo>
                  <a:cubicBezTo>
                    <a:pt x="3531831" y="437117"/>
                    <a:pt x="3539835" y="458852"/>
                    <a:pt x="3543037" y="467211"/>
                  </a:cubicBezTo>
                  <a:cubicBezTo>
                    <a:pt x="3546239" y="475571"/>
                    <a:pt x="3549440" y="480587"/>
                    <a:pt x="3552642" y="488946"/>
                  </a:cubicBezTo>
                  <a:cubicBezTo>
                    <a:pt x="3555844" y="497306"/>
                    <a:pt x="3560646" y="507337"/>
                    <a:pt x="3563848" y="517369"/>
                  </a:cubicBezTo>
                  <a:cubicBezTo>
                    <a:pt x="3565449" y="525729"/>
                    <a:pt x="3573453" y="527400"/>
                    <a:pt x="3571852" y="547464"/>
                  </a:cubicBezTo>
                  <a:cubicBezTo>
                    <a:pt x="3573453" y="555823"/>
                    <a:pt x="3578255" y="562511"/>
                    <a:pt x="3578255" y="569199"/>
                  </a:cubicBezTo>
                  <a:cubicBezTo>
                    <a:pt x="3578255" y="575886"/>
                    <a:pt x="3571852" y="584246"/>
                    <a:pt x="3571852" y="592606"/>
                  </a:cubicBezTo>
                  <a:cubicBezTo>
                    <a:pt x="3571852" y="600965"/>
                    <a:pt x="3578255" y="610997"/>
                    <a:pt x="3576655" y="617684"/>
                  </a:cubicBezTo>
                  <a:cubicBezTo>
                    <a:pt x="3575054" y="624372"/>
                    <a:pt x="3563848" y="624372"/>
                    <a:pt x="3557445" y="637748"/>
                  </a:cubicBezTo>
                  <a:cubicBezTo>
                    <a:pt x="3555844" y="657811"/>
                    <a:pt x="3549440" y="686233"/>
                    <a:pt x="3539835" y="702953"/>
                  </a:cubicBezTo>
                  <a:cubicBezTo>
                    <a:pt x="3538234" y="704625"/>
                    <a:pt x="3512621" y="679546"/>
                    <a:pt x="3509419" y="677874"/>
                  </a:cubicBezTo>
                  <a:cubicBezTo>
                    <a:pt x="3498214" y="666170"/>
                    <a:pt x="3480604" y="646107"/>
                    <a:pt x="3472600" y="634404"/>
                  </a:cubicBezTo>
                  <a:cubicBezTo>
                    <a:pt x="3466197" y="622700"/>
                    <a:pt x="3472600" y="617684"/>
                    <a:pt x="3467798" y="607653"/>
                  </a:cubicBezTo>
                  <a:cubicBezTo>
                    <a:pt x="3462995" y="597621"/>
                    <a:pt x="3450189" y="587590"/>
                    <a:pt x="3442184" y="577558"/>
                  </a:cubicBezTo>
                  <a:cubicBezTo>
                    <a:pt x="3435781" y="569199"/>
                    <a:pt x="3435781" y="564183"/>
                    <a:pt x="3432579" y="557495"/>
                  </a:cubicBezTo>
                  <a:cubicBezTo>
                    <a:pt x="3429378" y="550807"/>
                    <a:pt x="3421373" y="537432"/>
                    <a:pt x="3418172" y="539104"/>
                  </a:cubicBezTo>
                  <a:cubicBezTo>
                    <a:pt x="3416571" y="539104"/>
                    <a:pt x="3411768" y="557495"/>
                    <a:pt x="3413369" y="564183"/>
                  </a:cubicBezTo>
                  <a:cubicBezTo>
                    <a:pt x="3414970" y="570871"/>
                    <a:pt x="3424575" y="574214"/>
                    <a:pt x="3429378" y="584246"/>
                  </a:cubicBezTo>
                  <a:cubicBezTo>
                    <a:pt x="3434180" y="594277"/>
                    <a:pt x="3434180" y="610997"/>
                    <a:pt x="3438983" y="622700"/>
                  </a:cubicBezTo>
                  <a:cubicBezTo>
                    <a:pt x="3443785" y="634404"/>
                    <a:pt x="3454991" y="649451"/>
                    <a:pt x="3462995" y="659483"/>
                  </a:cubicBezTo>
                  <a:cubicBezTo>
                    <a:pt x="3470999" y="669514"/>
                    <a:pt x="3480604" y="674530"/>
                    <a:pt x="3490209" y="682890"/>
                  </a:cubicBezTo>
                  <a:cubicBezTo>
                    <a:pt x="3501415" y="692921"/>
                    <a:pt x="3512621" y="704625"/>
                    <a:pt x="3523827" y="712984"/>
                  </a:cubicBezTo>
                  <a:cubicBezTo>
                    <a:pt x="3516123" y="713298"/>
                    <a:pt x="3500214" y="704207"/>
                    <a:pt x="3501415" y="712984"/>
                  </a:cubicBezTo>
                  <a:cubicBezTo>
                    <a:pt x="3501415" y="718000"/>
                    <a:pt x="3520625" y="733047"/>
                    <a:pt x="3525428" y="744751"/>
                  </a:cubicBezTo>
                  <a:cubicBezTo>
                    <a:pt x="3530230" y="756454"/>
                    <a:pt x="3527029" y="773174"/>
                    <a:pt x="3531831" y="784877"/>
                  </a:cubicBezTo>
                  <a:cubicBezTo>
                    <a:pt x="3535033" y="799924"/>
                    <a:pt x="3547840" y="806612"/>
                    <a:pt x="3552642" y="819987"/>
                  </a:cubicBezTo>
                  <a:cubicBezTo>
                    <a:pt x="3559045" y="833363"/>
                    <a:pt x="3567050" y="853426"/>
                    <a:pt x="3573453" y="865129"/>
                  </a:cubicBezTo>
                  <a:cubicBezTo>
                    <a:pt x="3584659" y="871817"/>
                    <a:pt x="3595865" y="890208"/>
                    <a:pt x="3595865" y="890208"/>
                  </a:cubicBezTo>
                  <a:cubicBezTo>
                    <a:pt x="3603869" y="905256"/>
                    <a:pt x="3626280" y="942038"/>
                    <a:pt x="3634285" y="958757"/>
                  </a:cubicBezTo>
                  <a:cubicBezTo>
                    <a:pt x="3643890" y="973805"/>
                    <a:pt x="3651894" y="972133"/>
                    <a:pt x="3653495" y="980492"/>
                  </a:cubicBezTo>
                  <a:cubicBezTo>
                    <a:pt x="3656696" y="988852"/>
                    <a:pt x="3639087" y="988852"/>
                    <a:pt x="3645491" y="1005571"/>
                  </a:cubicBezTo>
                  <a:cubicBezTo>
                    <a:pt x="3645491" y="1015603"/>
                    <a:pt x="3651894" y="1030650"/>
                    <a:pt x="3655096" y="1040682"/>
                  </a:cubicBezTo>
                  <a:cubicBezTo>
                    <a:pt x="3658297" y="1050713"/>
                    <a:pt x="3663100" y="1059073"/>
                    <a:pt x="3669503" y="1064088"/>
                  </a:cubicBezTo>
                  <a:cubicBezTo>
                    <a:pt x="3675906" y="1069104"/>
                    <a:pt x="3691915" y="1060745"/>
                    <a:pt x="3696717" y="1065760"/>
                  </a:cubicBezTo>
                  <a:cubicBezTo>
                    <a:pt x="3703121" y="1069104"/>
                    <a:pt x="3698318" y="1082480"/>
                    <a:pt x="3703121" y="1090839"/>
                  </a:cubicBezTo>
                  <a:cubicBezTo>
                    <a:pt x="3707923" y="1094183"/>
                    <a:pt x="3715927" y="1087495"/>
                    <a:pt x="3722331" y="1090839"/>
                  </a:cubicBezTo>
                  <a:cubicBezTo>
                    <a:pt x="3727133" y="1095855"/>
                    <a:pt x="3735137" y="1104215"/>
                    <a:pt x="3736738" y="1114246"/>
                  </a:cubicBezTo>
                  <a:cubicBezTo>
                    <a:pt x="3739940" y="1124278"/>
                    <a:pt x="3743142" y="1139325"/>
                    <a:pt x="3746343" y="1151029"/>
                  </a:cubicBezTo>
                  <a:cubicBezTo>
                    <a:pt x="3747944" y="1166076"/>
                    <a:pt x="3752747" y="1167748"/>
                    <a:pt x="3759150" y="1181123"/>
                  </a:cubicBezTo>
                  <a:cubicBezTo>
                    <a:pt x="3762352" y="1187811"/>
                    <a:pt x="3759150" y="1199514"/>
                    <a:pt x="3762352" y="1206202"/>
                  </a:cubicBezTo>
                  <a:cubicBezTo>
                    <a:pt x="3763952" y="1216234"/>
                    <a:pt x="3763952" y="1224593"/>
                    <a:pt x="3765553" y="1246328"/>
                  </a:cubicBezTo>
                  <a:cubicBezTo>
                    <a:pt x="3767154" y="1261376"/>
                    <a:pt x="3771957" y="1279767"/>
                    <a:pt x="3775158" y="1294814"/>
                  </a:cubicBezTo>
                  <a:cubicBezTo>
                    <a:pt x="3778360" y="1309862"/>
                    <a:pt x="3776759" y="1326581"/>
                    <a:pt x="3784763" y="1339956"/>
                  </a:cubicBezTo>
                  <a:cubicBezTo>
                    <a:pt x="3786364" y="1358347"/>
                    <a:pt x="3819982" y="1373395"/>
                    <a:pt x="3819982" y="1373395"/>
                  </a:cubicBezTo>
                  <a:cubicBezTo>
                    <a:pt x="3827986" y="1383426"/>
                    <a:pt x="3839192" y="1386770"/>
                    <a:pt x="3847196" y="1395130"/>
                  </a:cubicBezTo>
                  <a:cubicBezTo>
                    <a:pt x="3855200" y="1403489"/>
                    <a:pt x="3858402" y="1413521"/>
                    <a:pt x="3864805" y="1420209"/>
                  </a:cubicBezTo>
                  <a:cubicBezTo>
                    <a:pt x="3871208" y="1425224"/>
                    <a:pt x="3884015" y="1433584"/>
                    <a:pt x="3884015" y="1433584"/>
                  </a:cubicBezTo>
                  <a:cubicBezTo>
                    <a:pt x="3888818" y="1441944"/>
                    <a:pt x="3892019" y="1450303"/>
                    <a:pt x="3898423" y="1470366"/>
                  </a:cubicBezTo>
                  <a:cubicBezTo>
                    <a:pt x="3901624" y="1483742"/>
                    <a:pt x="3903225" y="1502133"/>
                    <a:pt x="3908028" y="1515508"/>
                  </a:cubicBezTo>
                  <a:cubicBezTo>
                    <a:pt x="3912830" y="1528884"/>
                    <a:pt x="3917633" y="1542259"/>
                    <a:pt x="3922435" y="1553963"/>
                  </a:cubicBezTo>
                  <a:cubicBezTo>
                    <a:pt x="3927238" y="1565666"/>
                    <a:pt x="3922435" y="1572354"/>
                    <a:pt x="3938444" y="1587401"/>
                  </a:cubicBezTo>
                  <a:cubicBezTo>
                    <a:pt x="3944847" y="1594089"/>
                    <a:pt x="3954452" y="1592417"/>
                    <a:pt x="3957654" y="1597433"/>
                  </a:cubicBezTo>
                  <a:cubicBezTo>
                    <a:pt x="3960855" y="1602449"/>
                    <a:pt x="3952851" y="1617496"/>
                    <a:pt x="3957654" y="1620840"/>
                  </a:cubicBezTo>
                  <a:cubicBezTo>
                    <a:pt x="3962456" y="1624184"/>
                    <a:pt x="3975263" y="1614152"/>
                    <a:pt x="3981666" y="1617496"/>
                  </a:cubicBezTo>
                  <a:cubicBezTo>
                    <a:pt x="3988069" y="1620840"/>
                    <a:pt x="3988069" y="1632543"/>
                    <a:pt x="3994473" y="1635887"/>
                  </a:cubicBezTo>
                  <a:cubicBezTo>
                    <a:pt x="4000876" y="1639231"/>
                    <a:pt x="4010481" y="1637559"/>
                    <a:pt x="4018485" y="1640903"/>
                  </a:cubicBezTo>
                  <a:cubicBezTo>
                    <a:pt x="4026489" y="1645919"/>
                    <a:pt x="4037695" y="1642575"/>
                    <a:pt x="4042498" y="1652606"/>
                  </a:cubicBezTo>
                  <a:cubicBezTo>
                    <a:pt x="4053704" y="1660966"/>
                    <a:pt x="4072914" y="1677685"/>
                    <a:pt x="4080918" y="1687717"/>
                  </a:cubicBezTo>
                  <a:cubicBezTo>
                    <a:pt x="4090523" y="1696076"/>
                    <a:pt x="4087321" y="1707780"/>
                    <a:pt x="4095325" y="1716139"/>
                  </a:cubicBezTo>
                  <a:cubicBezTo>
                    <a:pt x="4101729" y="1721155"/>
                    <a:pt x="4114535" y="1714468"/>
                    <a:pt x="4119338" y="1717811"/>
                  </a:cubicBezTo>
                  <a:cubicBezTo>
                    <a:pt x="4124140" y="1721155"/>
                    <a:pt x="4122540" y="1726171"/>
                    <a:pt x="4127342" y="1734531"/>
                  </a:cubicBezTo>
                  <a:cubicBezTo>
                    <a:pt x="4132145" y="1741218"/>
                    <a:pt x="4138548" y="1761281"/>
                    <a:pt x="4144951" y="1766297"/>
                  </a:cubicBezTo>
                  <a:cubicBezTo>
                    <a:pt x="4149754" y="1771313"/>
                    <a:pt x="4167363" y="1772985"/>
                    <a:pt x="4172166" y="1778001"/>
                  </a:cubicBezTo>
                  <a:cubicBezTo>
                    <a:pt x="4180170" y="1783016"/>
                    <a:pt x="4180170" y="1778001"/>
                    <a:pt x="4186573" y="1783016"/>
                  </a:cubicBezTo>
                  <a:cubicBezTo>
                    <a:pt x="4191376" y="1788032"/>
                    <a:pt x="4196178" y="1801408"/>
                    <a:pt x="4200981" y="1808095"/>
                  </a:cubicBezTo>
                  <a:cubicBezTo>
                    <a:pt x="4202582" y="1814783"/>
                    <a:pt x="4220191" y="1823143"/>
                    <a:pt x="4216989" y="1828158"/>
                  </a:cubicBezTo>
                  <a:cubicBezTo>
                    <a:pt x="4216989" y="1833174"/>
                    <a:pt x="4221792" y="1851565"/>
                    <a:pt x="4215388" y="1856581"/>
                  </a:cubicBezTo>
                  <a:cubicBezTo>
                    <a:pt x="4208985" y="1863269"/>
                    <a:pt x="4188174" y="1864941"/>
                    <a:pt x="4178569" y="1868285"/>
                  </a:cubicBezTo>
                  <a:cubicBezTo>
                    <a:pt x="4172166" y="1871629"/>
                    <a:pt x="4156157" y="1876644"/>
                    <a:pt x="4159359" y="1881660"/>
                  </a:cubicBezTo>
                  <a:cubicBezTo>
                    <a:pt x="4165762" y="1885004"/>
                    <a:pt x="4212187" y="1886676"/>
                    <a:pt x="4221792" y="1891692"/>
                  </a:cubicBezTo>
                  <a:cubicBezTo>
                    <a:pt x="4231397" y="1898379"/>
                    <a:pt x="4207384" y="1903395"/>
                    <a:pt x="4221792" y="1916770"/>
                  </a:cubicBezTo>
                  <a:cubicBezTo>
                    <a:pt x="4228195" y="1926802"/>
                    <a:pt x="4249006" y="1941849"/>
                    <a:pt x="4263413" y="1951881"/>
                  </a:cubicBezTo>
                  <a:cubicBezTo>
                    <a:pt x="4277821" y="1961912"/>
                    <a:pt x="4295430" y="1970272"/>
                    <a:pt x="4308237" y="1971944"/>
                  </a:cubicBezTo>
                  <a:cubicBezTo>
                    <a:pt x="4322644" y="1973616"/>
                    <a:pt x="4316241" y="1963584"/>
                    <a:pt x="4340253" y="1958569"/>
                  </a:cubicBezTo>
                  <a:cubicBezTo>
                    <a:pt x="4349858" y="1955225"/>
                    <a:pt x="4356262" y="1950209"/>
                    <a:pt x="4364266" y="1946865"/>
                  </a:cubicBezTo>
                  <a:cubicBezTo>
                    <a:pt x="4372270" y="1943521"/>
                    <a:pt x="4375472" y="1941849"/>
                    <a:pt x="4389879" y="1941849"/>
                  </a:cubicBezTo>
                  <a:cubicBezTo>
                    <a:pt x="4404287" y="1941849"/>
                    <a:pt x="4433102" y="1943521"/>
                    <a:pt x="4447509" y="1941849"/>
                  </a:cubicBezTo>
                  <a:cubicBezTo>
                    <a:pt x="4463518" y="1938506"/>
                    <a:pt x="4450711" y="1931818"/>
                    <a:pt x="4476325" y="1926802"/>
                  </a:cubicBezTo>
                  <a:cubicBezTo>
                    <a:pt x="4485930" y="1921786"/>
                    <a:pt x="4493934" y="1915099"/>
                    <a:pt x="4505140" y="1913427"/>
                  </a:cubicBezTo>
                  <a:cubicBezTo>
                    <a:pt x="4516345" y="1911755"/>
                    <a:pt x="4532354" y="1918442"/>
                    <a:pt x="4541959" y="1916770"/>
                  </a:cubicBezTo>
                  <a:cubicBezTo>
                    <a:pt x="4551564" y="1915099"/>
                    <a:pt x="4556366" y="1910083"/>
                    <a:pt x="4565971" y="1908411"/>
                  </a:cubicBezTo>
                  <a:cubicBezTo>
                    <a:pt x="4575576" y="1906739"/>
                    <a:pt x="4594786" y="1903395"/>
                    <a:pt x="4601190" y="1903395"/>
                  </a:cubicBezTo>
                  <a:cubicBezTo>
                    <a:pt x="4603791" y="1905903"/>
                    <a:pt x="4598388" y="1910919"/>
                    <a:pt x="4609194" y="1908411"/>
                  </a:cubicBezTo>
                  <a:cubicBezTo>
                    <a:pt x="4615597" y="1906739"/>
                    <a:pt x="4630005" y="1900051"/>
                    <a:pt x="4642811" y="1896707"/>
                  </a:cubicBezTo>
                  <a:cubicBezTo>
                    <a:pt x="4655618" y="1893364"/>
                    <a:pt x="4671627" y="1895035"/>
                    <a:pt x="4684433" y="1888348"/>
                  </a:cubicBezTo>
                  <a:cubicBezTo>
                    <a:pt x="4697240" y="1885004"/>
                    <a:pt x="4708446" y="1859925"/>
                    <a:pt x="4719652" y="1861597"/>
                  </a:cubicBezTo>
                  <a:cubicBezTo>
                    <a:pt x="4730857" y="1856581"/>
                    <a:pt x="4748467" y="1858253"/>
                    <a:pt x="4754870" y="1861597"/>
                  </a:cubicBezTo>
                  <a:cubicBezTo>
                    <a:pt x="4761273" y="1864941"/>
                    <a:pt x="4758072" y="1871629"/>
                    <a:pt x="4758072" y="1878316"/>
                  </a:cubicBezTo>
                  <a:cubicBezTo>
                    <a:pt x="4758072" y="1885004"/>
                    <a:pt x="4753269" y="1891692"/>
                    <a:pt x="4753269" y="1901723"/>
                  </a:cubicBezTo>
                  <a:cubicBezTo>
                    <a:pt x="4753269" y="1913427"/>
                    <a:pt x="4754870" y="1926802"/>
                    <a:pt x="4754870" y="1936834"/>
                  </a:cubicBezTo>
                  <a:cubicBezTo>
                    <a:pt x="4754870" y="1946865"/>
                    <a:pt x="4754870" y="1956897"/>
                    <a:pt x="4753269" y="1963584"/>
                  </a:cubicBezTo>
                  <a:cubicBezTo>
                    <a:pt x="4751668" y="1970272"/>
                    <a:pt x="4746866" y="1966928"/>
                    <a:pt x="4743664" y="1978632"/>
                  </a:cubicBezTo>
                  <a:cubicBezTo>
                    <a:pt x="4740462" y="1990335"/>
                    <a:pt x="4740462" y="2020430"/>
                    <a:pt x="4735660" y="2033805"/>
                  </a:cubicBezTo>
                  <a:cubicBezTo>
                    <a:pt x="4730857" y="2047181"/>
                    <a:pt x="4721252" y="2050525"/>
                    <a:pt x="4716450" y="2058884"/>
                  </a:cubicBezTo>
                  <a:cubicBezTo>
                    <a:pt x="4711647" y="2067244"/>
                    <a:pt x="4711647" y="2075603"/>
                    <a:pt x="4706845" y="2087307"/>
                  </a:cubicBezTo>
                  <a:cubicBezTo>
                    <a:pt x="4702042" y="2099010"/>
                    <a:pt x="4692437" y="2115730"/>
                    <a:pt x="4687635" y="2127433"/>
                  </a:cubicBezTo>
                  <a:cubicBezTo>
                    <a:pt x="4682832" y="2139137"/>
                    <a:pt x="4681232" y="2142480"/>
                    <a:pt x="4673227" y="2157528"/>
                  </a:cubicBezTo>
                  <a:cubicBezTo>
                    <a:pt x="4658820" y="2179263"/>
                    <a:pt x="4657219" y="2190966"/>
                    <a:pt x="4642811" y="2212701"/>
                  </a:cubicBezTo>
                  <a:cubicBezTo>
                    <a:pt x="4636408" y="2229420"/>
                    <a:pt x="4623601" y="2241124"/>
                    <a:pt x="4620400" y="2252827"/>
                  </a:cubicBezTo>
                  <a:cubicBezTo>
                    <a:pt x="4617198" y="2264531"/>
                    <a:pt x="4622001" y="2272891"/>
                    <a:pt x="4620400" y="2279578"/>
                  </a:cubicBezTo>
                  <a:cubicBezTo>
                    <a:pt x="4618799" y="2287938"/>
                    <a:pt x="4612396" y="2289610"/>
                    <a:pt x="4607593" y="2296297"/>
                  </a:cubicBezTo>
                  <a:cubicBezTo>
                    <a:pt x="4602791" y="2302985"/>
                    <a:pt x="4605992" y="2302985"/>
                    <a:pt x="4594786" y="2323048"/>
                  </a:cubicBezTo>
                  <a:cubicBezTo>
                    <a:pt x="4586782" y="2334752"/>
                    <a:pt x="4572375" y="2349799"/>
                    <a:pt x="4562770" y="2364846"/>
                  </a:cubicBezTo>
                  <a:cubicBezTo>
                    <a:pt x="4553165" y="2379894"/>
                    <a:pt x="4548362" y="2401629"/>
                    <a:pt x="4537156" y="2416676"/>
                  </a:cubicBezTo>
                  <a:cubicBezTo>
                    <a:pt x="4527551" y="2431723"/>
                    <a:pt x="4508341" y="2440083"/>
                    <a:pt x="4498736" y="2455130"/>
                  </a:cubicBezTo>
                  <a:cubicBezTo>
                    <a:pt x="4484329" y="2478537"/>
                    <a:pt x="4482728" y="2483553"/>
                    <a:pt x="4457115" y="2500272"/>
                  </a:cubicBezTo>
                  <a:cubicBezTo>
                    <a:pt x="4426699" y="2547086"/>
                    <a:pt x="4477925" y="2503616"/>
                    <a:pt x="4421896" y="2537055"/>
                  </a:cubicBezTo>
                  <a:cubicBezTo>
                    <a:pt x="4409089" y="2545414"/>
                    <a:pt x="4402686" y="2562134"/>
                    <a:pt x="4389879" y="2570493"/>
                  </a:cubicBezTo>
                  <a:cubicBezTo>
                    <a:pt x="4380274" y="2580525"/>
                    <a:pt x="4383476" y="2567149"/>
                    <a:pt x="4361064" y="2580525"/>
                  </a:cubicBezTo>
                  <a:cubicBezTo>
                    <a:pt x="4353060" y="2585541"/>
                    <a:pt x="4345056" y="2592228"/>
                    <a:pt x="4337052" y="2598916"/>
                  </a:cubicBezTo>
                  <a:cubicBezTo>
                    <a:pt x="4329048" y="2605604"/>
                    <a:pt x="4325846" y="2610619"/>
                    <a:pt x="4313039" y="2618979"/>
                  </a:cubicBezTo>
                  <a:cubicBezTo>
                    <a:pt x="4300233" y="2627339"/>
                    <a:pt x="4273018" y="2639042"/>
                    <a:pt x="4260212" y="2649074"/>
                  </a:cubicBezTo>
                  <a:cubicBezTo>
                    <a:pt x="4249006" y="2660777"/>
                    <a:pt x="4253808" y="2665793"/>
                    <a:pt x="4239401" y="2679168"/>
                  </a:cubicBezTo>
                  <a:cubicBezTo>
                    <a:pt x="4229796" y="2690872"/>
                    <a:pt x="4213787" y="2704247"/>
                    <a:pt x="4202582" y="2714279"/>
                  </a:cubicBezTo>
                  <a:cubicBezTo>
                    <a:pt x="4191376" y="2724310"/>
                    <a:pt x="4180170" y="2729326"/>
                    <a:pt x="4172166" y="2741030"/>
                  </a:cubicBezTo>
                  <a:cubicBezTo>
                    <a:pt x="4162561" y="2749389"/>
                    <a:pt x="4156157" y="2776140"/>
                    <a:pt x="4149754" y="2784500"/>
                  </a:cubicBezTo>
                  <a:cubicBezTo>
                    <a:pt x="4143351" y="2792859"/>
                    <a:pt x="4133746" y="2786172"/>
                    <a:pt x="4128943" y="2789515"/>
                  </a:cubicBezTo>
                  <a:cubicBezTo>
                    <a:pt x="4124140" y="2792859"/>
                    <a:pt x="4125741" y="2802891"/>
                    <a:pt x="4124140" y="2809579"/>
                  </a:cubicBezTo>
                  <a:cubicBezTo>
                    <a:pt x="4122540" y="2816266"/>
                    <a:pt x="4122540" y="2819610"/>
                    <a:pt x="4116136" y="2829642"/>
                  </a:cubicBezTo>
                  <a:cubicBezTo>
                    <a:pt x="4109275" y="2840561"/>
                    <a:pt x="4105748" y="2846675"/>
                    <a:pt x="4104187" y="2849912"/>
                  </a:cubicBezTo>
                  <a:cubicBezTo>
                    <a:pt x="4101729" y="2850541"/>
                    <a:pt x="4096526" y="2855139"/>
                    <a:pt x="4085720" y="2866424"/>
                  </a:cubicBezTo>
                  <a:cubicBezTo>
                    <a:pt x="4077716" y="2876456"/>
                    <a:pt x="4068111" y="2871440"/>
                    <a:pt x="4061708" y="2879799"/>
                  </a:cubicBezTo>
                  <a:cubicBezTo>
                    <a:pt x="4055305" y="2888159"/>
                    <a:pt x="4055305" y="2904878"/>
                    <a:pt x="4047300" y="2911566"/>
                  </a:cubicBezTo>
                  <a:cubicBezTo>
                    <a:pt x="4040897" y="2918254"/>
                    <a:pt x="4024889" y="2914910"/>
                    <a:pt x="4018485" y="2919926"/>
                  </a:cubicBezTo>
                  <a:cubicBezTo>
                    <a:pt x="4012082" y="2924941"/>
                    <a:pt x="4007279" y="2933301"/>
                    <a:pt x="4004078" y="2941661"/>
                  </a:cubicBezTo>
                  <a:cubicBezTo>
                    <a:pt x="3999275" y="2950020"/>
                    <a:pt x="4002477" y="2968411"/>
                    <a:pt x="3994473" y="2975099"/>
                  </a:cubicBezTo>
                  <a:cubicBezTo>
                    <a:pt x="3989670" y="2983459"/>
                    <a:pt x="3980065" y="2986803"/>
                    <a:pt x="3975263" y="2995162"/>
                  </a:cubicBezTo>
                  <a:cubicBezTo>
                    <a:pt x="3970460" y="3005194"/>
                    <a:pt x="3973662" y="2995162"/>
                    <a:pt x="3962456" y="3025257"/>
                  </a:cubicBezTo>
                  <a:cubicBezTo>
                    <a:pt x="3957654" y="3035288"/>
                    <a:pt x="3952851" y="3052008"/>
                    <a:pt x="3948049" y="3060367"/>
                  </a:cubicBezTo>
                  <a:cubicBezTo>
                    <a:pt x="3943246" y="3068727"/>
                    <a:pt x="3936843" y="3065383"/>
                    <a:pt x="3933641" y="3072071"/>
                  </a:cubicBezTo>
                  <a:cubicBezTo>
                    <a:pt x="3930439" y="3078759"/>
                    <a:pt x="3935242" y="3092134"/>
                    <a:pt x="3932040" y="3102165"/>
                  </a:cubicBezTo>
                  <a:cubicBezTo>
                    <a:pt x="3928838" y="3112197"/>
                    <a:pt x="3917633" y="3125572"/>
                    <a:pt x="3914431" y="3137276"/>
                  </a:cubicBezTo>
                  <a:cubicBezTo>
                    <a:pt x="3911229" y="3148979"/>
                    <a:pt x="3908028" y="3160683"/>
                    <a:pt x="3909628" y="3172386"/>
                  </a:cubicBezTo>
                  <a:cubicBezTo>
                    <a:pt x="3909628" y="3185762"/>
                    <a:pt x="3919233" y="3200809"/>
                    <a:pt x="3924036" y="3212513"/>
                  </a:cubicBezTo>
                  <a:cubicBezTo>
                    <a:pt x="3928838" y="3224216"/>
                    <a:pt x="3938444" y="3234248"/>
                    <a:pt x="3941645" y="3240935"/>
                  </a:cubicBezTo>
                  <a:cubicBezTo>
                    <a:pt x="3942046" y="3236024"/>
                    <a:pt x="3939644" y="3221290"/>
                    <a:pt x="3948049" y="3252639"/>
                  </a:cubicBezTo>
                  <a:cubicBezTo>
                    <a:pt x="3948049" y="3259326"/>
                    <a:pt x="3941645" y="3274374"/>
                    <a:pt x="3941645" y="3286077"/>
                  </a:cubicBezTo>
                  <a:cubicBezTo>
                    <a:pt x="3941645" y="3297781"/>
                    <a:pt x="3943246" y="3311156"/>
                    <a:pt x="3943246" y="3322860"/>
                  </a:cubicBezTo>
                  <a:cubicBezTo>
                    <a:pt x="3943246" y="3334563"/>
                    <a:pt x="3940044" y="3347938"/>
                    <a:pt x="3941645" y="3357970"/>
                  </a:cubicBezTo>
                  <a:cubicBezTo>
                    <a:pt x="3943246" y="3368002"/>
                    <a:pt x="3949649" y="3378033"/>
                    <a:pt x="3952851" y="3388065"/>
                  </a:cubicBezTo>
                  <a:cubicBezTo>
                    <a:pt x="3956053" y="3398096"/>
                    <a:pt x="3956053" y="3409800"/>
                    <a:pt x="3957654" y="3421503"/>
                  </a:cubicBezTo>
                  <a:cubicBezTo>
                    <a:pt x="3959254" y="3433207"/>
                    <a:pt x="3962456" y="3453270"/>
                    <a:pt x="3967259" y="3463301"/>
                  </a:cubicBezTo>
                  <a:cubicBezTo>
                    <a:pt x="3972061" y="3473333"/>
                    <a:pt x="3981666" y="3478349"/>
                    <a:pt x="3989670" y="3483364"/>
                  </a:cubicBezTo>
                  <a:cubicBezTo>
                    <a:pt x="3997674" y="3488380"/>
                    <a:pt x="4007279" y="3483364"/>
                    <a:pt x="4012082" y="3493396"/>
                  </a:cubicBezTo>
                  <a:cubicBezTo>
                    <a:pt x="4024889" y="3535194"/>
                    <a:pt x="4026489" y="3480021"/>
                    <a:pt x="4023288" y="3543554"/>
                  </a:cubicBezTo>
                  <a:cubicBezTo>
                    <a:pt x="4024889" y="3560273"/>
                    <a:pt x="4015284" y="3538538"/>
                    <a:pt x="4010481" y="3592040"/>
                  </a:cubicBezTo>
                  <a:cubicBezTo>
                    <a:pt x="4008880" y="3608759"/>
                    <a:pt x="4015284" y="3625478"/>
                    <a:pt x="4015284" y="3643869"/>
                  </a:cubicBezTo>
                  <a:cubicBezTo>
                    <a:pt x="4015284" y="3662260"/>
                    <a:pt x="4015284" y="3680652"/>
                    <a:pt x="4015284" y="3699043"/>
                  </a:cubicBezTo>
                  <a:cubicBezTo>
                    <a:pt x="4015284" y="3717434"/>
                    <a:pt x="4013683" y="3735825"/>
                    <a:pt x="4015284" y="3752544"/>
                  </a:cubicBezTo>
                  <a:cubicBezTo>
                    <a:pt x="4016884" y="3769264"/>
                    <a:pt x="4028090" y="3785983"/>
                    <a:pt x="4028090" y="3797686"/>
                  </a:cubicBezTo>
                  <a:cubicBezTo>
                    <a:pt x="4028090" y="3809390"/>
                    <a:pt x="4021687" y="3817749"/>
                    <a:pt x="4018485" y="3827781"/>
                  </a:cubicBezTo>
                  <a:cubicBezTo>
                    <a:pt x="4015284" y="3837813"/>
                    <a:pt x="4015284" y="3854532"/>
                    <a:pt x="4010481" y="3862891"/>
                  </a:cubicBezTo>
                  <a:cubicBezTo>
                    <a:pt x="4005679" y="3871251"/>
                    <a:pt x="3996074" y="3869579"/>
                    <a:pt x="3989670" y="3877939"/>
                  </a:cubicBezTo>
                  <a:cubicBezTo>
                    <a:pt x="3984868" y="3887970"/>
                    <a:pt x="3984868" y="3894658"/>
                    <a:pt x="3970460" y="3909705"/>
                  </a:cubicBezTo>
                  <a:cubicBezTo>
                    <a:pt x="3964057" y="3919737"/>
                    <a:pt x="3964057" y="3928097"/>
                    <a:pt x="3952851" y="3938128"/>
                  </a:cubicBezTo>
                  <a:cubicBezTo>
                    <a:pt x="3941645" y="3948160"/>
                    <a:pt x="3917633" y="3959863"/>
                    <a:pt x="3903225" y="3968223"/>
                  </a:cubicBezTo>
                  <a:cubicBezTo>
                    <a:pt x="3888818" y="3976582"/>
                    <a:pt x="3880813" y="3979926"/>
                    <a:pt x="3866406" y="3984942"/>
                  </a:cubicBezTo>
                  <a:cubicBezTo>
                    <a:pt x="3855200" y="3988286"/>
                    <a:pt x="3848797" y="3983270"/>
                    <a:pt x="3837591" y="3988286"/>
                  </a:cubicBezTo>
                  <a:cubicBezTo>
                    <a:pt x="3826385" y="3993302"/>
                    <a:pt x="3808776" y="4011693"/>
                    <a:pt x="3794368" y="4020052"/>
                  </a:cubicBezTo>
                  <a:cubicBezTo>
                    <a:pt x="3779961" y="4030084"/>
                    <a:pt x="3768755" y="4033428"/>
                    <a:pt x="3754347" y="4048475"/>
                  </a:cubicBezTo>
                  <a:cubicBezTo>
                    <a:pt x="3738339" y="4073554"/>
                    <a:pt x="3725532" y="4090273"/>
                    <a:pt x="3703121" y="4110336"/>
                  </a:cubicBezTo>
                  <a:cubicBezTo>
                    <a:pt x="3691915" y="4120368"/>
                    <a:pt x="3683911" y="4130400"/>
                    <a:pt x="3669503" y="4135415"/>
                  </a:cubicBezTo>
                  <a:cubicBezTo>
                    <a:pt x="3656696" y="4140431"/>
                    <a:pt x="3639087" y="4165510"/>
                    <a:pt x="3639087" y="4165510"/>
                  </a:cubicBezTo>
                  <a:cubicBezTo>
                    <a:pt x="3629482" y="4173870"/>
                    <a:pt x="3607070" y="4170526"/>
                    <a:pt x="3602268" y="4178885"/>
                  </a:cubicBezTo>
                  <a:cubicBezTo>
                    <a:pt x="3594264" y="4187245"/>
                    <a:pt x="3592663" y="4203964"/>
                    <a:pt x="3592663" y="4213996"/>
                  </a:cubicBezTo>
                  <a:cubicBezTo>
                    <a:pt x="3591062" y="4220684"/>
                    <a:pt x="3602268" y="4239075"/>
                    <a:pt x="3602268" y="4239075"/>
                  </a:cubicBezTo>
                  <a:cubicBezTo>
                    <a:pt x="3603869" y="4247434"/>
                    <a:pt x="3610272" y="4240747"/>
                    <a:pt x="3615075" y="4255794"/>
                  </a:cubicBezTo>
                  <a:cubicBezTo>
                    <a:pt x="3616675" y="4264154"/>
                    <a:pt x="3613474" y="4279201"/>
                    <a:pt x="3616675" y="4290904"/>
                  </a:cubicBezTo>
                  <a:cubicBezTo>
                    <a:pt x="3619877" y="4302608"/>
                    <a:pt x="3629482" y="4314311"/>
                    <a:pt x="3634285" y="4329359"/>
                  </a:cubicBezTo>
                  <a:cubicBezTo>
                    <a:pt x="3639087" y="4347750"/>
                    <a:pt x="3645491" y="4354438"/>
                    <a:pt x="3643890" y="4386204"/>
                  </a:cubicBezTo>
                  <a:cubicBezTo>
                    <a:pt x="3645491" y="4402923"/>
                    <a:pt x="3647091" y="4417971"/>
                    <a:pt x="3645491" y="4429674"/>
                  </a:cubicBezTo>
                  <a:cubicBezTo>
                    <a:pt x="3643890" y="4441378"/>
                    <a:pt x="3635885" y="4448065"/>
                    <a:pt x="3634285" y="4456425"/>
                  </a:cubicBezTo>
                  <a:cubicBezTo>
                    <a:pt x="3632684" y="4464785"/>
                    <a:pt x="3635885" y="4474816"/>
                    <a:pt x="3634285" y="4484848"/>
                  </a:cubicBezTo>
                  <a:cubicBezTo>
                    <a:pt x="3632684" y="4494879"/>
                    <a:pt x="3634285" y="4506583"/>
                    <a:pt x="3627881" y="4516614"/>
                  </a:cubicBezTo>
                  <a:cubicBezTo>
                    <a:pt x="3618276" y="4526646"/>
                    <a:pt x="3607070" y="4531662"/>
                    <a:pt x="3595865" y="4541693"/>
                  </a:cubicBezTo>
                  <a:cubicBezTo>
                    <a:pt x="3583058" y="4553397"/>
                    <a:pt x="3576655" y="4545037"/>
                    <a:pt x="3562247" y="4555069"/>
                  </a:cubicBezTo>
                  <a:cubicBezTo>
                    <a:pt x="3551041" y="4560084"/>
                    <a:pt x="3533432" y="4566772"/>
                    <a:pt x="3519024" y="4575132"/>
                  </a:cubicBezTo>
                  <a:cubicBezTo>
                    <a:pt x="3506218" y="4580148"/>
                    <a:pt x="3496613" y="4576804"/>
                    <a:pt x="3485407" y="4581819"/>
                  </a:cubicBezTo>
                  <a:cubicBezTo>
                    <a:pt x="3472600" y="4586835"/>
                    <a:pt x="3451789" y="4610242"/>
                    <a:pt x="3451789" y="4610242"/>
                  </a:cubicBezTo>
                  <a:cubicBezTo>
                    <a:pt x="3446987" y="4616930"/>
                    <a:pt x="3434180" y="4628633"/>
                    <a:pt x="3434180" y="4636993"/>
                  </a:cubicBezTo>
                  <a:cubicBezTo>
                    <a:pt x="3434180" y="4650368"/>
                    <a:pt x="3446987" y="4655384"/>
                    <a:pt x="3446987" y="4655384"/>
                  </a:cubicBezTo>
                  <a:cubicBezTo>
                    <a:pt x="3448588" y="4662072"/>
                    <a:pt x="3469399" y="4608570"/>
                    <a:pt x="3462995" y="4631977"/>
                  </a:cubicBezTo>
                  <a:cubicBezTo>
                    <a:pt x="3464596" y="4633649"/>
                    <a:pt x="3461394" y="4647025"/>
                    <a:pt x="3458193" y="4662072"/>
                  </a:cubicBezTo>
                  <a:cubicBezTo>
                    <a:pt x="3454991" y="4677119"/>
                    <a:pt x="3451789" y="4700526"/>
                    <a:pt x="3448588" y="4717245"/>
                  </a:cubicBezTo>
                  <a:cubicBezTo>
                    <a:pt x="3445386" y="4733965"/>
                    <a:pt x="3442184" y="4747340"/>
                    <a:pt x="3437382" y="4760715"/>
                  </a:cubicBezTo>
                  <a:cubicBezTo>
                    <a:pt x="3432579" y="4774091"/>
                    <a:pt x="3430978" y="4784122"/>
                    <a:pt x="3422974" y="4797498"/>
                  </a:cubicBezTo>
                  <a:cubicBezTo>
                    <a:pt x="3418172" y="4817561"/>
                    <a:pt x="3402163" y="4834280"/>
                    <a:pt x="3386155" y="4845984"/>
                  </a:cubicBezTo>
                  <a:cubicBezTo>
                    <a:pt x="3371748" y="4856015"/>
                    <a:pt x="3362143" y="4866047"/>
                    <a:pt x="3346134" y="4871063"/>
                  </a:cubicBezTo>
                  <a:cubicBezTo>
                    <a:pt x="3334928" y="4882766"/>
                    <a:pt x="3325323" y="4894470"/>
                    <a:pt x="3317319" y="4911189"/>
                  </a:cubicBezTo>
                  <a:cubicBezTo>
                    <a:pt x="3307714" y="4926236"/>
                    <a:pt x="3298109" y="4951315"/>
                    <a:pt x="3290105" y="4966362"/>
                  </a:cubicBezTo>
                  <a:cubicBezTo>
                    <a:pt x="3280500" y="4979738"/>
                    <a:pt x="3275697" y="4998129"/>
                    <a:pt x="3264492" y="5006489"/>
                  </a:cubicBezTo>
                  <a:cubicBezTo>
                    <a:pt x="3254887" y="5016520"/>
                    <a:pt x="3240479" y="5016520"/>
                    <a:pt x="3227672" y="5028224"/>
                  </a:cubicBezTo>
                  <a:cubicBezTo>
                    <a:pt x="3213265" y="5049959"/>
                    <a:pt x="3206861" y="5054974"/>
                    <a:pt x="3192454" y="5076709"/>
                  </a:cubicBezTo>
                  <a:cubicBezTo>
                    <a:pt x="3181248" y="5093429"/>
                    <a:pt x="3173244" y="5091757"/>
                    <a:pt x="3155635" y="5103460"/>
                  </a:cubicBezTo>
                  <a:cubicBezTo>
                    <a:pt x="3144429" y="5113492"/>
                    <a:pt x="3134824" y="5123523"/>
                    <a:pt x="3122017" y="5133555"/>
                  </a:cubicBezTo>
                  <a:cubicBezTo>
                    <a:pt x="3109210" y="5143586"/>
                    <a:pt x="3094803" y="5155290"/>
                    <a:pt x="3081996" y="5163649"/>
                  </a:cubicBezTo>
                  <a:cubicBezTo>
                    <a:pt x="3069190" y="5166993"/>
                    <a:pt x="3061185" y="5178697"/>
                    <a:pt x="3048379" y="5183713"/>
                  </a:cubicBezTo>
                  <a:cubicBezTo>
                    <a:pt x="3041975" y="5185385"/>
                    <a:pt x="3014761" y="5192072"/>
                    <a:pt x="3014761" y="5192072"/>
                  </a:cubicBezTo>
                  <a:cubicBezTo>
                    <a:pt x="3001954" y="5197088"/>
                    <a:pt x="2989148" y="5203776"/>
                    <a:pt x="2977942" y="5207120"/>
                  </a:cubicBezTo>
                  <a:cubicBezTo>
                    <a:pt x="2969938" y="5208791"/>
                    <a:pt x="2966736" y="5198760"/>
                    <a:pt x="2961934" y="5198760"/>
                  </a:cubicBezTo>
                  <a:cubicBezTo>
                    <a:pt x="2957131" y="5198760"/>
                    <a:pt x="2955530" y="5207120"/>
                    <a:pt x="2949127" y="5212135"/>
                  </a:cubicBezTo>
                  <a:cubicBezTo>
                    <a:pt x="2942723" y="5215479"/>
                    <a:pt x="2933118" y="5218823"/>
                    <a:pt x="2920312" y="5223839"/>
                  </a:cubicBezTo>
                  <a:cubicBezTo>
                    <a:pt x="2913908" y="5223839"/>
                    <a:pt x="2913908" y="5212135"/>
                    <a:pt x="2909106" y="5212135"/>
                  </a:cubicBezTo>
                  <a:cubicBezTo>
                    <a:pt x="2904303" y="5212135"/>
                    <a:pt x="2901102" y="5222167"/>
                    <a:pt x="2894698" y="5227183"/>
                  </a:cubicBezTo>
                  <a:cubicBezTo>
                    <a:pt x="2888295" y="5232198"/>
                    <a:pt x="2880291" y="5238886"/>
                    <a:pt x="2872287" y="5238886"/>
                  </a:cubicBezTo>
                  <a:cubicBezTo>
                    <a:pt x="2864283" y="5240558"/>
                    <a:pt x="2861081" y="5225511"/>
                    <a:pt x="2846673" y="5223839"/>
                  </a:cubicBezTo>
                  <a:cubicBezTo>
                    <a:pt x="2832266" y="5222167"/>
                    <a:pt x="2808253" y="5228855"/>
                    <a:pt x="2785842" y="5228855"/>
                  </a:cubicBezTo>
                  <a:cubicBezTo>
                    <a:pt x="2763430" y="5228855"/>
                    <a:pt x="2731413" y="5220495"/>
                    <a:pt x="2713804" y="5223839"/>
                  </a:cubicBezTo>
                  <a:cubicBezTo>
                    <a:pt x="2696195" y="5227183"/>
                    <a:pt x="2697796" y="5247246"/>
                    <a:pt x="2680186" y="5252262"/>
                  </a:cubicBezTo>
                  <a:cubicBezTo>
                    <a:pt x="2662577" y="5257277"/>
                    <a:pt x="2624157" y="5250590"/>
                    <a:pt x="2608149" y="5252262"/>
                  </a:cubicBezTo>
                  <a:cubicBezTo>
                    <a:pt x="2592140" y="5253933"/>
                    <a:pt x="2592140" y="5253933"/>
                    <a:pt x="2584136" y="5258949"/>
                  </a:cubicBezTo>
                  <a:cubicBezTo>
                    <a:pt x="2576132" y="5272325"/>
                    <a:pt x="2574531" y="5280684"/>
                    <a:pt x="2555321" y="5279012"/>
                  </a:cubicBezTo>
                  <a:cubicBezTo>
                    <a:pt x="2542514" y="5277340"/>
                    <a:pt x="2524905" y="5273997"/>
                    <a:pt x="2524905" y="5273997"/>
                  </a:cubicBezTo>
                  <a:cubicBezTo>
                    <a:pt x="2515300" y="5268981"/>
                    <a:pt x="2526506" y="5260621"/>
                    <a:pt x="2516901" y="5253933"/>
                  </a:cubicBezTo>
                  <a:cubicBezTo>
                    <a:pt x="2512099" y="5250590"/>
                    <a:pt x="2497691" y="5257277"/>
                    <a:pt x="2492889" y="5252262"/>
                  </a:cubicBezTo>
                  <a:cubicBezTo>
                    <a:pt x="2488086" y="5247246"/>
                    <a:pt x="2492889" y="5227183"/>
                    <a:pt x="2488086" y="5223839"/>
                  </a:cubicBezTo>
                  <a:cubicBezTo>
                    <a:pt x="2483284" y="5220495"/>
                    <a:pt x="2467275" y="5228855"/>
                    <a:pt x="2462473" y="5232198"/>
                  </a:cubicBezTo>
                  <a:cubicBezTo>
                    <a:pt x="2454468" y="5228855"/>
                    <a:pt x="2467275" y="5258949"/>
                    <a:pt x="2459271" y="5248918"/>
                  </a:cubicBezTo>
                  <a:cubicBezTo>
                    <a:pt x="2457670" y="5247246"/>
                    <a:pt x="2452868" y="5227183"/>
                    <a:pt x="2452868" y="5218823"/>
                  </a:cubicBezTo>
                  <a:cubicBezTo>
                    <a:pt x="2452868" y="5210463"/>
                    <a:pt x="2465674" y="5208791"/>
                    <a:pt x="2462473" y="5198760"/>
                  </a:cubicBezTo>
                  <a:cubicBezTo>
                    <a:pt x="2459271" y="5188728"/>
                    <a:pt x="2433658" y="5168665"/>
                    <a:pt x="2428855" y="5158634"/>
                  </a:cubicBezTo>
                  <a:cubicBezTo>
                    <a:pt x="2425653" y="5146930"/>
                    <a:pt x="2425653" y="5141914"/>
                    <a:pt x="2428855" y="5133555"/>
                  </a:cubicBezTo>
                  <a:cubicBezTo>
                    <a:pt x="2433658" y="5126867"/>
                    <a:pt x="2449666" y="5130211"/>
                    <a:pt x="2452868" y="5118507"/>
                  </a:cubicBezTo>
                  <a:cubicBezTo>
                    <a:pt x="2454468" y="5108476"/>
                    <a:pt x="2457670" y="5081725"/>
                    <a:pt x="2449666" y="5058318"/>
                  </a:cubicBezTo>
                  <a:cubicBezTo>
                    <a:pt x="2443263" y="5039927"/>
                    <a:pt x="2422452" y="5024880"/>
                    <a:pt x="2414448" y="5011504"/>
                  </a:cubicBezTo>
                  <a:cubicBezTo>
                    <a:pt x="2406443" y="4998129"/>
                    <a:pt x="2401641" y="4986425"/>
                    <a:pt x="2396838" y="4976394"/>
                  </a:cubicBezTo>
                  <a:cubicBezTo>
                    <a:pt x="2392036" y="4963018"/>
                    <a:pt x="2388834" y="4958003"/>
                    <a:pt x="2385633" y="4947971"/>
                  </a:cubicBezTo>
                  <a:cubicBezTo>
                    <a:pt x="2382431" y="4937940"/>
                    <a:pt x="2376028" y="4929580"/>
                    <a:pt x="2372826" y="4917876"/>
                  </a:cubicBezTo>
                  <a:cubicBezTo>
                    <a:pt x="2368023" y="4906173"/>
                    <a:pt x="2368023" y="4891126"/>
                    <a:pt x="2363221" y="4881094"/>
                  </a:cubicBezTo>
                  <a:cubicBezTo>
                    <a:pt x="2358418" y="4869391"/>
                    <a:pt x="2353616" y="4861031"/>
                    <a:pt x="2342410" y="4845984"/>
                  </a:cubicBezTo>
                  <a:cubicBezTo>
                    <a:pt x="2331204" y="4829264"/>
                    <a:pt x="2303990" y="4804186"/>
                    <a:pt x="2291183" y="4787466"/>
                  </a:cubicBezTo>
                  <a:cubicBezTo>
                    <a:pt x="2278377" y="4770747"/>
                    <a:pt x="2271973" y="4760715"/>
                    <a:pt x="2263969" y="4743996"/>
                  </a:cubicBezTo>
                  <a:cubicBezTo>
                    <a:pt x="2257566" y="4723933"/>
                    <a:pt x="2251162" y="4703870"/>
                    <a:pt x="2244759" y="4683807"/>
                  </a:cubicBezTo>
                  <a:cubicBezTo>
                    <a:pt x="2243158" y="4677119"/>
                    <a:pt x="2238356" y="4663744"/>
                    <a:pt x="2238356" y="4663744"/>
                  </a:cubicBezTo>
                  <a:cubicBezTo>
                    <a:pt x="2236755" y="4653712"/>
                    <a:pt x="2233553" y="4655384"/>
                    <a:pt x="2227150" y="4625290"/>
                  </a:cubicBezTo>
                  <a:cubicBezTo>
                    <a:pt x="2223948" y="4605226"/>
                    <a:pt x="2225549" y="4565100"/>
                    <a:pt x="2222347" y="4546709"/>
                  </a:cubicBezTo>
                  <a:cubicBezTo>
                    <a:pt x="2219146" y="4528318"/>
                    <a:pt x="2212742" y="4524974"/>
                    <a:pt x="2209541" y="4514942"/>
                  </a:cubicBezTo>
                  <a:cubicBezTo>
                    <a:pt x="2206339" y="4504911"/>
                    <a:pt x="2201536" y="4494879"/>
                    <a:pt x="2199936" y="4483176"/>
                  </a:cubicBezTo>
                  <a:cubicBezTo>
                    <a:pt x="2196734" y="4471472"/>
                    <a:pt x="2209541" y="4476488"/>
                    <a:pt x="2203137" y="4444722"/>
                  </a:cubicBezTo>
                  <a:cubicBezTo>
                    <a:pt x="2203137" y="4434690"/>
                    <a:pt x="2196734" y="4428002"/>
                    <a:pt x="2198335" y="4419643"/>
                  </a:cubicBezTo>
                  <a:cubicBezTo>
                    <a:pt x="2199936" y="4411283"/>
                    <a:pt x="2212742" y="4404595"/>
                    <a:pt x="2207940" y="4391220"/>
                  </a:cubicBezTo>
                  <a:cubicBezTo>
                    <a:pt x="2203137" y="4377845"/>
                    <a:pt x="2182326" y="4351094"/>
                    <a:pt x="2174322" y="4336046"/>
                  </a:cubicBezTo>
                  <a:cubicBezTo>
                    <a:pt x="2166318" y="4320999"/>
                    <a:pt x="2163116" y="4310968"/>
                    <a:pt x="2155112" y="4295920"/>
                  </a:cubicBezTo>
                  <a:cubicBezTo>
                    <a:pt x="2147108" y="4279201"/>
                    <a:pt x="2132700" y="4260810"/>
                    <a:pt x="2126297" y="4244091"/>
                  </a:cubicBezTo>
                  <a:cubicBezTo>
                    <a:pt x="2118293" y="4227371"/>
                    <a:pt x="2108688" y="4213996"/>
                    <a:pt x="2102285" y="4198949"/>
                  </a:cubicBezTo>
                  <a:cubicBezTo>
                    <a:pt x="2097482" y="4183901"/>
                    <a:pt x="2095881" y="4170526"/>
                    <a:pt x="2091079" y="4155478"/>
                  </a:cubicBezTo>
                  <a:cubicBezTo>
                    <a:pt x="2086276" y="4140431"/>
                    <a:pt x="2078272" y="4130400"/>
                    <a:pt x="2070268" y="4118696"/>
                  </a:cubicBezTo>
                  <a:cubicBezTo>
                    <a:pt x="2062264" y="4106993"/>
                    <a:pt x="2054260" y="4101977"/>
                    <a:pt x="2046255" y="4088601"/>
                  </a:cubicBezTo>
                  <a:cubicBezTo>
                    <a:pt x="2036650" y="4071882"/>
                    <a:pt x="2020642" y="4071882"/>
                    <a:pt x="2017440" y="4035100"/>
                  </a:cubicBezTo>
                  <a:cubicBezTo>
                    <a:pt x="2012638" y="4016709"/>
                    <a:pt x="2014239" y="3994974"/>
                    <a:pt x="2015839" y="3979926"/>
                  </a:cubicBezTo>
                  <a:cubicBezTo>
                    <a:pt x="2017440" y="3964879"/>
                    <a:pt x="2022243" y="3961535"/>
                    <a:pt x="2022243" y="3948160"/>
                  </a:cubicBezTo>
                  <a:cubicBezTo>
                    <a:pt x="2022243" y="3934784"/>
                    <a:pt x="2017440" y="3908033"/>
                    <a:pt x="2020642" y="3894658"/>
                  </a:cubicBezTo>
                  <a:cubicBezTo>
                    <a:pt x="2023844" y="3881283"/>
                    <a:pt x="2039852" y="3877939"/>
                    <a:pt x="2044655" y="3867907"/>
                  </a:cubicBezTo>
                  <a:cubicBezTo>
                    <a:pt x="2047856" y="3857876"/>
                    <a:pt x="2046255" y="3841156"/>
                    <a:pt x="2046255" y="3829453"/>
                  </a:cubicBezTo>
                  <a:cubicBezTo>
                    <a:pt x="2047856" y="3816078"/>
                    <a:pt x="2054260" y="3799358"/>
                    <a:pt x="2055860" y="3787655"/>
                  </a:cubicBezTo>
                  <a:cubicBezTo>
                    <a:pt x="2059062" y="3774279"/>
                    <a:pt x="2059062" y="3754216"/>
                    <a:pt x="2059062" y="3754216"/>
                  </a:cubicBezTo>
                  <a:cubicBezTo>
                    <a:pt x="2060863" y="3748887"/>
                    <a:pt x="2062664" y="3755470"/>
                    <a:pt x="2073470" y="3744185"/>
                  </a:cubicBezTo>
                  <a:cubicBezTo>
                    <a:pt x="2076671" y="3735825"/>
                    <a:pt x="2076671" y="3710746"/>
                    <a:pt x="2083075" y="3702387"/>
                  </a:cubicBezTo>
                  <a:cubicBezTo>
                    <a:pt x="2089478" y="3694027"/>
                    <a:pt x="2105486" y="3697371"/>
                    <a:pt x="2111890" y="3689011"/>
                  </a:cubicBezTo>
                  <a:cubicBezTo>
                    <a:pt x="2118293" y="3680652"/>
                    <a:pt x="2111890" y="3660589"/>
                    <a:pt x="2118293" y="3652229"/>
                  </a:cubicBezTo>
                  <a:cubicBezTo>
                    <a:pt x="2124696" y="3643869"/>
                    <a:pt x="2143906" y="3650557"/>
                    <a:pt x="2150310" y="3637182"/>
                  </a:cubicBezTo>
                  <a:cubicBezTo>
                    <a:pt x="2156713" y="3627150"/>
                    <a:pt x="2166318" y="3605415"/>
                    <a:pt x="2159915" y="3566961"/>
                  </a:cubicBezTo>
                  <a:cubicBezTo>
                    <a:pt x="2161515" y="3550241"/>
                    <a:pt x="2166318" y="3543554"/>
                    <a:pt x="2164717" y="3531850"/>
                  </a:cubicBezTo>
                  <a:cubicBezTo>
                    <a:pt x="2163116" y="3520147"/>
                    <a:pt x="2151910" y="3510115"/>
                    <a:pt x="2145507" y="3498412"/>
                  </a:cubicBezTo>
                  <a:cubicBezTo>
                    <a:pt x="2139104" y="3486708"/>
                    <a:pt x="2134301" y="3476677"/>
                    <a:pt x="2127898" y="3461629"/>
                  </a:cubicBezTo>
                  <a:cubicBezTo>
                    <a:pt x="2121495" y="3446582"/>
                    <a:pt x="2111890" y="3418159"/>
                    <a:pt x="2110289" y="3406456"/>
                  </a:cubicBezTo>
                  <a:cubicBezTo>
                    <a:pt x="2113190" y="3402381"/>
                    <a:pt x="2118293" y="3412726"/>
                    <a:pt x="2113490" y="3386393"/>
                  </a:cubicBezTo>
                  <a:cubicBezTo>
                    <a:pt x="2116692" y="3379705"/>
                    <a:pt x="2123095" y="3374689"/>
                    <a:pt x="2126297" y="3368002"/>
                  </a:cubicBezTo>
                  <a:cubicBezTo>
                    <a:pt x="2129499" y="3361314"/>
                    <a:pt x="2139104" y="3361314"/>
                    <a:pt x="2135902" y="3346267"/>
                  </a:cubicBezTo>
                  <a:cubicBezTo>
                    <a:pt x="2132700" y="3331219"/>
                    <a:pt x="2110289" y="3297781"/>
                    <a:pt x="2103885" y="3281061"/>
                  </a:cubicBezTo>
                  <a:cubicBezTo>
                    <a:pt x="2097482" y="3264342"/>
                    <a:pt x="2100684" y="3255983"/>
                    <a:pt x="2094280" y="3240935"/>
                  </a:cubicBezTo>
                  <a:cubicBezTo>
                    <a:pt x="2087877" y="3225888"/>
                    <a:pt x="2076671" y="3219200"/>
                    <a:pt x="2065465" y="3192449"/>
                  </a:cubicBezTo>
                  <a:cubicBezTo>
                    <a:pt x="2054260" y="3152323"/>
                    <a:pt x="2060663" y="3102165"/>
                    <a:pt x="2027045" y="3078759"/>
                  </a:cubicBezTo>
                  <a:cubicBezTo>
                    <a:pt x="2017440" y="3055352"/>
                    <a:pt x="2014239" y="3052008"/>
                    <a:pt x="2003033" y="3040304"/>
                  </a:cubicBezTo>
                  <a:cubicBezTo>
                    <a:pt x="1995029" y="3030273"/>
                    <a:pt x="1985424" y="3031945"/>
                    <a:pt x="1974218" y="3021913"/>
                  </a:cubicBezTo>
                  <a:cubicBezTo>
                    <a:pt x="1961411" y="2983459"/>
                    <a:pt x="1967814" y="3005194"/>
                    <a:pt x="1938999" y="2975099"/>
                  </a:cubicBezTo>
                  <a:cubicBezTo>
                    <a:pt x="1929394" y="2965068"/>
                    <a:pt x="1910184" y="2941661"/>
                    <a:pt x="1900579" y="2931629"/>
                  </a:cubicBezTo>
                  <a:cubicBezTo>
                    <a:pt x="1878168" y="2908222"/>
                    <a:pt x="1890974" y="2903206"/>
                    <a:pt x="1866962" y="2894847"/>
                  </a:cubicBezTo>
                  <a:cubicBezTo>
                    <a:pt x="1857357" y="2881471"/>
                    <a:pt x="1854155" y="2861408"/>
                    <a:pt x="1847752" y="2849705"/>
                  </a:cubicBezTo>
                  <a:cubicBezTo>
                    <a:pt x="1841348" y="2838001"/>
                    <a:pt x="1833344" y="2831314"/>
                    <a:pt x="1828542" y="2824626"/>
                  </a:cubicBezTo>
                  <a:cubicBezTo>
                    <a:pt x="1826941" y="2817938"/>
                    <a:pt x="1822138" y="2804563"/>
                    <a:pt x="1822138" y="2804563"/>
                  </a:cubicBezTo>
                  <a:cubicBezTo>
                    <a:pt x="1822138" y="2796203"/>
                    <a:pt x="1809332" y="2789515"/>
                    <a:pt x="1814134" y="2781156"/>
                  </a:cubicBezTo>
                  <a:cubicBezTo>
                    <a:pt x="1817336" y="2777812"/>
                    <a:pt x="1831743" y="2786172"/>
                    <a:pt x="1838147" y="2781156"/>
                  </a:cubicBezTo>
                  <a:cubicBezTo>
                    <a:pt x="1844550" y="2776140"/>
                    <a:pt x="1850953" y="2761093"/>
                    <a:pt x="1854155" y="2751061"/>
                  </a:cubicBezTo>
                  <a:cubicBezTo>
                    <a:pt x="1858958" y="2739358"/>
                    <a:pt x="1858958" y="2730998"/>
                    <a:pt x="1862159" y="2719295"/>
                  </a:cubicBezTo>
                  <a:cubicBezTo>
                    <a:pt x="1862159" y="2709263"/>
                    <a:pt x="1854155" y="2702575"/>
                    <a:pt x="1854155" y="2694216"/>
                  </a:cubicBezTo>
                  <a:cubicBezTo>
                    <a:pt x="1852554" y="2687528"/>
                    <a:pt x="1862159" y="2679168"/>
                    <a:pt x="1866962" y="2664121"/>
                  </a:cubicBezTo>
                  <a:cubicBezTo>
                    <a:pt x="1866962" y="2655761"/>
                    <a:pt x="1857357" y="2649074"/>
                    <a:pt x="1858958" y="2639042"/>
                  </a:cubicBezTo>
                  <a:cubicBezTo>
                    <a:pt x="1860558" y="2629011"/>
                    <a:pt x="1874966" y="2615635"/>
                    <a:pt x="1879768" y="2603932"/>
                  </a:cubicBezTo>
                  <a:cubicBezTo>
                    <a:pt x="1886172" y="2588884"/>
                    <a:pt x="1890974" y="2590556"/>
                    <a:pt x="1886172" y="2565477"/>
                  </a:cubicBezTo>
                  <a:cubicBezTo>
                    <a:pt x="1887773" y="2550430"/>
                    <a:pt x="1889373" y="2525351"/>
                    <a:pt x="1887773" y="2510304"/>
                  </a:cubicBezTo>
                  <a:cubicBezTo>
                    <a:pt x="1886172" y="2495257"/>
                    <a:pt x="1878168" y="2483553"/>
                    <a:pt x="1876567" y="2473522"/>
                  </a:cubicBezTo>
                  <a:cubicBezTo>
                    <a:pt x="1874966" y="2463490"/>
                    <a:pt x="1878168" y="2448443"/>
                    <a:pt x="1873365" y="2445099"/>
                  </a:cubicBezTo>
                  <a:cubicBezTo>
                    <a:pt x="1868563" y="2441755"/>
                    <a:pt x="1855756" y="2455130"/>
                    <a:pt x="1847752" y="2450115"/>
                  </a:cubicBezTo>
                  <a:cubicBezTo>
                    <a:pt x="1839747" y="2436739"/>
                    <a:pt x="1830142" y="2423364"/>
                    <a:pt x="1822138" y="2409988"/>
                  </a:cubicBezTo>
                  <a:cubicBezTo>
                    <a:pt x="1817336" y="2403301"/>
                    <a:pt x="1809332" y="2389925"/>
                    <a:pt x="1809332" y="2389925"/>
                  </a:cubicBezTo>
                  <a:cubicBezTo>
                    <a:pt x="1804529" y="2386581"/>
                    <a:pt x="1815735" y="2381566"/>
                    <a:pt x="1782117" y="2383238"/>
                  </a:cubicBezTo>
                  <a:cubicBezTo>
                    <a:pt x="1777315" y="2383238"/>
                    <a:pt x="1786920" y="2391597"/>
                    <a:pt x="1777315" y="2394941"/>
                  </a:cubicBezTo>
                  <a:cubicBezTo>
                    <a:pt x="1767710" y="2398285"/>
                    <a:pt x="1740496" y="2398285"/>
                    <a:pt x="1727689" y="2399957"/>
                  </a:cubicBezTo>
                  <a:cubicBezTo>
                    <a:pt x="1714882" y="2401629"/>
                    <a:pt x="1705277" y="2403301"/>
                    <a:pt x="1695672" y="2403301"/>
                  </a:cubicBezTo>
                  <a:cubicBezTo>
                    <a:pt x="1686067" y="2403301"/>
                    <a:pt x="1682866" y="2403301"/>
                    <a:pt x="1671660" y="2404973"/>
                  </a:cubicBezTo>
                  <a:cubicBezTo>
                    <a:pt x="1660454" y="2406645"/>
                    <a:pt x="1638042" y="2416676"/>
                    <a:pt x="1626836" y="2415004"/>
                  </a:cubicBezTo>
                  <a:cubicBezTo>
                    <a:pt x="1615630" y="2413332"/>
                    <a:pt x="1610828" y="2403301"/>
                    <a:pt x="1604425" y="2396613"/>
                  </a:cubicBezTo>
                  <a:cubicBezTo>
                    <a:pt x="1598021" y="2388253"/>
                    <a:pt x="1596420" y="2384910"/>
                    <a:pt x="1588416" y="2373206"/>
                  </a:cubicBezTo>
                  <a:cubicBezTo>
                    <a:pt x="1585215" y="2363174"/>
                    <a:pt x="1586815" y="2349799"/>
                    <a:pt x="1583614" y="2339768"/>
                  </a:cubicBezTo>
                  <a:cubicBezTo>
                    <a:pt x="1580412" y="2329736"/>
                    <a:pt x="1575610" y="2326392"/>
                    <a:pt x="1566005" y="2314689"/>
                  </a:cubicBezTo>
                  <a:cubicBezTo>
                    <a:pt x="1556400" y="2304657"/>
                    <a:pt x="1535589" y="2277906"/>
                    <a:pt x="1522782" y="2269547"/>
                  </a:cubicBezTo>
                  <a:cubicBezTo>
                    <a:pt x="1509975" y="2261187"/>
                    <a:pt x="1497169" y="2267875"/>
                    <a:pt x="1492366" y="2264531"/>
                  </a:cubicBezTo>
                  <a:cubicBezTo>
                    <a:pt x="1487564" y="2261187"/>
                    <a:pt x="1497169" y="2252827"/>
                    <a:pt x="1492366" y="2249484"/>
                  </a:cubicBezTo>
                  <a:cubicBezTo>
                    <a:pt x="1487564" y="2246140"/>
                    <a:pt x="1469954" y="2242796"/>
                    <a:pt x="1465152" y="2244468"/>
                  </a:cubicBezTo>
                  <a:cubicBezTo>
                    <a:pt x="1461534" y="2245727"/>
                    <a:pt x="1461550" y="2252679"/>
                    <a:pt x="1459768" y="2256567"/>
                  </a:cubicBezTo>
                  <a:cubicBezTo>
                    <a:pt x="1457472" y="2256084"/>
                    <a:pt x="1452847" y="2256440"/>
                    <a:pt x="1444341" y="2257843"/>
                  </a:cubicBezTo>
                  <a:cubicBezTo>
                    <a:pt x="1429933" y="2257843"/>
                    <a:pt x="1388312" y="2262859"/>
                    <a:pt x="1367501" y="2264531"/>
                  </a:cubicBezTo>
                  <a:cubicBezTo>
                    <a:pt x="1346690" y="2266203"/>
                    <a:pt x="1332282" y="2269547"/>
                    <a:pt x="1319476" y="2272891"/>
                  </a:cubicBezTo>
                  <a:cubicBezTo>
                    <a:pt x="1306669" y="2276234"/>
                    <a:pt x="1300266" y="2279578"/>
                    <a:pt x="1290661" y="2284594"/>
                  </a:cubicBezTo>
                  <a:cubicBezTo>
                    <a:pt x="1281056" y="2289610"/>
                    <a:pt x="1277854" y="2302985"/>
                    <a:pt x="1263447" y="2308001"/>
                  </a:cubicBezTo>
                  <a:cubicBezTo>
                    <a:pt x="1249039" y="2313017"/>
                    <a:pt x="1217022" y="2306329"/>
                    <a:pt x="1207417" y="2309673"/>
                  </a:cubicBezTo>
                  <a:cubicBezTo>
                    <a:pt x="1194611" y="2313017"/>
                    <a:pt x="1213821" y="2319704"/>
                    <a:pt x="1201014" y="2324720"/>
                  </a:cubicBezTo>
                  <a:cubicBezTo>
                    <a:pt x="1194611" y="2326392"/>
                    <a:pt x="1175401" y="2328064"/>
                    <a:pt x="1175401" y="2328064"/>
                  </a:cubicBezTo>
                  <a:cubicBezTo>
                    <a:pt x="1165796" y="2333080"/>
                    <a:pt x="1160993" y="2341439"/>
                    <a:pt x="1146585" y="2349799"/>
                  </a:cubicBezTo>
                  <a:cubicBezTo>
                    <a:pt x="1136980" y="2354815"/>
                    <a:pt x="1127375" y="2351471"/>
                    <a:pt x="1117770" y="2354815"/>
                  </a:cubicBezTo>
                  <a:cubicBezTo>
                    <a:pt x="1108165" y="2358159"/>
                    <a:pt x="1093758" y="2364846"/>
                    <a:pt x="1084153" y="2369862"/>
                  </a:cubicBezTo>
                  <a:cubicBezTo>
                    <a:pt x="1071346" y="2371534"/>
                    <a:pt x="1068145" y="2384910"/>
                    <a:pt x="1055338" y="2383238"/>
                  </a:cubicBezTo>
                  <a:cubicBezTo>
                    <a:pt x="1047334" y="2383238"/>
                    <a:pt x="1039329" y="2376550"/>
                    <a:pt x="1031325" y="2373206"/>
                  </a:cubicBezTo>
                  <a:cubicBezTo>
                    <a:pt x="1023321" y="2369862"/>
                    <a:pt x="1018519" y="2366518"/>
                    <a:pt x="1008914" y="2364846"/>
                  </a:cubicBezTo>
                  <a:cubicBezTo>
                    <a:pt x="999309" y="2363174"/>
                    <a:pt x="988103" y="2361503"/>
                    <a:pt x="975296" y="2358159"/>
                  </a:cubicBezTo>
                  <a:cubicBezTo>
                    <a:pt x="962489" y="2354815"/>
                    <a:pt x="949683" y="2348127"/>
                    <a:pt x="927271" y="2348127"/>
                  </a:cubicBezTo>
                  <a:cubicBezTo>
                    <a:pt x="904859" y="2346455"/>
                    <a:pt x="882447" y="2346455"/>
                    <a:pt x="840826" y="2354815"/>
                  </a:cubicBezTo>
                  <a:cubicBezTo>
                    <a:pt x="816813" y="2358159"/>
                    <a:pt x="800805" y="2361503"/>
                    <a:pt x="786397" y="2364846"/>
                  </a:cubicBezTo>
                  <a:cubicBezTo>
                    <a:pt x="771990" y="2368190"/>
                    <a:pt x="768788" y="2373206"/>
                    <a:pt x="757582" y="2378222"/>
                  </a:cubicBezTo>
                  <a:cubicBezTo>
                    <a:pt x="746376" y="2383238"/>
                    <a:pt x="731969" y="2388253"/>
                    <a:pt x="719162" y="2393269"/>
                  </a:cubicBezTo>
                  <a:cubicBezTo>
                    <a:pt x="706356" y="2398285"/>
                    <a:pt x="688746" y="2408316"/>
                    <a:pt x="675940" y="2409988"/>
                  </a:cubicBezTo>
                  <a:cubicBezTo>
                    <a:pt x="661532" y="2409988"/>
                    <a:pt x="655129" y="2404973"/>
                    <a:pt x="643923" y="2399957"/>
                  </a:cubicBezTo>
                  <a:cubicBezTo>
                    <a:pt x="632717" y="2394941"/>
                    <a:pt x="623112" y="2389925"/>
                    <a:pt x="611906" y="2383238"/>
                  </a:cubicBezTo>
                  <a:cubicBezTo>
                    <a:pt x="599100" y="2374878"/>
                    <a:pt x="587894" y="2361503"/>
                    <a:pt x="573486" y="2356487"/>
                  </a:cubicBezTo>
                  <a:cubicBezTo>
                    <a:pt x="560679" y="2351471"/>
                    <a:pt x="543070" y="2339768"/>
                    <a:pt x="543070" y="2339768"/>
                  </a:cubicBezTo>
                  <a:cubicBezTo>
                    <a:pt x="531864" y="2331408"/>
                    <a:pt x="512654" y="2308001"/>
                    <a:pt x="499848" y="2299641"/>
                  </a:cubicBezTo>
                  <a:cubicBezTo>
                    <a:pt x="488642" y="2289610"/>
                    <a:pt x="480638" y="2284594"/>
                    <a:pt x="474234" y="2279578"/>
                  </a:cubicBezTo>
                  <a:cubicBezTo>
                    <a:pt x="467831" y="2274562"/>
                    <a:pt x="456625" y="2264531"/>
                    <a:pt x="456625" y="2264531"/>
                  </a:cubicBezTo>
                  <a:cubicBezTo>
                    <a:pt x="450222" y="2257843"/>
                    <a:pt x="434213" y="2249484"/>
                    <a:pt x="408600" y="2229420"/>
                  </a:cubicBezTo>
                  <a:cubicBezTo>
                    <a:pt x="392592" y="2219389"/>
                    <a:pt x="371781" y="2209357"/>
                    <a:pt x="360575" y="2202670"/>
                  </a:cubicBezTo>
                  <a:cubicBezTo>
                    <a:pt x="349369" y="2195982"/>
                    <a:pt x="346167" y="2192638"/>
                    <a:pt x="341365" y="2187622"/>
                  </a:cubicBezTo>
                  <a:cubicBezTo>
                    <a:pt x="336562" y="2182607"/>
                    <a:pt x="331760" y="2172575"/>
                    <a:pt x="326957" y="2169231"/>
                  </a:cubicBezTo>
                  <a:cubicBezTo>
                    <a:pt x="322155" y="2165887"/>
                    <a:pt x="309348" y="2172575"/>
                    <a:pt x="306147" y="2169231"/>
                  </a:cubicBezTo>
                  <a:cubicBezTo>
                    <a:pt x="302945" y="2165887"/>
                    <a:pt x="306147" y="2154184"/>
                    <a:pt x="304546" y="2149168"/>
                  </a:cubicBezTo>
                  <a:cubicBezTo>
                    <a:pt x="302945" y="2142480"/>
                    <a:pt x="298142" y="2154184"/>
                    <a:pt x="293340" y="2137465"/>
                  </a:cubicBezTo>
                  <a:cubicBezTo>
                    <a:pt x="290138" y="2130777"/>
                    <a:pt x="285336" y="2117401"/>
                    <a:pt x="283735" y="2109042"/>
                  </a:cubicBezTo>
                  <a:cubicBezTo>
                    <a:pt x="282134" y="2100682"/>
                    <a:pt x="286936" y="2093995"/>
                    <a:pt x="286936" y="2087307"/>
                  </a:cubicBezTo>
                  <a:cubicBezTo>
                    <a:pt x="286936" y="2080619"/>
                    <a:pt x="288537" y="2070588"/>
                    <a:pt x="286936" y="2063900"/>
                  </a:cubicBezTo>
                  <a:cubicBezTo>
                    <a:pt x="285336" y="2057212"/>
                    <a:pt x="277331" y="2052196"/>
                    <a:pt x="272529" y="2048853"/>
                  </a:cubicBezTo>
                  <a:cubicBezTo>
                    <a:pt x="269327" y="2043837"/>
                    <a:pt x="254920" y="2045509"/>
                    <a:pt x="253319" y="2038821"/>
                  </a:cubicBezTo>
                  <a:cubicBezTo>
                    <a:pt x="251718" y="2032133"/>
                    <a:pt x="261323" y="2015414"/>
                    <a:pt x="259722" y="2008726"/>
                  </a:cubicBezTo>
                  <a:cubicBezTo>
                    <a:pt x="253319" y="2007054"/>
                    <a:pt x="246916" y="2003711"/>
                    <a:pt x="240512" y="2002039"/>
                  </a:cubicBezTo>
                  <a:cubicBezTo>
                    <a:pt x="234109" y="1998695"/>
                    <a:pt x="238911" y="2002039"/>
                    <a:pt x="224504" y="1993679"/>
                  </a:cubicBezTo>
                  <a:cubicBezTo>
                    <a:pt x="216500" y="1986991"/>
                    <a:pt x="195689" y="1971944"/>
                    <a:pt x="187685" y="1963584"/>
                  </a:cubicBezTo>
                  <a:cubicBezTo>
                    <a:pt x="179680" y="1955225"/>
                    <a:pt x="182882" y="1945193"/>
                    <a:pt x="178080" y="1938506"/>
                  </a:cubicBezTo>
                  <a:cubicBezTo>
                    <a:pt x="173277" y="1931818"/>
                    <a:pt x="165273" y="1931818"/>
                    <a:pt x="162071" y="1928474"/>
                  </a:cubicBezTo>
                  <a:cubicBezTo>
                    <a:pt x="157269" y="1925130"/>
                    <a:pt x="170075" y="1923458"/>
                    <a:pt x="158870" y="1921786"/>
                  </a:cubicBezTo>
                  <a:cubicBezTo>
                    <a:pt x="154067" y="1918442"/>
                    <a:pt x="146063" y="1911755"/>
                    <a:pt x="134857" y="1911755"/>
                  </a:cubicBezTo>
                  <a:cubicBezTo>
                    <a:pt x="123651" y="1911755"/>
                    <a:pt x="99639" y="1921786"/>
                    <a:pt x="91634" y="1921786"/>
                  </a:cubicBezTo>
                  <a:cubicBezTo>
                    <a:pt x="83630" y="1921786"/>
                    <a:pt x="85231" y="1911755"/>
                    <a:pt x="82029" y="1906739"/>
                  </a:cubicBezTo>
                  <a:cubicBezTo>
                    <a:pt x="78828" y="1901723"/>
                    <a:pt x="72424" y="1890020"/>
                    <a:pt x="75626" y="1886676"/>
                  </a:cubicBezTo>
                  <a:cubicBezTo>
                    <a:pt x="78828" y="1883332"/>
                    <a:pt x="96437" y="1886676"/>
                    <a:pt x="104441" y="1886676"/>
                  </a:cubicBezTo>
                  <a:cubicBezTo>
                    <a:pt x="112445" y="1886676"/>
                    <a:pt x="118849" y="1883332"/>
                    <a:pt x="125252" y="1881660"/>
                  </a:cubicBezTo>
                  <a:cubicBezTo>
                    <a:pt x="131655" y="1879988"/>
                    <a:pt x="142861" y="1874972"/>
                    <a:pt x="144462" y="1871629"/>
                  </a:cubicBezTo>
                  <a:cubicBezTo>
                    <a:pt x="146063" y="1868285"/>
                    <a:pt x="139660" y="1863269"/>
                    <a:pt x="133256" y="1861597"/>
                  </a:cubicBezTo>
                  <a:cubicBezTo>
                    <a:pt x="126853" y="1859925"/>
                    <a:pt x="114046" y="1861597"/>
                    <a:pt x="106042" y="1861597"/>
                  </a:cubicBezTo>
                  <a:cubicBezTo>
                    <a:pt x="98038" y="1861597"/>
                    <a:pt x="94836" y="1859925"/>
                    <a:pt x="86832" y="1858253"/>
                  </a:cubicBezTo>
                  <a:cubicBezTo>
                    <a:pt x="78828" y="1856581"/>
                    <a:pt x="62819" y="1851565"/>
                    <a:pt x="61219" y="1848222"/>
                  </a:cubicBezTo>
                  <a:cubicBezTo>
                    <a:pt x="51613" y="1841534"/>
                    <a:pt x="78828" y="1843206"/>
                    <a:pt x="77227" y="1833174"/>
                  </a:cubicBezTo>
                  <a:cubicBezTo>
                    <a:pt x="75626" y="1829830"/>
                    <a:pt x="51613" y="1833174"/>
                    <a:pt x="46811" y="1828158"/>
                  </a:cubicBezTo>
                  <a:cubicBezTo>
                    <a:pt x="42008" y="1823143"/>
                    <a:pt x="46811" y="1813111"/>
                    <a:pt x="46811" y="1806423"/>
                  </a:cubicBezTo>
                  <a:cubicBezTo>
                    <a:pt x="46811" y="1799736"/>
                    <a:pt x="48412" y="1796392"/>
                    <a:pt x="48412" y="1788032"/>
                  </a:cubicBezTo>
                  <a:cubicBezTo>
                    <a:pt x="48412" y="1781345"/>
                    <a:pt x="48412" y="1769641"/>
                    <a:pt x="43609" y="1751250"/>
                  </a:cubicBezTo>
                  <a:cubicBezTo>
                    <a:pt x="43609" y="1739546"/>
                    <a:pt x="53214" y="1727843"/>
                    <a:pt x="51613" y="1717811"/>
                  </a:cubicBezTo>
                  <a:cubicBezTo>
                    <a:pt x="50013" y="1707780"/>
                    <a:pt x="37206" y="1696076"/>
                    <a:pt x="32403" y="1686045"/>
                  </a:cubicBezTo>
                  <a:cubicBezTo>
                    <a:pt x="27601" y="1674341"/>
                    <a:pt x="16395" y="1677685"/>
                    <a:pt x="19597" y="1657622"/>
                  </a:cubicBezTo>
                  <a:cubicBezTo>
                    <a:pt x="14794" y="1652606"/>
                    <a:pt x="-2815" y="1657622"/>
                    <a:pt x="387" y="1652606"/>
                  </a:cubicBezTo>
                  <a:cubicBezTo>
                    <a:pt x="3588" y="1647591"/>
                    <a:pt x="26000" y="1634215"/>
                    <a:pt x="37206" y="1620840"/>
                  </a:cubicBezTo>
                  <a:cubicBezTo>
                    <a:pt x="48412" y="1607464"/>
                    <a:pt x="58017" y="1587401"/>
                    <a:pt x="62819" y="1572354"/>
                  </a:cubicBezTo>
                  <a:cubicBezTo>
                    <a:pt x="67622" y="1557307"/>
                    <a:pt x="66021" y="1545603"/>
                    <a:pt x="67622" y="1530556"/>
                  </a:cubicBezTo>
                  <a:cubicBezTo>
                    <a:pt x="70824" y="1515508"/>
                    <a:pt x="77227" y="1493773"/>
                    <a:pt x="82029" y="1482070"/>
                  </a:cubicBezTo>
                  <a:cubicBezTo>
                    <a:pt x="83630" y="1467023"/>
                    <a:pt x="96437" y="1467023"/>
                    <a:pt x="99639" y="1456991"/>
                  </a:cubicBezTo>
                  <a:cubicBezTo>
                    <a:pt x="102840" y="1446959"/>
                    <a:pt x="99639" y="1436928"/>
                    <a:pt x="99639" y="1420209"/>
                  </a:cubicBezTo>
                  <a:cubicBezTo>
                    <a:pt x="99639" y="1405161"/>
                    <a:pt x="102840" y="1368379"/>
                    <a:pt x="101239" y="1356676"/>
                  </a:cubicBezTo>
                  <a:cubicBezTo>
                    <a:pt x="99639" y="1343300"/>
                    <a:pt x="93235" y="1346644"/>
                    <a:pt x="90034" y="1339956"/>
                  </a:cubicBezTo>
                  <a:cubicBezTo>
                    <a:pt x="86832" y="1329925"/>
                    <a:pt x="82029" y="1321565"/>
                    <a:pt x="80429" y="1309862"/>
                  </a:cubicBezTo>
                  <a:cubicBezTo>
                    <a:pt x="80429" y="1299830"/>
                    <a:pt x="83630" y="1286455"/>
                    <a:pt x="85231" y="1276423"/>
                  </a:cubicBezTo>
                  <a:cubicBezTo>
                    <a:pt x="83630" y="1264720"/>
                    <a:pt x="96437" y="1261376"/>
                    <a:pt x="90034" y="1244657"/>
                  </a:cubicBezTo>
                  <a:cubicBezTo>
                    <a:pt x="88433" y="1234625"/>
                    <a:pt x="82029" y="1226265"/>
                    <a:pt x="77227" y="1219578"/>
                  </a:cubicBezTo>
                  <a:cubicBezTo>
                    <a:pt x="72424" y="1212890"/>
                    <a:pt x="67622" y="1209546"/>
                    <a:pt x="61219" y="1206202"/>
                  </a:cubicBezTo>
                  <a:cubicBezTo>
                    <a:pt x="54815" y="1202858"/>
                    <a:pt x="40408" y="1206202"/>
                    <a:pt x="38807" y="1201186"/>
                  </a:cubicBezTo>
                  <a:cubicBezTo>
                    <a:pt x="37206" y="1196171"/>
                    <a:pt x="51613" y="1187811"/>
                    <a:pt x="53214" y="1179451"/>
                  </a:cubicBezTo>
                  <a:cubicBezTo>
                    <a:pt x="54815" y="1167748"/>
                    <a:pt x="43609" y="1162732"/>
                    <a:pt x="43609" y="1151029"/>
                  </a:cubicBezTo>
                  <a:cubicBezTo>
                    <a:pt x="43609" y="1144341"/>
                    <a:pt x="51613" y="1140997"/>
                    <a:pt x="53214" y="1134309"/>
                  </a:cubicBezTo>
                  <a:cubicBezTo>
                    <a:pt x="54815" y="1127622"/>
                    <a:pt x="50013" y="1112574"/>
                    <a:pt x="54815" y="1105887"/>
                  </a:cubicBezTo>
                  <a:cubicBezTo>
                    <a:pt x="61219" y="1095855"/>
                    <a:pt x="75626" y="1104215"/>
                    <a:pt x="82029" y="1099199"/>
                  </a:cubicBezTo>
                  <a:cubicBezTo>
                    <a:pt x="88433" y="1094183"/>
                    <a:pt x="90034" y="1089167"/>
                    <a:pt x="93235" y="1079136"/>
                  </a:cubicBezTo>
                  <a:cubicBezTo>
                    <a:pt x="94836" y="1067432"/>
                    <a:pt x="101239" y="1050713"/>
                    <a:pt x="104441" y="1035666"/>
                  </a:cubicBezTo>
                  <a:cubicBezTo>
                    <a:pt x="109244" y="1025634"/>
                    <a:pt x="115647" y="1025634"/>
                    <a:pt x="118849" y="1018947"/>
                  </a:cubicBezTo>
                  <a:cubicBezTo>
                    <a:pt x="122050" y="1012259"/>
                    <a:pt x="115647" y="1003899"/>
                    <a:pt x="120450" y="995540"/>
                  </a:cubicBezTo>
                  <a:cubicBezTo>
                    <a:pt x="131655" y="985508"/>
                    <a:pt x="150865" y="965445"/>
                    <a:pt x="150865" y="965445"/>
                  </a:cubicBezTo>
                  <a:cubicBezTo>
                    <a:pt x="158870" y="953741"/>
                    <a:pt x="165273" y="948726"/>
                    <a:pt x="173277" y="938694"/>
                  </a:cubicBezTo>
                  <a:cubicBezTo>
                    <a:pt x="181281" y="928663"/>
                    <a:pt x="197290" y="918631"/>
                    <a:pt x="202092" y="905256"/>
                  </a:cubicBezTo>
                  <a:cubicBezTo>
                    <a:pt x="208495" y="891880"/>
                    <a:pt x="192487" y="873489"/>
                    <a:pt x="205294" y="858442"/>
                  </a:cubicBezTo>
                  <a:cubicBezTo>
                    <a:pt x="208495" y="848410"/>
                    <a:pt x="219701" y="848410"/>
                    <a:pt x="224504" y="840051"/>
                  </a:cubicBezTo>
                  <a:cubicBezTo>
                    <a:pt x="229306" y="831691"/>
                    <a:pt x="227706" y="818315"/>
                    <a:pt x="235710" y="809956"/>
                  </a:cubicBezTo>
                  <a:cubicBezTo>
                    <a:pt x="243714" y="801596"/>
                    <a:pt x="259722" y="796580"/>
                    <a:pt x="269327" y="788221"/>
                  </a:cubicBezTo>
                  <a:cubicBezTo>
                    <a:pt x="277331" y="778189"/>
                    <a:pt x="293340" y="773174"/>
                    <a:pt x="298142" y="763142"/>
                  </a:cubicBezTo>
                  <a:cubicBezTo>
                    <a:pt x="304546" y="753110"/>
                    <a:pt x="302945" y="736391"/>
                    <a:pt x="306147" y="728032"/>
                  </a:cubicBezTo>
                  <a:cubicBezTo>
                    <a:pt x="317352" y="718000"/>
                    <a:pt x="307747" y="709640"/>
                    <a:pt x="322155" y="707968"/>
                  </a:cubicBezTo>
                  <a:cubicBezTo>
                    <a:pt x="328558" y="699609"/>
                    <a:pt x="320554" y="691249"/>
                    <a:pt x="339764" y="684561"/>
                  </a:cubicBezTo>
                  <a:cubicBezTo>
                    <a:pt x="349369" y="679546"/>
                    <a:pt x="366978" y="681218"/>
                    <a:pt x="379785" y="677874"/>
                  </a:cubicBezTo>
                  <a:cubicBezTo>
                    <a:pt x="392592" y="674530"/>
                    <a:pt x="410201" y="671186"/>
                    <a:pt x="421407" y="667842"/>
                  </a:cubicBezTo>
                  <a:cubicBezTo>
                    <a:pt x="437415" y="661155"/>
                    <a:pt x="431012" y="659483"/>
                    <a:pt x="447020" y="652795"/>
                  </a:cubicBezTo>
                  <a:cubicBezTo>
                    <a:pt x="456625" y="644435"/>
                    <a:pt x="464629" y="627716"/>
                    <a:pt x="475835" y="619356"/>
                  </a:cubicBezTo>
                  <a:cubicBezTo>
                    <a:pt x="487041" y="610997"/>
                    <a:pt x="501448" y="616013"/>
                    <a:pt x="512654" y="604309"/>
                  </a:cubicBezTo>
                  <a:cubicBezTo>
                    <a:pt x="528663" y="579230"/>
                    <a:pt x="531864" y="575886"/>
                    <a:pt x="547873" y="550807"/>
                  </a:cubicBezTo>
                  <a:cubicBezTo>
                    <a:pt x="554276" y="535760"/>
                    <a:pt x="557478" y="549136"/>
                    <a:pt x="562280" y="527400"/>
                  </a:cubicBezTo>
                  <a:cubicBezTo>
                    <a:pt x="565482" y="520713"/>
                    <a:pt x="567083" y="515697"/>
                    <a:pt x="567083" y="509009"/>
                  </a:cubicBezTo>
                  <a:cubicBezTo>
                    <a:pt x="567083" y="502322"/>
                    <a:pt x="559079" y="497306"/>
                    <a:pt x="557478" y="483930"/>
                  </a:cubicBezTo>
                  <a:cubicBezTo>
                    <a:pt x="555877" y="470555"/>
                    <a:pt x="554276" y="442132"/>
                    <a:pt x="557478" y="428757"/>
                  </a:cubicBezTo>
                  <a:cubicBezTo>
                    <a:pt x="560679" y="415381"/>
                    <a:pt x="570284" y="413710"/>
                    <a:pt x="576688" y="402006"/>
                  </a:cubicBezTo>
                  <a:cubicBezTo>
                    <a:pt x="595898" y="376927"/>
                    <a:pt x="584692" y="375255"/>
                    <a:pt x="592696" y="356864"/>
                  </a:cubicBezTo>
                  <a:cubicBezTo>
                    <a:pt x="600700" y="345161"/>
                    <a:pt x="611906" y="333457"/>
                    <a:pt x="623112" y="328441"/>
                  </a:cubicBezTo>
                  <a:cubicBezTo>
                    <a:pt x="634318" y="318410"/>
                    <a:pt x="650326" y="300019"/>
                    <a:pt x="663133" y="291659"/>
                  </a:cubicBezTo>
                  <a:cubicBezTo>
                    <a:pt x="675940" y="283299"/>
                    <a:pt x="690347" y="279956"/>
                    <a:pt x="704755" y="276612"/>
                  </a:cubicBezTo>
                  <a:cubicBezTo>
                    <a:pt x="715961" y="271596"/>
                    <a:pt x="720763" y="264908"/>
                    <a:pt x="733570" y="256549"/>
                  </a:cubicBezTo>
                  <a:cubicBezTo>
                    <a:pt x="755981" y="238157"/>
                    <a:pt x="755981" y="236485"/>
                    <a:pt x="783196" y="226454"/>
                  </a:cubicBezTo>
                  <a:cubicBezTo>
                    <a:pt x="792801" y="213079"/>
                    <a:pt x="792801" y="203047"/>
                    <a:pt x="796002" y="191343"/>
                  </a:cubicBezTo>
                  <a:cubicBezTo>
                    <a:pt x="799204" y="179640"/>
                    <a:pt x="799204" y="166265"/>
                    <a:pt x="804007" y="156233"/>
                  </a:cubicBezTo>
                  <a:cubicBezTo>
                    <a:pt x="805607" y="149545"/>
                    <a:pt x="816813" y="137842"/>
                    <a:pt x="821616" y="132826"/>
                  </a:cubicBezTo>
                  <a:cubicBezTo>
                    <a:pt x="826418" y="126138"/>
                    <a:pt x="828019" y="111091"/>
                    <a:pt x="834422" y="107747"/>
                  </a:cubicBezTo>
                  <a:cubicBezTo>
                    <a:pt x="840826" y="104403"/>
                    <a:pt x="853632" y="111091"/>
                    <a:pt x="858435" y="111091"/>
                  </a:cubicBezTo>
                  <a:cubicBezTo>
                    <a:pt x="866439" y="116107"/>
                    <a:pt x="880847" y="127810"/>
                    <a:pt x="888851" y="137842"/>
                  </a:cubicBezTo>
                  <a:cubicBezTo>
                    <a:pt x="896855" y="144530"/>
                    <a:pt x="898456" y="149545"/>
                    <a:pt x="906460" y="151217"/>
                  </a:cubicBezTo>
                  <a:cubicBezTo>
                    <a:pt x="919267" y="149545"/>
                    <a:pt x="924069" y="159577"/>
                    <a:pt x="935275" y="152889"/>
                  </a:cubicBezTo>
                  <a:cubicBezTo>
                    <a:pt x="941678" y="149545"/>
                    <a:pt x="948082" y="149545"/>
                    <a:pt x="954485" y="146201"/>
                  </a:cubicBezTo>
                  <a:cubicBezTo>
                    <a:pt x="960888" y="142858"/>
                    <a:pt x="964090" y="147873"/>
                    <a:pt x="970493" y="149545"/>
                  </a:cubicBezTo>
                  <a:cubicBezTo>
                    <a:pt x="978498" y="151217"/>
                    <a:pt x="991304" y="149545"/>
                    <a:pt x="999309" y="151217"/>
                  </a:cubicBezTo>
                  <a:cubicBezTo>
                    <a:pt x="1007313" y="149545"/>
                    <a:pt x="1015317" y="139514"/>
                    <a:pt x="1021720" y="141186"/>
                  </a:cubicBezTo>
                  <a:cubicBezTo>
                    <a:pt x="1029724" y="139514"/>
                    <a:pt x="1010514" y="159577"/>
                    <a:pt x="1037729" y="156233"/>
                  </a:cubicBezTo>
                  <a:cubicBezTo>
                    <a:pt x="1044132" y="159577"/>
                    <a:pt x="1050535" y="156233"/>
                    <a:pt x="1061741" y="157905"/>
                  </a:cubicBezTo>
                  <a:cubicBezTo>
                    <a:pt x="1072947" y="159577"/>
                    <a:pt x="1095359" y="164593"/>
                    <a:pt x="1103363" y="162921"/>
                  </a:cubicBezTo>
                  <a:cubicBezTo>
                    <a:pt x="1111367" y="161249"/>
                    <a:pt x="1108165" y="146201"/>
                    <a:pt x="1114569" y="142858"/>
                  </a:cubicBezTo>
                  <a:cubicBezTo>
                    <a:pt x="1120972" y="139514"/>
                    <a:pt x="1136980" y="146201"/>
                    <a:pt x="1141783" y="142858"/>
                  </a:cubicBezTo>
                  <a:cubicBezTo>
                    <a:pt x="1146585" y="139514"/>
                    <a:pt x="1141783" y="131154"/>
                    <a:pt x="1146585" y="126138"/>
                  </a:cubicBezTo>
                  <a:cubicBezTo>
                    <a:pt x="1151388" y="121123"/>
                    <a:pt x="1162594" y="114435"/>
                    <a:pt x="1170598" y="111091"/>
                  </a:cubicBezTo>
                  <a:cubicBezTo>
                    <a:pt x="1178602" y="107747"/>
                    <a:pt x="1186606" y="106075"/>
                    <a:pt x="1194611" y="106075"/>
                  </a:cubicBezTo>
                  <a:cubicBezTo>
                    <a:pt x="1202615" y="104403"/>
                    <a:pt x="1212220" y="109419"/>
                    <a:pt x="1220224" y="107747"/>
                  </a:cubicBezTo>
                  <a:cubicBezTo>
                    <a:pt x="1228228" y="104403"/>
                    <a:pt x="1236232" y="94372"/>
                    <a:pt x="1244236" y="87684"/>
                  </a:cubicBezTo>
                  <a:cubicBezTo>
                    <a:pt x="1250640" y="80996"/>
                    <a:pt x="1239434" y="77653"/>
                    <a:pt x="1268249" y="70965"/>
                  </a:cubicBezTo>
                  <a:cubicBezTo>
                    <a:pt x="1277854" y="65949"/>
                    <a:pt x="1287459" y="62605"/>
                    <a:pt x="1301867" y="60933"/>
                  </a:cubicBezTo>
                  <a:cubicBezTo>
                    <a:pt x="1316274" y="59261"/>
                    <a:pt x="1345089" y="59261"/>
                    <a:pt x="1357896" y="55917"/>
                  </a:cubicBezTo>
                  <a:cubicBezTo>
                    <a:pt x="1370703" y="52574"/>
                    <a:pt x="1372303" y="45886"/>
                    <a:pt x="1377106" y="45886"/>
                  </a:cubicBezTo>
                  <a:cubicBezTo>
                    <a:pt x="1381908" y="45886"/>
                    <a:pt x="1385110" y="52574"/>
                    <a:pt x="1391513" y="52574"/>
                  </a:cubicBezTo>
                  <a:cubicBezTo>
                    <a:pt x="1397917" y="52574"/>
                    <a:pt x="1409123" y="45886"/>
                    <a:pt x="1420328" y="42542"/>
                  </a:cubicBezTo>
                  <a:cubicBezTo>
                    <a:pt x="1431534" y="39198"/>
                    <a:pt x="1437938" y="35854"/>
                    <a:pt x="1460349" y="35854"/>
                  </a:cubicBezTo>
                  <a:cubicBezTo>
                    <a:pt x="1482761" y="32511"/>
                    <a:pt x="1538790" y="24151"/>
                    <a:pt x="1554799" y="25823"/>
                  </a:cubicBezTo>
                  <a:cubicBezTo>
                    <a:pt x="1570807" y="27495"/>
                    <a:pt x="1554799" y="39198"/>
                    <a:pt x="1559601" y="42542"/>
                  </a:cubicBezTo>
                  <a:cubicBezTo>
                    <a:pt x="1564404" y="44214"/>
                    <a:pt x="1564404" y="55917"/>
                    <a:pt x="1585215" y="50902"/>
                  </a:cubicBezTo>
                  <a:cubicBezTo>
                    <a:pt x="1591618" y="49230"/>
                    <a:pt x="1591618" y="37526"/>
                    <a:pt x="1598021" y="35854"/>
                  </a:cubicBezTo>
                  <a:cubicBezTo>
                    <a:pt x="1604425" y="34182"/>
                    <a:pt x="1617231" y="42542"/>
                    <a:pt x="1623635" y="40870"/>
                  </a:cubicBezTo>
                  <a:cubicBezTo>
                    <a:pt x="1630038" y="39198"/>
                    <a:pt x="1634840" y="24151"/>
                    <a:pt x="1641244" y="20807"/>
                  </a:cubicBezTo>
                  <a:cubicBezTo>
                    <a:pt x="1647647" y="17463"/>
                    <a:pt x="1655651" y="14119"/>
                    <a:pt x="1660454" y="15791"/>
                  </a:cubicBezTo>
                  <a:cubicBezTo>
                    <a:pt x="1665256" y="17463"/>
                    <a:pt x="1668458" y="25823"/>
                    <a:pt x="1674861" y="27495"/>
                  </a:cubicBezTo>
                  <a:cubicBezTo>
                    <a:pt x="1679664" y="31257"/>
                    <a:pt x="1677263" y="31257"/>
                    <a:pt x="1703676" y="27495"/>
                  </a:cubicBezTo>
                  <a:cubicBezTo>
                    <a:pt x="1710080" y="25823"/>
                    <a:pt x="1703676" y="14119"/>
                    <a:pt x="1710080" y="12447"/>
                  </a:cubicBezTo>
                  <a:cubicBezTo>
                    <a:pt x="1716483" y="10776"/>
                    <a:pt x="1737294" y="15791"/>
                    <a:pt x="1743697" y="17463"/>
                  </a:cubicBezTo>
                  <a:cubicBezTo>
                    <a:pt x="1750101" y="19135"/>
                    <a:pt x="1740496" y="25823"/>
                    <a:pt x="1751702" y="27495"/>
                  </a:cubicBezTo>
                  <a:cubicBezTo>
                    <a:pt x="1762907" y="29167"/>
                    <a:pt x="1801327" y="30839"/>
                    <a:pt x="1814134" y="27495"/>
                  </a:cubicBezTo>
                  <a:cubicBezTo>
                    <a:pt x="1826941" y="24151"/>
                    <a:pt x="1818937" y="15791"/>
                    <a:pt x="1825340" y="10776"/>
                  </a:cubicBezTo>
                  <a:cubicBezTo>
                    <a:pt x="1831743" y="5760"/>
                    <a:pt x="1841348" y="2416"/>
                    <a:pt x="1849353" y="744"/>
                  </a:cubicBezTo>
                  <a:close/>
                </a:path>
              </a:pathLst>
            </a:custGeom>
            <a:solidFill>
              <a:srgbClr val="8B971B"/>
            </a:solidFill>
            <a:ln w="9525" cap="flat" cmpd="sng">
              <a:noFill/>
              <a:prstDash val="solid"/>
              <a:round/>
              <a:headEnd type="none" w="med" len="med"/>
              <a:tailEnd type="none" w="med" len="med"/>
            </a:ln>
            <a:effectLst/>
          </p:spPr>
          <p:txBody>
            <a:bodyPr/>
            <a:lstStyle/>
            <a:p>
              <a:pPr marL="0" marR="0" lvl="0" indent="0" defTabSz="448045" eaLnBrk="1" fontAlgn="base" latinLnBrk="0" hangingPunct="1">
                <a:lnSpc>
                  <a:spcPct val="100000"/>
                </a:lnSpc>
                <a:spcBef>
                  <a:spcPct val="0"/>
                </a:spcBef>
                <a:spcAft>
                  <a:spcPct val="0"/>
                </a:spcAft>
                <a:buClrTx/>
                <a:buSzTx/>
                <a:buFontTx/>
                <a:buNone/>
                <a:tabLst/>
                <a:defRPr/>
              </a:pPr>
              <a:endParaRPr kumimoji="0" lang="en-CA" sz="1599" b="0" i="0" u="none" strike="noStrike" kern="0" cap="none" spc="0" normalizeH="0" baseline="0" noProof="0" dirty="0">
                <a:ln>
                  <a:noFill/>
                </a:ln>
                <a:solidFill>
                  <a:prstClr val="black"/>
                </a:solidFill>
                <a:effectLst/>
                <a:uLnTx/>
                <a:uFillTx/>
              </a:endParaRPr>
            </a:p>
          </p:txBody>
        </p:sp>
      </p:grpSp>
    </p:spTree>
    <p:extLst>
      <p:ext uri="{BB962C8B-B14F-4D97-AF65-F5344CB8AC3E}">
        <p14:creationId xmlns:p14="http://schemas.microsoft.com/office/powerpoint/2010/main" val="2551794264"/>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6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2"/>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3" name="Text Placeholder 5">
            <a:extLst>
              <a:ext uri="{FF2B5EF4-FFF2-40B4-BE49-F238E27FC236}">
                <a16:creationId xmlns:a16="http://schemas.microsoft.com/office/drawing/2014/main" id="{CDED3805-C18B-4FE2-ACC3-CA5054A499CD}"/>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87317208"/>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2"/>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13" name="Text Placeholder 5">
            <a:extLst>
              <a:ext uri="{FF2B5EF4-FFF2-40B4-BE49-F238E27FC236}">
                <a16:creationId xmlns:a16="http://schemas.microsoft.com/office/drawing/2014/main" id="{CDED3805-C18B-4FE2-ACC3-CA5054A499CD}"/>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60555818"/>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8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2"/>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13" name="Text Placeholder 5">
            <a:extLst>
              <a:ext uri="{FF2B5EF4-FFF2-40B4-BE49-F238E27FC236}">
                <a16:creationId xmlns:a16="http://schemas.microsoft.com/office/drawing/2014/main" id="{CDED3805-C18B-4FE2-ACC3-CA5054A499CD}"/>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17575965"/>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3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4877252"/>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4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72056452"/>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5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73622666"/>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9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32085" y="436158"/>
            <a:ext cx="1820292" cy="950068"/>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0" name="Slide Number Placeholder 5"/>
          <p:cNvSpPr>
            <a:spLocks noGrp="1"/>
          </p:cNvSpPr>
          <p:nvPr>
            <p:ph type="sldNum" sz="quarter" idx="4"/>
          </p:nvPr>
        </p:nvSpPr>
        <p:spPr>
          <a:xfrm>
            <a:off x="8559477" y="572788"/>
            <a:ext cx="247697" cy="113108"/>
          </a:xfrm>
          <a:prstGeom prst="rect">
            <a:avLst/>
          </a:prstGeom>
        </p:spPr>
        <p:txBody>
          <a:bodyPr vert="horz" lIns="0" tIns="0" rIns="0" bIns="0" rtlCol="0" anchor="ctr">
            <a:spAutoFit/>
          </a:bodyPr>
          <a:lstStyle>
            <a:lvl1pPr>
              <a:defRPr lang="en-GB" sz="735" b="0" smtClean="0">
                <a:solidFill>
                  <a:schemeClr val="tx1">
                    <a:lumMod val="75000"/>
                    <a:lumOff val="25000"/>
                  </a:schemeClr>
                </a:solidFill>
              </a:defRPr>
            </a:lvl1pPr>
          </a:lstStyle>
          <a:p>
            <a:pPr algn="ctr"/>
            <a:fld id="{CDD7DD23-A34B-405D-8F36-5709C0D1BF0C}" type="slidenum">
              <a:rPr lang="en-ZA" smtClean="0"/>
              <a:pPr algn="ctr"/>
              <a:t>‹#›</a:t>
            </a:fld>
            <a:endParaRPr lang="en-ZA" dirty="0"/>
          </a:p>
        </p:txBody>
      </p:sp>
      <p:cxnSp>
        <p:nvCxnSpPr>
          <p:cNvPr id="12" name="Straight Connector 11"/>
          <p:cNvCxnSpPr/>
          <p:nvPr userDrawn="1"/>
        </p:nvCxnSpPr>
        <p:spPr>
          <a:xfrm>
            <a:off x="8683325" y="773467"/>
            <a:ext cx="0" cy="41694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316" descr="Image result for african leaders malaria alliance logo"/>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9263"/>
          <a:stretch/>
        </p:blipFill>
        <p:spPr bwMode="auto">
          <a:xfrm>
            <a:off x="8306652" y="6286257"/>
            <a:ext cx="500522" cy="305947"/>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p:cNvSpPr>
            <a:spLocks noGrp="1"/>
          </p:cNvSpPr>
          <p:nvPr>
            <p:ph type="body" sz="quarter" idx="17" hasCustomPrompt="1"/>
          </p:nvPr>
        </p:nvSpPr>
        <p:spPr>
          <a:xfrm>
            <a:off x="224036" y="6392127"/>
            <a:ext cx="6911276" cy="114775"/>
          </a:xfrm>
        </p:spPr>
        <p:txBody>
          <a:bodyPr vert="horz" wrap="square" lIns="0" tIns="0" rIns="0" bIns="0" rtlCol="0" anchor="b">
            <a:spAutoFit/>
          </a:bodyPr>
          <a:lstStyle>
            <a:lvl1pPr marL="0" indent="0">
              <a:buNone/>
              <a:defRPr lang="en-US" sz="735" dirty="0" smtClean="0">
                <a:latin typeface="+mj-lt"/>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21" lvl="0" indent="-168021">
              <a:lnSpc>
                <a:spcPct val="110000"/>
              </a:lnSpc>
              <a:spcBef>
                <a:spcPts val="0"/>
              </a:spcBef>
              <a:spcAft>
                <a:spcPts val="221"/>
              </a:spcAft>
            </a:pPr>
            <a:r>
              <a:rPr lang="en-US" dirty="0"/>
              <a:t>SOURCE:</a:t>
            </a:r>
          </a:p>
        </p:txBody>
      </p:sp>
    </p:spTree>
    <p:extLst>
      <p:ext uri="{BB962C8B-B14F-4D97-AF65-F5344CB8AC3E}">
        <p14:creationId xmlns:p14="http://schemas.microsoft.com/office/powerpoint/2010/main" val="889097568"/>
      </p:ext>
    </p:extLst>
  </p:cSld>
  <p:clrMapOvr>
    <a:overrideClrMapping bg1="lt1" tx1="dk1" bg2="lt2" tx2="dk2" accent1="accent1" accent2="accent2" accent3="accent3" accent4="accent4" accent5="accent5" accent6="accent6" hlink="hlink" folHlink="folHlink"/>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3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23667810"/>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0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32085" y="436158"/>
            <a:ext cx="1820292" cy="950068"/>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0" name="Slide Number Placeholder 5"/>
          <p:cNvSpPr>
            <a:spLocks noGrp="1"/>
          </p:cNvSpPr>
          <p:nvPr>
            <p:ph type="sldNum" sz="quarter" idx="4"/>
          </p:nvPr>
        </p:nvSpPr>
        <p:spPr>
          <a:xfrm>
            <a:off x="8559477" y="572788"/>
            <a:ext cx="247697" cy="113108"/>
          </a:xfrm>
          <a:prstGeom prst="rect">
            <a:avLst/>
          </a:prstGeom>
        </p:spPr>
        <p:txBody>
          <a:bodyPr vert="horz" lIns="0" tIns="0" rIns="0" bIns="0" rtlCol="0" anchor="ctr">
            <a:spAutoFit/>
          </a:bodyPr>
          <a:lstStyle>
            <a:lvl1pPr>
              <a:defRPr lang="en-GB" sz="735" b="0" smtClean="0">
                <a:solidFill>
                  <a:schemeClr val="tx1">
                    <a:lumMod val="75000"/>
                    <a:lumOff val="25000"/>
                  </a:schemeClr>
                </a:solidFill>
              </a:defRPr>
            </a:lvl1pPr>
          </a:lstStyle>
          <a:p>
            <a:pPr algn="ctr"/>
            <a:fld id="{CDD7DD23-A34B-405D-8F36-5709C0D1BF0C}" type="slidenum">
              <a:rPr lang="en-ZA" smtClean="0"/>
              <a:pPr algn="ctr"/>
              <a:t>‹#›</a:t>
            </a:fld>
            <a:endParaRPr lang="en-ZA" dirty="0"/>
          </a:p>
        </p:txBody>
      </p:sp>
      <p:cxnSp>
        <p:nvCxnSpPr>
          <p:cNvPr id="12" name="Straight Connector 11"/>
          <p:cNvCxnSpPr/>
          <p:nvPr userDrawn="1"/>
        </p:nvCxnSpPr>
        <p:spPr>
          <a:xfrm>
            <a:off x="8683325" y="773467"/>
            <a:ext cx="0" cy="41694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316" descr="Image result for african leaders malaria alliance logo"/>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9263"/>
          <a:stretch/>
        </p:blipFill>
        <p:spPr bwMode="auto">
          <a:xfrm>
            <a:off x="8306652" y="6286257"/>
            <a:ext cx="500522" cy="305947"/>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p:cNvSpPr>
            <a:spLocks noGrp="1"/>
          </p:cNvSpPr>
          <p:nvPr>
            <p:ph type="body" sz="quarter" idx="17" hasCustomPrompt="1"/>
          </p:nvPr>
        </p:nvSpPr>
        <p:spPr>
          <a:xfrm>
            <a:off x="224036" y="6392127"/>
            <a:ext cx="6911276" cy="114775"/>
          </a:xfrm>
        </p:spPr>
        <p:txBody>
          <a:bodyPr vert="horz" wrap="square" lIns="0" tIns="0" rIns="0" bIns="0" rtlCol="0" anchor="b">
            <a:spAutoFit/>
          </a:bodyPr>
          <a:lstStyle>
            <a:lvl1pPr marL="0" indent="0">
              <a:buNone/>
              <a:defRPr lang="en-US" sz="735" dirty="0" smtClean="0">
                <a:latin typeface="+mj-lt"/>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21" lvl="0" indent="-168021">
              <a:lnSpc>
                <a:spcPct val="110000"/>
              </a:lnSpc>
              <a:spcBef>
                <a:spcPts val="0"/>
              </a:spcBef>
              <a:spcAft>
                <a:spcPts val="221"/>
              </a:spcAft>
            </a:pPr>
            <a:r>
              <a:rPr lang="en-US" dirty="0"/>
              <a:t>SOURCE:</a:t>
            </a:r>
          </a:p>
        </p:txBody>
      </p:sp>
    </p:spTree>
    <p:extLst>
      <p:ext uri="{BB962C8B-B14F-4D97-AF65-F5344CB8AC3E}">
        <p14:creationId xmlns:p14="http://schemas.microsoft.com/office/powerpoint/2010/main" val="3746752920"/>
      </p:ext>
    </p:extLst>
  </p:cSld>
  <p:clrMapOvr>
    <a:overrideClrMapping bg1="lt1" tx1="dk1" bg2="lt2" tx2="dk2" accent1="accent1" accent2="accent2" accent3="accent3" accent4="accent4" accent5="accent5" accent6="accent6" hlink="hlink" folHlink="folHlink"/>
  </p:clrMapOvr>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32085" y="436158"/>
            <a:ext cx="1820292" cy="950068"/>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0" name="Slide Number Placeholder 5"/>
          <p:cNvSpPr>
            <a:spLocks noGrp="1"/>
          </p:cNvSpPr>
          <p:nvPr>
            <p:ph type="sldNum" sz="quarter" idx="4"/>
          </p:nvPr>
        </p:nvSpPr>
        <p:spPr>
          <a:xfrm>
            <a:off x="8559477" y="572788"/>
            <a:ext cx="247697" cy="113108"/>
          </a:xfrm>
          <a:prstGeom prst="rect">
            <a:avLst/>
          </a:prstGeom>
        </p:spPr>
        <p:txBody>
          <a:bodyPr vert="horz" lIns="0" tIns="0" rIns="0" bIns="0" rtlCol="0" anchor="ctr">
            <a:spAutoFit/>
          </a:bodyPr>
          <a:lstStyle>
            <a:lvl1pPr>
              <a:defRPr lang="en-GB" sz="735" b="0" smtClean="0">
                <a:solidFill>
                  <a:schemeClr val="tx1">
                    <a:lumMod val="75000"/>
                    <a:lumOff val="25000"/>
                  </a:schemeClr>
                </a:solidFill>
              </a:defRPr>
            </a:lvl1pPr>
          </a:lstStyle>
          <a:p>
            <a:pPr algn="ctr"/>
            <a:fld id="{CDD7DD23-A34B-405D-8F36-5709C0D1BF0C}" type="slidenum">
              <a:rPr lang="en-ZA" smtClean="0"/>
              <a:pPr algn="ctr"/>
              <a:t>‹#›</a:t>
            </a:fld>
            <a:endParaRPr lang="en-ZA" dirty="0"/>
          </a:p>
        </p:txBody>
      </p:sp>
      <p:cxnSp>
        <p:nvCxnSpPr>
          <p:cNvPr id="12" name="Straight Connector 11"/>
          <p:cNvCxnSpPr/>
          <p:nvPr userDrawn="1"/>
        </p:nvCxnSpPr>
        <p:spPr>
          <a:xfrm>
            <a:off x="8683325" y="773467"/>
            <a:ext cx="0" cy="41694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316" descr="Image result for african leaders malaria alliance logo"/>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9263"/>
          <a:stretch/>
        </p:blipFill>
        <p:spPr bwMode="auto">
          <a:xfrm>
            <a:off x="8306652" y="6286257"/>
            <a:ext cx="500522" cy="305947"/>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p:cNvSpPr>
            <a:spLocks noGrp="1"/>
          </p:cNvSpPr>
          <p:nvPr>
            <p:ph type="body" sz="quarter" idx="17" hasCustomPrompt="1"/>
          </p:nvPr>
        </p:nvSpPr>
        <p:spPr>
          <a:xfrm>
            <a:off x="224036" y="6392127"/>
            <a:ext cx="6911276" cy="114775"/>
          </a:xfrm>
        </p:spPr>
        <p:txBody>
          <a:bodyPr vert="horz" wrap="square" lIns="0" tIns="0" rIns="0" bIns="0" rtlCol="0" anchor="b">
            <a:spAutoFit/>
          </a:bodyPr>
          <a:lstStyle>
            <a:lvl1pPr marL="0" indent="0">
              <a:buNone/>
              <a:defRPr lang="en-US" sz="735" dirty="0" smtClean="0">
                <a:latin typeface="+mj-lt"/>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21" lvl="0" indent="-168021">
              <a:lnSpc>
                <a:spcPct val="110000"/>
              </a:lnSpc>
              <a:spcBef>
                <a:spcPts val="0"/>
              </a:spcBef>
              <a:spcAft>
                <a:spcPts val="221"/>
              </a:spcAft>
            </a:pPr>
            <a:r>
              <a:rPr lang="en-US" dirty="0"/>
              <a:t>SOURCE:</a:t>
            </a:r>
          </a:p>
        </p:txBody>
      </p:sp>
    </p:spTree>
    <p:extLst>
      <p:ext uri="{BB962C8B-B14F-4D97-AF65-F5344CB8AC3E}">
        <p14:creationId xmlns:p14="http://schemas.microsoft.com/office/powerpoint/2010/main" val="538867957"/>
      </p:ext>
    </p:extLst>
  </p:cSld>
  <p:clrMapOvr>
    <a:overrideClrMapping bg1="lt1" tx1="dk1" bg2="lt2" tx2="dk2" accent1="accent1" accent2="accent2" accent3="accent3" accent4="accent4" accent5="accent5" accent6="accent6" hlink="hlink" folHlink="folHlink"/>
  </p:clrMapOvr>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2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32085" y="436158"/>
            <a:ext cx="1820292" cy="950068"/>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0" name="Slide Number Placeholder 5"/>
          <p:cNvSpPr>
            <a:spLocks noGrp="1"/>
          </p:cNvSpPr>
          <p:nvPr>
            <p:ph type="sldNum" sz="quarter" idx="4"/>
          </p:nvPr>
        </p:nvSpPr>
        <p:spPr>
          <a:xfrm>
            <a:off x="8559477" y="572788"/>
            <a:ext cx="247697" cy="113108"/>
          </a:xfrm>
          <a:prstGeom prst="rect">
            <a:avLst/>
          </a:prstGeom>
        </p:spPr>
        <p:txBody>
          <a:bodyPr vert="horz" lIns="0" tIns="0" rIns="0" bIns="0" rtlCol="0" anchor="ctr">
            <a:spAutoFit/>
          </a:bodyPr>
          <a:lstStyle>
            <a:lvl1pPr>
              <a:defRPr lang="en-GB" sz="735" b="0" smtClean="0">
                <a:solidFill>
                  <a:schemeClr val="tx1">
                    <a:lumMod val="75000"/>
                    <a:lumOff val="25000"/>
                  </a:schemeClr>
                </a:solidFill>
              </a:defRPr>
            </a:lvl1pPr>
          </a:lstStyle>
          <a:p>
            <a:pPr algn="ctr"/>
            <a:fld id="{CDD7DD23-A34B-405D-8F36-5709C0D1BF0C}" type="slidenum">
              <a:rPr lang="en-ZA" smtClean="0"/>
              <a:pPr algn="ctr"/>
              <a:t>‹#›</a:t>
            </a:fld>
            <a:endParaRPr lang="en-ZA" dirty="0"/>
          </a:p>
        </p:txBody>
      </p:sp>
      <p:cxnSp>
        <p:nvCxnSpPr>
          <p:cNvPr id="12" name="Straight Connector 11"/>
          <p:cNvCxnSpPr/>
          <p:nvPr userDrawn="1"/>
        </p:nvCxnSpPr>
        <p:spPr>
          <a:xfrm>
            <a:off x="8683325" y="773467"/>
            <a:ext cx="0" cy="41694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316" descr="Image result for african leaders malaria alliance logo"/>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9263"/>
          <a:stretch/>
        </p:blipFill>
        <p:spPr bwMode="auto">
          <a:xfrm>
            <a:off x="8306652" y="6286257"/>
            <a:ext cx="500522" cy="305947"/>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p:cNvSpPr>
            <a:spLocks noGrp="1"/>
          </p:cNvSpPr>
          <p:nvPr>
            <p:ph type="body" sz="quarter" idx="17" hasCustomPrompt="1"/>
          </p:nvPr>
        </p:nvSpPr>
        <p:spPr>
          <a:xfrm>
            <a:off x="224036" y="6392127"/>
            <a:ext cx="6911276" cy="114775"/>
          </a:xfrm>
        </p:spPr>
        <p:txBody>
          <a:bodyPr vert="horz" wrap="square" lIns="0" tIns="0" rIns="0" bIns="0" rtlCol="0" anchor="b">
            <a:spAutoFit/>
          </a:bodyPr>
          <a:lstStyle>
            <a:lvl1pPr marL="0" indent="0">
              <a:buNone/>
              <a:defRPr lang="en-US" sz="735" dirty="0" smtClean="0">
                <a:latin typeface="+mj-lt"/>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21" lvl="0" indent="-168021">
              <a:lnSpc>
                <a:spcPct val="110000"/>
              </a:lnSpc>
              <a:spcBef>
                <a:spcPts val="0"/>
              </a:spcBef>
              <a:spcAft>
                <a:spcPts val="221"/>
              </a:spcAft>
            </a:pPr>
            <a:r>
              <a:rPr lang="en-US" dirty="0"/>
              <a:t>SOURCE:</a:t>
            </a:r>
          </a:p>
        </p:txBody>
      </p:sp>
    </p:spTree>
    <p:extLst>
      <p:ext uri="{BB962C8B-B14F-4D97-AF65-F5344CB8AC3E}">
        <p14:creationId xmlns:p14="http://schemas.microsoft.com/office/powerpoint/2010/main" val="1315534510"/>
      </p:ext>
    </p:extLst>
  </p:cSld>
  <p:clrMapOvr>
    <a:overrideClrMapping bg1="lt1" tx1="dk1" bg2="lt2" tx2="dk2" accent1="accent1" accent2="accent2" accent3="accent3" accent4="accent4" accent5="accent5" accent6="accent6" hlink="hlink" folHlink="folHlink"/>
  </p:clrMapOvr>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3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32085" y="436158"/>
            <a:ext cx="1820292" cy="950068"/>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0" name="Slide Number Placeholder 5"/>
          <p:cNvSpPr>
            <a:spLocks noGrp="1"/>
          </p:cNvSpPr>
          <p:nvPr>
            <p:ph type="sldNum" sz="quarter" idx="4"/>
          </p:nvPr>
        </p:nvSpPr>
        <p:spPr>
          <a:xfrm>
            <a:off x="8559477" y="572788"/>
            <a:ext cx="247697" cy="113108"/>
          </a:xfrm>
          <a:prstGeom prst="rect">
            <a:avLst/>
          </a:prstGeom>
        </p:spPr>
        <p:txBody>
          <a:bodyPr vert="horz" lIns="0" tIns="0" rIns="0" bIns="0" rtlCol="0" anchor="ctr">
            <a:spAutoFit/>
          </a:bodyPr>
          <a:lstStyle>
            <a:lvl1pPr>
              <a:defRPr lang="en-GB" sz="735" b="0" smtClean="0">
                <a:solidFill>
                  <a:schemeClr val="tx1">
                    <a:lumMod val="75000"/>
                    <a:lumOff val="25000"/>
                  </a:schemeClr>
                </a:solidFill>
              </a:defRPr>
            </a:lvl1pPr>
          </a:lstStyle>
          <a:p>
            <a:pPr algn="ctr"/>
            <a:fld id="{CDD7DD23-A34B-405D-8F36-5709C0D1BF0C}" type="slidenum">
              <a:rPr lang="en-ZA" smtClean="0"/>
              <a:pPr algn="ctr"/>
              <a:t>‹#›</a:t>
            </a:fld>
            <a:endParaRPr lang="en-ZA" dirty="0"/>
          </a:p>
        </p:txBody>
      </p:sp>
      <p:cxnSp>
        <p:nvCxnSpPr>
          <p:cNvPr id="12" name="Straight Connector 11"/>
          <p:cNvCxnSpPr/>
          <p:nvPr userDrawn="1"/>
        </p:nvCxnSpPr>
        <p:spPr>
          <a:xfrm>
            <a:off x="8683325" y="773467"/>
            <a:ext cx="0" cy="41694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316" descr="Image result for african leaders malaria alliance logo"/>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9263"/>
          <a:stretch/>
        </p:blipFill>
        <p:spPr bwMode="auto">
          <a:xfrm>
            <a:off x="8306652" y="6286257"/>
            <a:ext cx="500522" cy="305947"/>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p:cNvSpPr>
            <a:spLocks noGrp="1"/>
          </p:cNvSpPr>
          <p:nvPr>
            <p:ph type="body" sz="quarter" idx="17" hasCustomPrompt="1"/>
          </p:nvPr>
        </p:nvSpPr>
        <p:spPr>
          <a:xfrm>
            <a:off x="224036" y="6392127"/>
            <a:ext cx="6911276" cy="114775"/>
          </a:xfrm>
        </p:spPr>
        <p:txBody>
          <a:bodyPr vert="horz" wrap="square" lIns="0" tIns="0" rIns="0" bIns="0" rtlCol="0" anchor="b">
            <a:spAutoFit/>
          </a:bodyPr>
          <a:lstStyle>
            <a:lvl1pPr marL="0" indent="0">
              <a:buNone/>
              <a:defRPr lang="en-US" sz="735" dirty="0" smtClean="0">
                <a:latin typeface="+mj-lt"/>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21" lvl="0" indent="-168021">
              <a:lnSpc>
                <a:spcPct val="110000"/>
              </a:lnSpc>
              <a:spcBef>
                <a:spcPts val="0"/>
              </a:spcBef>
              <a:spcAft>
                <a:spcPts val="221"/>
              </a:spcAft>
            </a:pPr>
            <a:r>
              <a:rPr lang="en-US" dirty="0"/>
              <a:t>SOURCE:</a:t>
            </a:r>
          </a:p>
        </p:txBody>
      </p:sp>
    </p:spTree>
    <p:extLst>
      <p:ext uri="{BB962C8B-B14F-4D97-AF65-F5344CB8AC3E}">
        <p14:creationId xmlns:p14="http://schemas.microsoft.com/office/powerpoint/2010/main" val="633289683"/>
      </p:ext>
    </p:extLst>
  </p:cSld>
  <p:clrMapOvr>
    <a:overrideClrMapping bg1="lt1" tx1="dk1" bg2="lt2" tx2="dk2" accent1="accent1" accent2="accent2" accent3="accent3" accent4="accent4" accent5="accent5" accent6="accent6" hlink="hlink" folHlink="folHlink"/>
  </p:clrMapOvr>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4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361959"/>
          </a:xfrm>
        </p:spPr>
        <p:txBody>
          <a:bodyPr wrap="square" lIns="0" tIns="0" rIns="0" bIns="0" anchor="t">
            <a:spAutoFit/>
          </a:bodyPr>
          <a:lstStyle>
            <a:lvl1pPr>
              <a:defRPr sz="2352"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7"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92"/>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92"/>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92"/>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92"/>
          </a:p>
        </p:txBody>
      </p:sp>
      <p:sp>
        <p:nvSpPr>
          <p:cNvPr id="16" name="Text Placeholder 6"/>
          <p:cNvSpPr>
            <a:spLocks noGrp="1"/>
          </p:cNvSpPr>
          <p:nvPr userDrawn="1">
            <p:ph type="body" sz="quarter" idx="17" hasCustomPrompt="1"/>
          </p:nvPr>
        </p:nvSpPr>
        <p:spPr>
          <a:xfrm>
            <a:off x="154262" y="6449574"/>
            <a:ext cx="6911276" cy="86049"/>
          </a:xfrm>
        </p:spPr>
        <p:txBody>
          <a:bodyPr vert="horz" wrap="square" lIns="0" tIns="0" rIns="0" bIns="0" rtlCol="0" anchor="b">
            <a:spAutoFit/>
          </a:bodyPr>
          <a:lstStyle>
            <a:lvl1pPr marL="0" indent="0">
              <a:buNone/>
              <a:defRPr lang="en-US" sz="551" dirty="0" smtClean="0">
                <a:latin typeface="Arial" panose="020B0604020202020204" pitchFamily="34" charset="0"/>
                <a:cs typeface="Arial" panose="020B0604020202020204" pitchFamily="34" charset="0"/>
              </a:defRPr>
            </a:lvl1pPr>
            <a:lvl2pPr>
              <a:defRPr lang="en-US" sz="772" dirty="0" smtClean="0">
                <a:latin typeface="+mj-lt"/>
              </a:defRPr>
            </a:lvl2pPr>
            <a:lvl3pPr>
              <a:defRPr lang="en-US" sz="772" dirty="0" smtClean="0">
                <a:latin typeface="+mj-lt"/>
              </a:defRPr>
            </a:lvl3pPr>
            <a:lvl4pPr>
              <a:defRPr lang="en-US" sz="772" dirty="0" smtClean="0">
                <a:latin typeface="+mj-lt"/>
              </a:defRPr>
            </a:lvl4pPr>
            <a:lvl5pPr>
              <a:defRPr lang="en-GB" sz="772" dirty="0">
                <a:latin typeface="+mj-lt"/>
              </a:defRPr>
            </a:lvl5pPr>
          </a:lstStyle>
          <a:p>
            <a:pPr marL="126013" lvl="0" indent="-126013">
              <a:lnSpc>
                <a:spcPct val="110000"/>
              </a:lnSpc>
              <a:spcBef>
                <a:spcPts val="0"/>
              </a:spcBef>
              <a:spcAft>
                <a:spcPts val="165"/>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5" y="6241772"/>
            <a:ext cx="529006" cy="293851"/>
          </a:xfrm>
          <a:prstGeom prst="rect">
            <a:avLst/>
          </a:prstGeom>
        </p:spPr>
      </p:pic>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053045"/>
          </a:xfrm>
        </p:spPr>
        <p:txBody>
          <a:bodyPr wrap="square" lIns="0" tIns="0" rIns="0" bIns="0">
            <a:spAutoFit/>
          </a:bodyPr>
          <a:lstStyle>
            <a:lvl1pPr marL="0" indent="0">
              <a:lnSpc>
                <a:spcPct val="110000"/>
              </a:lnSpc>
              <a:spcBef>
                <a:spcPts val="0"/>
              </a:spcBef>
              <a:spcAft>
                <a:spcPts val="165"/>
              </a:spcAft>
              <a:buNone/>
              <a:defRPr sz="1470">
                <a:latin typeface="Arial" panose="020B0604020202020204" pitchFamily="34" charset="0"/>
                <a:cs typeface="Arial" panose="020B0604020202020204" pitchFamily="34" charset="0"/>
              </a:defRPr>
            </a:lvl1pPr>
            <a:lvl2pPr marL="126013" indent="-126013">
              <a:lnSpc>
                <a:spcPct val="110000"/>
              </a:lnSpc>
              <a:spcBef>
                <a:spcPts val="0"/>
              </a:spcBef>
              <a:spcAft>
                <a:spcPts val="165"/>
              </a:spcAft>
              <a:defRPr sz="1470">
                <a:latin typeface="Arial" panose="020B0604020202020204" pitchFamily="34" charset="0"/>
                <a:cs typeface="Arial" panose="020B0604020202020204" pitchFamily="34" charset="0"/>
              </a:defRPr>
            </a:lvl2pPr>
            <a:lvl3pPr marL="252026" indent="-126013">
              <a:lnSpc>
                <a:spcPct val="110000"/>
              </a:lnSpc>
              <a:spcBef>
                <a:spcPts val="0"/>
              </a:spcBef>
              <a:spcAft>
                <a:spcPts val="165"/>
              </a:spcAft>
              <a:defRPr sz="1470">
                <a:latin typeface="Arial" panose="020B0604020202020204" pitchFamily="34" charset="0"/>
                <a:cs typeface="Arial" panose="020B0604020202020204" pitchFamily="34" charset="0"/>
              </a:defRPr>
            </a:lvl3pPr>
            <a:lvl4pPr marL="378038" indent="-126013">
              <a:lnSpc>
                <a:spcPct val="110000"/>
              </a:lnSpc>
              <a:spcBef>
                <a:spcPts val="0"/>
              </a:spcBef>
              <a:spcAft>
                <a:spcPts val="165"/>
              </a:spcAft>
              <a:defRPr sz="1470">
                <a:latin typeface="Arial" panose="020B0604020202020204" pitchFamily="34" charset="0"/>
                <a:cs typeface="Arial" panose="020B0604020202020204" pitchFamily="34" charset="0"/>
              </a:defRPr>
            </a:lvl4pPr>
            <a:lvl5pPr>
              <a:defRPr sz="772">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93294972"/>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4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23698751"/>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5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72571548"/>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6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0732302"/>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vmlDrawing" Target="../drawings/vmlDrawing1.vml"/><Relationship Id="rId35" Type="http://schemas.openxmlformats.org/officeDocument/2006/relationships/image" Target="../media/image3.png"/><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3" Type="http://schemas.openxmlformats.org/officeDocument/2006/relationships/slideLayout" Target="../slideLayouts/slideLayout31.xml"/><Relationship Id="rId21" Type="http://schemas.openxmlformats.org/officeDocument/2006/relationships/tags" Target="../tags/tag15.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vmlDrawing" Target="../drawings/vmlDrawing4.v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image" Target="../media/image8.png"/><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image" Target="../media/image1.emf"/><Relationship Id="rId10" Type="http://schemas.openxmlformats.org/officeDocument/2006/relationships/slideLayout" Target="../slideLayouts/slideLayout38.xml"/><Relationship Id="rId19" Type="http://schemas.openxmlformats.org/officeDocument/2006/relationships/theme" Target="../theme/theme2.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oleObject" Target="../embeddings/oleObject4.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3" Type="http://schemas.openxmlformats.org/officeDocument/2006/relationships/slideLayout" Target="../slideLayouts/slideLayout49.xml"/><Relationship Id="rId21" Type="http://schemas.openxmlformats.org/officeDocument/2006/relationships/tags" Target="../tags/tag34.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vmlDrawing" Target="../drawings/vmlDrawing8.v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image" Target="../media/image8.png"/><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image" Target="../media/image1.emf"/><Relationship Id="rId10" Type="http://schemas.openxmlformats.org/officeDocument/2006/relationships/slideLayout" Target="../slideLayouts/slideLayout56.xml"/><Relationship Id="rId19" Type="http://schemas.openxmlformats.org/officeDocument/2006/relationships/theme" Target="../theme/theme3.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1"/>
            </p:custDataLst>
            <p:extLst>
              <p:ext uri="{D42A27DB-BD31-4B8C-83A1-F6EECF244321}">
                <p14:modId xmlns:p14="http://schemas.microsoft.com/office/powerpoint/2010/main" val="425410950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5" name="think-cell Slide" r:id="rId32" imgW="360" imgH="360" progId="">
                  <p:embed/>
                </p:oleObj>
              </mc:Choice>
              <mc:Fallback>
                <p:oleObj name="think-cell Slide" r:id="rId32" imgW="360" imgH="360" progId="">
                  <p:embed/>
                  <p:pic>
                    <p:nvPicPr>
                      <p:cNvPr id="2" name="Object 1" hidden="1"/>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3" name="doc id"/>
          <p:cNvSpPr>
            <a:spLocks noChangeArrowheads="1"/>
          </p:cNvSpPr>
          <p:nvPr/>
        </p:nvSpPr>
        <p:spPr bwMode="auto">
          <a:xfrm>
            <a:off x="80819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dirty="0">
              <a:solidFill>
                <a:srgbClr val="000000"/>
              </a:solidFill>
              <a:latin typeface="Arial"/>
            </a:endParaRPr>
          </a:p>
        </p:txBody>
      </p:sp>
      <p:sp>
        <p:nvSpPr>
          <p:cNvPr id="19" name="Title Placeholder 2"/>
          <p:cNvSpPr>
            <a:spLocks noGrp="1" noChangeArrowheads="1"/>
          </p:cNvSpPr>
          <p:nvPr>
            <p:ph type="title"/>
          </p:nvPr>
        </p:nvSpPr>
        <p:spPr bwMode="auto">
          <a:xfrm>
            <a:off x="119063" y="230188"/>
            <a:ext cx="665406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
        <p:nvSpPr>
          <p:cNvPr id="10" name="1. On-page tracker" hidden="1"/>
          <p:cNvSpPr>
            <a:spLocks noChangeArrowheads="1"/>
          </p:cNvSpPr>
          <p:nvPr userDrawn="1"/>
        </p:nvSpPr>
        <p:spPr bwMode="auto">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rPr>
              <a:t>TRACKER</a:t>
            </a:r>
          </a:p>
        </p:txBody>
      </p:sp>
      <p:sp>
        <p:nvSpPr>
          <p:cNvPr id="11" name="3. Unit of measure" hidden="1"/>
          <p:cNvSpPr txBox="1">
            <a:spLocks noChangeArrowheads="1"/>
          </p:cNvSpPr>
          <p:nvPr userDrawn="1"/>
        </p:nvSpPr>
        <p:spPr bwMode="auto">
          <a:xfrm>
            <a:off x="119062" y="531813"/>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Arial"/>
              </a:rPr>
              <a:t>Unit of measure</a:t>
            </a:r>
          </a:p>
        </p:txBody>
      </p:sp>
      <p:grpSp>
        <p:nvGrpSpPr>
          <p:cNvPr id="12" name="Slide Elements" hidden="1"/>
          <p:cNvGrpSpPr>
            <a:grpSpLocks/>
          </p:cNvGrpSpPr>
          <p:nvPr userDrawn="1"/>
        </p:nvGrpSpPr>
        <p:grpSpPr bwMode="auto">
          <a:xfrm>
            <a:off x="119063" y="6080125"/>
            <a:ext cx="8548687" cy="508000"/>
            <a:chOff x="75" y="3830"/>
            <a:chExt cx="5385" cy="320"/>
          </a:xfrm>
        </p:grpSpPr>
        <p:sp>
          <p:nvSpPr>
            <p:cNvPr id="13" name="4. Footnote"/>
            <p:cNvSpPr txBox="1">
              <a:spLocks noChangeArrowheads="1"/>
            </p:cNvSpPr>
            <p:nvPr/>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a:solidFill>
                    <a:prstClr val="black"/>
                  </a:solidFill>
                  <a:latin typeface="Arial"/>
                </a:rPr>
                <a:t>1 Footnote</a:t>
              </a:r>
            </a:p>
          </p:txBody>
        </p:sp>
        <p:sp>
          <p:nvSpPr>
            <p:cNvPr id="14" name="5. Source"/>
            <p:cNvSpPr>
              <a:spLocks noChangeArrowheads="1"/>
            </p:cNvSpPr>
            <p:nvPr/>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a:tabLst>
                  <a:tab pos="612775" algn="l"/>
                </a:tabLst>
              </a:pPr>
              <a:r>
                <a:rPr lang="en-US" sz="1000" dirty="0">
                  <a:solidFill>
                    <a:prstClr val="black"/>
                  </a:solidFill>
                  <a:latin typeface="Arial"/>
                </a:rPr>
                <a:t>SOURCE: Source</a:t>
              </a:r>
            </a:p>
          </p:txBody>
        </p:sp>
      </p:grpSp>
      <p:grpSp>
        <p:nvGrpSpPr>
          <p:cNvPr id="15" name="ACET" hidden="1"/>
          <p:cNvGrpSpPr>
            <a:grpSpLocks/>
          </p:cNvGrpSpPr>
          <p:nvPr userDrawn="1"/>
        </p:nvGrpSpPr>
        <p:grpSpPr bwMode="auto">
          <a:xfrm>
            <a:off x="1452563" y="1127125"/>
            <a:ext cx="42640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dirty="0">
                  <a:solidFill>
                    <a:prstClr val="black"/>
                  </a:solidFill>
                  <a:latin typeface="Arial"/>
                </a:rPr>
                <a:t>Title</a:t>
              </a:r>
            </a:p>
            <a:p>
              <a:r>
                <a:rPr lang="en-US" dirty="0">
                  <a:solidFill>
                    <a:srgbClr val="808080"/>
                  </a:solidFill>
                  <a:latin typeface="Arial"/>
                </a:rPr>
                <a:t>Unit of measure</a:t>
              </a:r>
            </a:p>
          </p:txBody>
        </p:sp>
      </p:grpSp>
      <p:sp>
        <p:nvSpPr>
          <p:cNvPr id="3" name="Text Placeholder 2"/>
          <p:cNvSpPr>
            <a:spLocks noGrp="1"/>
          </p:cNvSpPr>
          <p:nvPr>
            <p:ph type="body" idx="1"/>
          </p:nvPr>
        </p:nvSpPr>
        <p:spPr>
          <a:xfrm>
            <a:off x="1452564" y="1951380"/>
            <a:ext cx="4302125" cy="1231106"/>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lideBottomBar"/>
          <p:cNvSpPr>
            <a:spLocks noChangeArrowheads="1"/>
          </p:cNvSpPr>
          <p:nvPr userDrawn="1"/>
        </p:nvSpPr>
        <p:spPr bwMode="auto">
          <a:xfrm>
            <a:off x="0" y="5886718"/>
            <a:ext cx="8961438" cy="422275"/>
          </a:xfrm>
          <a:prstGeom prst="rect">
            <a:avLst/>
          </a:prstGeom>
          <a:solidFill>
            <a:schemeClr val="bg1"/>
          </a:solidFill>
          <a:ln>
            <a:noFill/>
          </a:ln>
          <a:effectLst/>
        </p:spPr>
        <p:txBody>
          <a:bodyPr wrap="none" anchor="ctr"/>
          <a:lstStyle/>
          <a:p>
            <a:endParaRPr lang="en-US" dirty="0">
              <a:solidFill>
                <a:prstClr val="black"/>
              </a:solidFill>
              <a:latin typeface="Arial"/>
            </a:endParaRPr>
          </a:p>
        </p:txBody>
      </p:sp>
      <p:sp>
        <p:nvSpPr>
          <p:cNvPr id="20" name="Slide Number"/>
          <p:cNvSpPr txBox="1">
            <a:spLocks/>
          </p:cNvSpPr>
          <p:nvPr userDrawn="1"/>
        </p:nvSpPr>
        <p:spPr>
          <a:xfrm>
            <a:off x="8620402" y="6434981"/>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a:fld id="{9DFEBC09-D879-48E7-AEAD-5FE66CDB4CF0}" type="slidenum">
              <a:rPr lang="en-US" smtClean="0">
                <a:solidFill>
                  <a:srgbClr val="39302A"/>
                </a:solidFill>
              </a:rPr>
              <a:pPr algn="ctr"/>
              <a:t>‹#›</a:t>
            </a:fld>
            <a:endParaRPr lang="en-US" dirty="0">
              <a:solidFill>
                <a:srgbClr val="39302A"/>
              </a:solidFill>
            </a:endParaRPr>
          </a:p>
        </p:txBody>
      </p:sp>
      <p:sp>
        <p:nvSpPr>
          <p:cNvPr id="21" name="Rectangle 20">
            <a:extLst>
              <a:ext uri="{FF2B5EF4-FFF2-40B4-BE49-F238E27FC236}">
                <a16:creationId xmlns:a16="http://schemas.microsoft.com/office/drawing/2014/main" id="{81F679AC-63CD-457C-8400-D8365605ECBF}"/>
              </a:ext>
            </a:extLst>
          </p:cNvPr>
          <p:cNvSpPr/>
          <p:nvPr userDrawn="1"/>
        </p:nvSpPr>
        <p:spPr>
          <a:xfrm>
            <a:off x="0" y="6390504"/>
            <a:ext cx="8961438" cy="340398"/>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pic>
        <p:nvPicPr>
          <p:cNvPr id="4" name="Picture 3">
            <a:extLst>
              <a:ext uri="{FF2B5EF4-FFF2-40B4-BE49-F238E27FC236}">
                <a16:creationId xmlns:a16="http://schemas.microsoft.com/office/drawing/2014/main" id="{16BA359A-6CDD-439D-B7B0-952285DFDE66}"/>
              </a:ext>
            </a:extLst>
          </p:cNvPr>
          <p:cNvPicPr>
            <a:picLocks noChangeAspect="1"/>
          </p:cNvPicPr>
          <p:nvPr userDrawn="1"/>
        </p:nvPicPr>
        <p:blipFill>
          <a:blip r:embed="rId34"/>
          <a:stretch>
            <a:fillRect/>
          </a:stretch>
        </p:blipFill>
        <p:spPr>
          <a:xfrm>
            <a:off x="4057195" y="6395593"/>
            <a:ext cx="506012" cy="335309"/>
          </a:xfrm>
          <a:prstGeom prst="rect">
            <a:avLst/>
          </a:prstGeom>
        </p:spPr>
      </p:pic>
      <p:pic>
        <p:nvPicPr>
          <p:cNvPr id="5" name="Picture 4">
            <a:extLst>
              <a:ext uri="{FF2B5EF4-FFF2-40B4-BE49-F238E27FC236}">
                <a16:creationId xmlns:a16="http://schemas.microsoft.com/office/drawing/2014/main" id="{E581DE28-8C8E-405F-AB81-9D6E52F0E1A3}"/>
              </a:ext>
            </a:extLst>
          </p:cNvPr>
          <p:cNvPicPr>
            <a:picLocks noChangeAspect="1"/>
          </p:cNvPicPr>
          <p:nvPr userDrawn="1"/>
        </p:nvPicPr>
        <p:blipFill>
          <a:blip r:embed="rId35"/>
          <a:stretch>
            <a:fillRect/>
          </a:stretch>
        </p:blipFill>
        <p:spPr>
          <a:xfrm>
            <a:off x="8301843" y="59362"/>
            <a:ext cx="627942" cy="634039"/>
          </a:xfrm>
          <a:prstGeom prst="rect">
            <a:avLst/>
          </a:prstGeom>
        </p:spPr>
      </p:pic>
    </p:spTree>
    <p:extLst>
      <p:ext uri="{BB962C8B-B14F-4D97-AF65-F5344CB8AC3E}">
        <p14:creationId xmlns:p14="http://schemas.microsoft.com/office/powerpoint/2010/main" val="2976269819"/>
      </p:ext>
    </p:extLst>
  </p:cSld>
  <p:clrMap bg1="lt1" tx1="dk1" bg2="lt2" tx2="dk2" accent1="accent1" accent2="accent2" accent3="accent3" accent4="accent4" accent5="accent5" accent6="accent6" hlink="hlink" folHlink="folHlink"/>
  <p:sldLayoutIdLst>
    <p:sldLayoutId id="2147483686" r:id="rId1"/>
    <p:sldLayoutId id="2147483688" r:id="rId2"/>
    <p:sldLayoutId id="2147483689" r:id="rId3"/>
    <p:sldLayoutId id="2147483690" r:id="rId4"/>
    <p:sldLayoutId id="2147483694" r:id="rId5"/>
    <p:sldLayoutId id="2147483754" r:id="rId6"/>
    <p:sldLayoutId id="2147483755" r:id="rId7"/>
    <p:sldLayoutId id="2147483756" r:id="rId8"/>
    <p:sldLayoutId id="2147483757" r:id="rId9"/>
    <p:sldLayoutId id="2147483760" r:id="rId10"/>
    <p:sldLayoutId id="2147483761" r:id="rId11"/>
    <p:sldLayoutId id="2147483762" r:id="rId12"/>
    <p:sldLayoutId id="2147483763" r:id="rId13"/>
    <p:sldLayoutId id="2147483764" r:id="rId14"/>
    <p:sldLayoutId id="2147483765" r:id="rId15"/>
    <p:sldLayoutId id="2147483769" r:id="rId16"/>
    <p:sldLayoutId id="2147483770" r:id="rId17"/>
    <p:sldLayoutId id="2147483772" r:id="rId18"/>
    <p:sldLayoutId id="2147483777" r:id="rId19"/>
    <p:sldLayoutId id="2147483778" r:id="rId20"/>
    <p:sldLayoutId id="2147483780" r:id="rId21"/>
    <p:sldLayoutId id="2147483781" r:id="rId22"/>
    <p:sldLayoutId id="2147483802" r:id="rId23"/>
    <p:sldLayoutId id="2147483803" r:id="rId24"/>
    <p:sldLayoutId id="2147483804" r:id="rId25"/>
    <p:sldLayoutId id="2147483805" r:id="rId26"/>
    <p:sldLayoutId id="2147483806" r:id="rId27"/>
    <p:sldLayoutId id="2147483807" r:id="rId28"/>
  </p:sldLayoutIdLst>
  <p:hf hdr="0" ftr="0" dt="0"/>
  <p:txStyles>
    <p:title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1"/>
            </p:custDataLst>
            <p:extLst>
              <p:ext uri="{D42A27DB-BD31-4B8C-83A1-F6EECF244321}">
                <p14:modId xmlns:p14="http://schemas.microsoft.com/office/powerpoint/2010/main" val="85359527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97" name="think-cell Slide" r:id="rId22" imgW="360" imgH="360" progId="">
                  <p:embed/>
                </p:oleObj>
              </mc:Choice>
              <mc:Fallback>
                <p:oleObj name="think-cell Slide" r:id="rId22" imgW="360" imgH="360" progId="">
                  <p:embed/>
                  <p:pic>
                    <p:nvPicPr>
                      <p:cNvPr id="2" name="Object 1"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3" name="doc id"/>
          <p:cNvSpPr>
            <a:spLocks noChangeArrowheads="1"/>
          </p:cNvSpPr>
          <p:nvPr/>
        </p:nvSpPr>
        <p:spPr bwMode="auto">
          <a:xfrm>
            <a:off x="80819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dirty="0">
              <a:solidFill>
                <a:srgbClr val="000000"/>
              </a:solidFill>
              <a:latin typeface="Arial"/>
            </a:endParaRPr>
          </a:p>
        </p:txBody>
      </p:sp>
      <p:sp>
        <p:nvSpPr>
          <p:cNvPr id="19" name="Title Placeholder 2"/>
          <p:cNvSpPr>
            <a:spLocks noGrp="1" noChangeArrowheads="1"/>
          </p:cNvSpPr>
          <p:nvPr>
            <p:ph type="title"/>
          </p:nvPr>
        </p:nvSpPr>
        <p:spPr bwMode="auto">
          <a:xfrm>
            <a:off x="119063" y="230188"/>
            <a:ext cx="665406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
        <p:nvSpPr>
          <p:cNvPr id="10" name="1. On-page tracker" hidden="1"/>
          <p:cNvSpPr>
            <a:spLocks noChangeArrowheads="1"/>
          </p:cNvSpPr>
          <p:nvPr userDrawn="1"/>
        </p:nvSpPr>
        <p:spPr bwMode="auto">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rPr>
              <a:t>TRACKER</a:t>
            </a:r>
          </a:p>
        </p:txBody>
      </p:sp>
      <p:sp>
        <p:nvSpPr>
          <p:cNvPr id="11" name="3. Unit of measure" hidden="1"/>
          <p:cNvSpPr txBox="1">
            <a:spLocks noChangeArrowheads="1"/>
          </p:cNvSpPr>
          <p:nvPr userDrawn="1"/>
        </p:nvSpPr>
        <p:spPr bwMode="auto">
          <a:xfrm>
            <a:off x="119062" y="531813"/>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Arial"/>
              </a:rPr>
              <a:t>Unit of measure</a:t>
            </a:r>
          </a:p>
        </p:txBody>
      </p:sp>
      <p:grpSp>
        <p:nvGrpSpPr>
          <p:cNvPr id="12" name="Slide Elements" hidden="1"/>
          <p:cNvGrpSpPr>
            <a:grpSpLocks/>
          </p:cNvGrpSpPr>
          <p:nvPr userDrawn="1"/>
        </p:nvGrpSpPr>
        <p:grpSpPr bwMode="auto">
          <a:xfrm>
            <a:off x="119063" y="6080125"/>
            <a:ext cx="8548687" cy="508000"/>
            <a:chOff x="75" y="3830"/>
            <a:chExt cx="5385" cy="320"/>
          </a:xfrm>
        </p:grpSpPr>
        <p:sp>
          <p:nvSpPr>
            <p:cNvPr id="13" name="4. Footnote"/>
            <p:cNvSpPr txBox="1">
              <a:spLocks noChangeArrowheads="1"/>
            </p:cNvSpPr>
            <p:nvPr/>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a:solidFill>
                    <a:prstClr val="black"/>
                  </a:solidFill>
                  <a:latin typeface="Arial"/>
                </a:rPr>
                <a:t>1 Footnote</a:t>
              </a:r>
            </a:p>
          </p:txBody>
        </p:sp>
        <p:sp>
          <p:nvSpPr>
            <p:cNvPr id="14" name="5. Source"/>
            <p:cNvSpPr>
              <a:spLocks noChangeArrowheads="1"/>
            </p:cNvSpPr>
            <p:nvPr/>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a:tabLst>
                  <a:tab pos="612775" algn="l"/>
                </a:tabLst>
              </a:pPr>
              <a:r>
                <a:rPr lang="en-US" sz="1000" dirty="0">
                  <a:solidFill>
                    <a:prstClr val="black"/>
                  </a:solidFill>
                  <a:latin typeface="Arial"/>
                </a:rPr>
                <a:t>SOURCE: Source</a:t>
              </a:r>
            </a:p>
          </p:txBody>
        </p:sp>
      </p:grpSp>
      <p:grpSp>
        <p:nvGrpSpPr>
          <p:cNvPr id="15" name="ACET" hidden="1"/>
          <p:cNvGrpSpPr>
            <a:grpSpLocks/>
          </p:cNvGrpSpPr>
          <p:nvPr userDrawn="1"/>
        </p:nvGrpSpPr>
        <p:grpSpPr bwMode="auto">
          <a:xfrm>
            <a:off x="1452563" y="1127125"/>
            <a:ext cx="42640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dirty="0">
                  <a:solidFill>
                    <a:prstClr val="black"/>
                  </a:solidFill>
                  <a:latin typeface="Arial"/>
                </a:rPr>
                <a:t>Title</a:t>
              </a:r>
            </a:p>
            <a:p>
              <a:r>
                <a:rPr lang="en-US" dirty="0">
                  <a:solidFill>
                    <a:srgbClr val="808080"/>
                  </a:solidFill>
                  <a:latin typeface="Arial"/>
                </a:rPr>
                <a:t>Unit of measure</a:t>
              </a:r>
            </a:p>
          </p:txBody>
        </p:sp>
      </p:grpSp>
      <p:sp>
        <p:nvSpPr>
          <p:cNvPr id="3" name="Text Placeholder 2"/>
          <p:cNvSpPr>
            <a:spLocks noGrp="1"/>
          </p:cNvSpPr>
          <p:nvPr>
            <p:ph type="body" idx="1"/>
          </p:nvPr>
        </p:nvSpPr>
        <p:spPr>
          <a:xfrm>
            <a:off x="1452564" y="1951380"/>
            <a:ext cx="4302125" cy="1231106"/>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2" name="Picture 11" descr="http://www.alma2015.org/sites/all/themes/alma/images/header-logo.png"/>
          <p:cNvPicPr>
            <a:picLocks noChangeAspect="1" noChangeArrowheads="1"/>
          </p:cNvPicPr>
          <p:nvPr userDrawn="1"/>
        </p:nvPicPr>
        <p:blipFill rotWithShape="1">
          <a:blip r:embed="rId24" cstate="screen">
            <a:extLst>
              <a:ext uri="{28A0092B-C50C-407E-A947-70E740481C1C}">
                <a14:useLocalDpi xmlns:a14="http://schemas.microsoft.com/office/drawing/2010/main"/>
              </a:ext>
            </a:extLst>
          </a:blip>
          <a:srcRect/>
          <a:stretch/>
        </p:blipFill>
        <p:spPr bwMode="auto">
          <a:xfrm>
            <a:off x="8249815" y="228939"/>
            <a:ext cx="617153" cy="2948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5306701"/>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Lst>
  <p:hf hdr="0" ftr="0" dt="0"/>
  <p:txStyles>
    <p:title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1"/>
            </p:custDataLst>
            <p:extLst>
              <p:ext uri="{D42A27DB-BD31-4B8C-83A1-F6EECF244321}">
                <p14:modId xmlns:p14="http://schemas.microsoft.com/office/powerpoint/2010/main" val="105650414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93" name="think-cell Slide" r:id="rId22" imgW="360" imgH="360" progId="">
                  <p:embed/>
                </p:oleObj>
              </mc:Choice>
              <mc:Fallback>
                <p:oleObj name="think-cell Slide" r:id="rId22" imgW="360" imgH="360" progId="">
                  <p:embed/>
                  <p:pic>
                    <p:nvPicPr>
                      <p:cNvPr id="2" name="Object 1"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3" name="doc id"/>
          <p:cNvSpPr>
            <a:spLocks noChangeArrowheads="1"/>
          </p:cNvSpPr>
          <p:nvPr/>
        </p:nvSpPr>
        <p:spPr bwMode="auto">
          <a:xfrm>
            <a:off x="80819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dirty="0">
              <a:solidFill>
                <a:srgbClr val="000000"/>
              </a:solidFill>
              <a:latin typeface="Arial"/>
            </a:endParaRPr>
          </a:p>
        </p:txBody>
      </p:sp>
      <p:sp>
        <p:nvSpPr>
          <p:cNvPr id="19" name="Title Placeholder 2"/>
          <p:cNvSpPr>
            <a:spLocks noGrp="1" noChangeArrowheads="1"/>
          </p:cNvSpPr>
          <p:nvPr>
            <p:ph type="title"/>
          </p:nvPr>
        </p:nvSpPr>
        <p:spPr bwMode="auto">
          <a:xfrm>
            <a:off x="119063" y="230188"/>
            <a:ext cx="665406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
        <p:nvSpPr>
          <p:cNvPr id="10" name="1. On-page tracker" hidden="1"/>
          <p:cNvSpPr>
            <a:spLocks noChangeArrowheads="1"/>
          </p:cNvSpPr>
          <p:nvPr userDrawn="1"/>
        </p:nvSpPr>
        <p:spPr bwMode="auto">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rPr>
              <a:t>TRACKER</a:t>
            </a:r>
          </a:p>
        </p:txBody>
      </p:sp>
      <p:sp>
        <p:nvSpPr>
          <p:cNvPr id="11" name="3. Unit of measure" hidden="1"/>
          <p:cNvSpPr txBox="1">
            <a:spLocks noChangeArrowheads="1"/>
          </p:cNvSpPr>
          <p:nvPr userDrawn="1"/>
        </p:nvSpPr>
        <p:spPr bwMode="auto">
          <a:xfrm>
            <a:off x="119062" y="531813"/>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Arial"/>
              </a:rPr>
              <a:t>Unit of measure</a:t>
            </a:r>
          </a:p>
        </p:txBody>
      </p:sp>
      <p:grpSp>
        <p:nvGrpSpPr>
          <p:cNvPr id="12" name="Slide Elements" hidden="1"/>
          <p:cNvGrpSpPr>
            <a:grpSpLocks/>
          </p:cNvGrpSpPr>
          <p:nvPr userDrawn="1"/>
        </p:nvGrpSpPr>
        <p:grpSpPr bwMode="auto">
          <a:xfrm>
            <a:off x="119063" y="6080125"/>
            <a:ext cx="8548687" cy="508000"/>
            <a:chOff x="75" y="3830"/>
            <a:chExt cx="5385" cy="320"/>
          </a:xfrm>
        </p:grpSpPr>
        <p:sp>
          <p:nvSpPr>
            <p:cNvPr id="13" name="4. Footnote"/>
            <p:cNvSpPr txBox="1">
              <a:spLocks noChangeArrowheads="1"/>
            </p:cNvSpPr>
            <p:nvPr/>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a:solidFill>
                    <a:prstClr val="black"/>
                  </a:solidFill>
                  <a:latin typeface="Arial"/>
                </a:rPr>
                <a:t>1 Footnote</a:t>
              </a:r>
            </a:p>
          </p:txBody>
        </p:sp>
        <p:sp>
          <p:nvSpPr>
            <p:cNvPr id="14" name="5. Source"/>
            <p:cNvSpPr>
              <a:spLocks noChangeArrowheads="1"/>
            </p:cNvSpPr>
            <p:nvPr/>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a:tabLst>
                  <a:tab pos="612775" algn="l"/>
                </a:tabLst>
              </a:pPr>
              <a:r>
                <a:rPr lang="en-US" sz="1000" dirty="0">
                  <a:solidFill>
                    <a:prstClr val="black"/>
                  </a:solidFill>
                  <a:latin typeface="Arial"/>
                </a:rPr>
                <a:t>SOURCE: Source</a:t>
              </a:r>
            </a:p>
          </p:txBody>
        </p:sp>
      </p:grpSp>
      <p:grpSp>
        <p:nvGrpSpPr>
          <p:cNvPr id="15" name="ACET" hidden="1"/>
          <p:cNvGrpSpPr>
            <a:grpSpLocks/>
          </p:cNvGrpSpPr>
          <p:nvPr userDrawn="1"/>
        </p:nvGrpSpPr>
        <p:grpSpPr bwMode="auto">
          <a:xfrm>
            <a:off x="1452563" y="1127125"/>
            <a:ext cx="42640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dirty="0">
                  <a:solidFill>
                    <a:prstClr val="black"/>
                  </a:solidFill>
                  <a:latin typeface="Arial"/>
                </a:rPr>
                <a:t>Title</a:t>
              </a:r>
            </a:p>
            <a:p>
              <a:r>
                <a:rPr lang="en-US" dirty="0">
                  <a:solidFill>
                    <a:srgbClr val="808080"/>
                  </a:solidFill>
                  <a:latin typeface="Arial"/>
                </a:rPr>
                <a:t>Unit of measure</a:t>
              </a:r>
            </a:p>
          </p:txBody>
        </p:sp>
      </p:grpSp>
      <p:sp>
        <p:nvSpPr>
          <p:cNvPr id="3" name="Text Placeholder 2"/>
          <p:cNvSpPr>
            <a:spLocks noGrp="1"/>
          </p:cNvSpPr>
          <p:nvPr>
            <p:ph type="body" idx="1"/>
          </p:nvPr>
        </p:nvSpPr>
        <p:spPr>
          <a:xfrm>
            <a:off x="1452564" y="1951380"/>
            <a:ext cx="4302125" cy="1231106"/>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2" name="Picture 11" descr="http://www.alma2015.org/sites/all/themes/alma/images/header-logo.png"/>
          <p:cNvPicPr>
            <a:picLocks noChangeAspect="1" noChangeArrowheads="1"/>
          </p:cNvPicPr>
          <p:nvPr userDrawn="1"/>
        </p:nvPicPr>
        <p:blipFill rotWithShape="1">
          <a:blip r:embed="rId24" cstate="screen">
            <a:extLst>
              <a:ext uri="{28A0092B-C50C-407E-A947-70E740481C1C}">
                <a14:useLocalDpi xmlns:a14="http://schemas.microsoft.com/office/drawing/2010/main"/>
              </a:ext>
            </a:extLst>
          </a:blip>
          <a:srcRect/>
          <a:stretch/>
        </p:blipFill>
        <p:spPr bwMode="auto">
          <a:xfrm>
            <a:off x="8249815" y="228939"/>
            <a:ext cx="617153" cy="2948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811253"/>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 id="2147483732" r:id="rId17"/>
    <p:sldLayoutId id="2147483733" r:id="rId18"/>
  </p:sldLayoutIdLst>
  <p:hf hdr="0" ftr="0" dt="0"/>
  <p:txStyles>
    <p:title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9.xml"/><Relationship Id="rId5" Type="http://schemas.openxmlformats.org/officeDocument/2006/relationships/image" Target="../media/image16.gif"/><Relationship Id="rId4" Type="http://schemas.openxmlformats.org/officeDocument/2006/relationships/image" Target="../media/image15.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5.xml"/><Relationship Id="rId1" Type="http://schemas.openxmlformats.org/officeDocument/2006/relationships/tags" Target="../tags/tag5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xml"/><Relationship Id="rId1" Type="http://schemas.openxmlformats.org/officeDocument/2006/relationships/video" Target="https://www.youtube.com/embed/peHCq80jBYQ?feature=oembed" TargetMode="External"/><Relationship Id="rId5" Type="http://schemas.openxmlformats.org/officeDocument/2006/relationships/hyperlink" Target="https://www.dropbox.com/home/Technical%20team%20general%20folders/Knowledge%20Hub/ALMA%20courses%20-%20French/A%20-%20Video%20lessons?preview=03+-+Vue+d%E2%80%99ensemble+de+la+plate-forme+web+de+la+carte+de+score.mp4" TargetMode="External"/><Relationship Id="rId4" Type="http://schemas.openxmlformats.org/officeDocument/2006/relationships/image" Target="../media/image21.jpeg"/></Relationships>
</file>

<file path=ppt/slides/_rels/slide14.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3.xml"/><Relationship Id="rId7" Type="http://schemas.openxmlformats.org/officeDocument/2006/relationships/image" Target="../media/image23.png"/><Relationship Id="rId12" Type="http://schemas.openxmlformats.org/officeDocument/2006/relationships/image" Target="../media/image28.png"/><Relationship Id="rId2" Type="http://schemas.openxmlformats.org/officeDocument/2006/relationships/tags" Target="../tags/tag56.xml"/><Relationship Id="rId1" Type="http://schemas.openxmlformats.org/officeDocument/2006/relationships/vmlDrawing" Target="../drawings/vmlDrawing13.vml"/><Relationship Id="rId6" Type="http://schemas.openxmlformats.org/officeDocument/2006/relationships/image" Target="../media/image22.png"/><Relationship Id="rId11" Type="http://schemas.openxmlformats.org/officeDocument/2006/relationships/image" Target="../media/image27.png"/><Relationship Id="rId5" Type="http://schemas.openxmlformats.org/officeDocument/2006/relationships/image" Target="../media/image19.emf"/><Relationship Id="rId10" Type="http://schemas.openxmlformats.org/officeDocument/2006/relationships/image" Target="../media/image26.png"/><Relationship Id="rId4" Type="http://schemas.openxmlformats.org/officeDocument/2006/relationships/oleObject" Target="../embeddings/oleObject9.bin"/><Relationship Id="rId9" Type="http://schemas.openxmlformats.org/officeDocument/2006/relationships/image" Target="../media/image25.png"/></Relationships>
</file>

<file path=ppt/slides/_rels/slide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hyperlink" Target="http://www.malariascorecard.org/" TargetMode="Externa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xml"/><Relationship Id="rId1" Type="http://schemas.openxmlformats.org/officeDocument/2006/relationships/video" Target="https://www.youtube.com/embed/LaxmYJ_dCI4?feature=oembed" TargetMode="External"/><Relationship Id="rId5" Type="http://schemas.openxmlformats.org/officeDocument/2006/relationships/hyperlink" Target="https://www.dropbox.com/home/Technical%20team%20general%20folders/Knowledge%20Hub/ALMA%20courses%20-%20French/A%20-%20Video%20lessons?preview=06+-+Comment+analyser+une+carte+de+score.mp4" TargetMode="External"/><Relationship Id="rId4" Type="http://schemas.openxmlformats.org/officeDocument/2006/relationships/image" Target="../media/image29.jpeg"/></Relationships>
</file>

<file path=ppt/slides/_rels/slide18.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png"/><Relationship Id="rId3" Type="http://schemas.openxmlformats.org/officeDocument/2006/relationships/tags" Target="../tags/tag59.xml"/><Relationship Id="rId7" Type="http://schemas.openxmlformats.org/officeDocument/2006/relationships/notesSlide" Target="../notesSlides/notesSlide9.xml"/><Relationship Id="rId12" Type="http://schemas.openxmlformats.org/officeDocument/2006/relationships/image" Target="../media/image34.png"/><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slideLayout" Target="../slideLayouts/slideLayout4.xml"/><Relationship Id="rId11" Type="http://schemas.openxmlformats.org/officeDocument/2006/relationships/image" Target="../media/image33.png"/><Relationship Id="rId5" Type="http://schemas.openxmlformats.org/officeDocument/2006/relationships/tags" Target="../tags/tag61.xml"/><Relationship Id="rId10" Type="http://schemas.openxmlformats.org/officeDocument/2006/relationships/image" Target="../media/image32.jpeg"/><Relationship Id="rId4" Type="http://schemas.openxmlformats.org/officeDocument/2006/relationships/tags" Target="../tags/tag60.xml"/><Relationship Id="rId9" Type="http://schemas.openxmlformats.org/officeDocument/2006/relationships/image" Target="../media/image31.jpeg"/></Relationships>
</file>

<file path=ppt/slides/_rels/slide19.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tags" Target="../tags/tag73.xml"/><Relationship Id="rId18" Type="http://schemas.openxmlformats.org/officeDocument/2006/relationships/tags" Target="../tags/tag78.xml"/><Relationship Id="rId3" Type="http://schemas.openxmlformats.org/officeDocument/2006/relationships/tags" Target="../tags/tag63.xml"/><Relationship Id="rId21" Type="http://schemas.openxmlformats.org/officeDocument/2006/relationships/slideLayout" Target="../slideLayouts/slideLayout3.xml"/><Relationship Id="rId7" Type="http://schemas.openxmlformats.org/officeDocument/2006/relationships/tags" Target="../tags/tag67.xml"/><Relationship Id="rId12" Type="http://schemas.openxmlformats.org/officeDocument/2006/relationships/tags" Target="../tags/tag72.xml"/><Relationship Id="rId17" Type="http://schemas.openxmlformats.org/officeDocument/2006/relationships/tags" Target="../tags/tag77.xml"/><Relationship Id="rId2" Type="http://schemas.openxmlformats.org/officeDocument/2006/relationships/tags" Target="../tags/tag62.xml"/><Relationship Id="rId16" Type="http://schemas.openxmlformats.org/officeDocument/2006/relationships/tags" Target="../tags/tag76.xml"/><Relationship Id="rId20" Type="http://schemas.openxmlformats.org/officeDocument/2006/relationships/tags" Target="../tags/tag80.xml"/><Relationship Id="rId1" Type="http://schemas.openxmlformats.org/officeDocument/2006/relationships/vmlDrawing" Target="../drawings/vmlDrawing14.vml"/><Relationship Id="rId6" Type="http://schemas.openxmlformats.org/officeDocument/2006/relationships/tags" Target="../tags/tag66.xml"/><Relationship Id="rId11" Type="http://schemas.openxmlformats.org/officeDocument/2006/relationships/tags" Target="../tags/tag71.xml"/><Relationship Id="rId5" Type="http://schemas.openxmlformats.org/officeDocument/2006/relationships/tags" Target="../tags/tag65.xml"/><Relationship Id="rId15" Type="http://schemas.openxmlformats.org/officeDocument/2006/relationships/tags" Target="../tags/tag75.xml"/><Relationship Id="rId23" Type="http://schemas.openxmlformats.org/officeDocument/2006/relationships/image" Target="../media/image36.emf"/><Relationship Id="rId10" Type="http://schemas.openxmlformats.org/officeDocument/2006/relationships/tags" Target="../tags/tag70.xml"/><Relationship Id="rId19" Type="http://schemas.openxmlformats.org/officeDocument/2006/relationships/tags" Target="../tags/tag79.xml"/><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tags" Target="../tags/tag74.xml"/><Relationship Id="rId22" Type="http://schemas.openxmlformats.org/officeDocument/2006/relationships/oleObject" Target="../embeddings/oleObject10.bin"/></Relationships>
</file>

<file path=ppt/slides/_rels/slide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38.png"/></Relationships>
</file>

<file path=ppt/slides/_rels/slide21.xml.rels><?xml version="1.0" encoding="UTF-8" standalone="yes"?>
<Relationships xmlns="http://schemas.openxmlformats.org/package/2006/relationships"><Relationship Id="rId13" Type="http://schemas.openxmlformats.org/officeDocument/2006/relationships/tags" Target="../tags/tag93.xml"/><Relationship Id="rId18" Type="http://schemas.openxmlformats.org/officeDocument/2006/relationships/tags" Target="../tags/tag98.xml"/><Relationship Id="rId26" Type="http://schemas.openxmlformats.org/officeDocument/2006/relationships/tags" Target="../tags/tag106.xml"/><Relationship Id="rId39" Type="http://schemas.openxmlformats.org/officeDocument/2006/relationships/tags" Target="../tags/tag119.xml"/><Relationship Id="rId21" Type="http://schemas.openxmlformats.org/officeDocument/2006/relationships/tags" Target="../tags/tag101.xml"/><Relationship Id="rId34" Type="http://schemas.openxmlformats.org/officeDocument/2006/relationships/tags" Target="../tags/tag114.xml"/><Relationship Id="rId42" Type="http://schemas.openxmlformats.org/officeDocument/2006/relationships/tags" Target="../tags/tag122.xml"/><Relationship Id="rId47" Type="http://schemas.openxmlformats.org/officeDocument/2006/relationships/image" Target="../media/image40.png"/><Relationship Id="rId7" Type="http://schemas.openxmlformats.org/officeDocument/2006/relationships/tags" Target="../tags/tag87.xml"/><Relationship Id="rId2" Type="http://schemas.openxmlformats.org/officeDocument/2006/relationships/tags" Target="../tags/tag82.xml"/><Relationship Id="rId16" Type="http://schemas.openxmlformats.org/officeDocument/2006/relationships/tags" Target="../tags/tag96.xml"/><Relationship Id="rId29" Type="http://schemas.openxmlformats.org/officeDocument/2006/relationships/tags" Target="../tags/tag109.xml"/><Relationship Id="rId1" Type="http://schemas.openxmlformats.org/officeDocument/2006/relationships/tags" Target="../tags/tag81.xml"/><Relationship Id="rId6" Type="http://schemas.openxmlformats.org/officeDocument/2006/relationships/tags" Target="../tags/tag86.xml"/><Relationship Id="rId11" Type="http://schemas.openxmlformats.org/officeDocument/2006/relationships/tags" Target="../tags/tag91.xml"/><Relationship Id="rId24" Type="http://schemas.openxmlformats.org/officeDocument/2006/relationships/tags" Target="../tags/tag104.xml"/><Relationship Id="rId32" Type="http://schemas.openxmlformats.org/officeDocument/2006/relationships/tags" Target="../tags/tag112.xml"/><Relationship Id="rId37" Type="http://schemas.openxmlformats.org/officeDocument/2006/relationships/tags" Target="../tags/tag117.xml"/><Relationship Id="rId40" Type="http://schemas.openxmlformats.org/officeDocument/2006/relationships/tags" Target="../tags/tag120.xml"/><Relationship Id="rId45" Type="http://schemas.openxmlformats.org/officeDocument/2006/relationships/slideLayout" Target="../slideLayouts/slideLayout9.xml"/><Relationship Id="rId5" Type="http://schemas.openxmlformats.org/officeDocument/2006/relationships/tags" Target="../tags/tag85.xml"/><Relationship Id="rId15" Type="http://schemas.openxmlformats.org/officeDocument/2006/relationships/tags" Target="../tags/tag95.xml"/><Relationship Id="rId23" Type="http://schemas.openxmlformats.org/officeDocument/2006/relationships/tags" Target="../tags/tag103.xml"/><Relationship Id="rId28" Type="http://schemas.openxmlformats.org/officeDocument/2006/relationships/tags" Target="../tags/tag108.xml"/><Relationship Id="rId36" Type="http://schemas.openxmlformats.org/officeDocument/2006/relationships/tags" Target="../tags/tag116.xml"/><Relationship Id="rId10" Type="http://schemas.openxmlformats.org/officeDocument/2006/relationships/tags" Target="../tags/tag90.xml"/><Relationship Id="rId19" Type="http://schemas.openxmlformats.org/officeDocument/2006/relationships/tags" Target="../tags/tag99.xml"/><Relationship Id="rId31" Type="http://schemas.openxmlformats.org/officeDocument/2006/relationships/tags" Target="../tags/tag111.xml"/><Relationship Id="rId44" Type="http://schemas.openxmlformats.org/officeDocument/2006/relationships/tags" Target="../tags/tag124.xml"/><Relationship Id="rId4" Type="http://schemas.openxmlformats.org/officeDocument/2006/relationships/tags" Target="../tags/tag84.xml"/><Relationship Id="rId9" Type="http://schemas.openxmlformats.org/officeDocument/2006/relationships/tags" Target="../tags/tag89.xml"/><Relationship Id="rId14" Type="http://schemas.openxmlformats.org/officeDocument/2006/relationships/tags" Target="../tags/tag94.xml"/><Relationship Id="rId22" Type="http://schemas.openxmlformats.org/officeDocument/2006/relationships/tags" Target="../tags/tag102.xml"/><Relationship Id="rId27" Type="http://schemas.openxmlformats.org/officeDocument/2006/relationships/tags" Target="../tags/tag107.xml"/><Relationship Id="rId30" Type="http://schemas.openxmlformats.org/officeDocument/2006/relationships/tags" Target="../tags/tag110.xml"/><Relationship Id="rId35" Type="http://schemas.openxmlformats.org/officeDocument/2006/relationships/tags" Target="../tags/tag115.xml"/><Relationship Id="rId43" Type="http://schemas.openxmlformats.org/officeDocument/2006/relationships/tags" Target="../tags/tag123.xml"/><Relationship Id="rId48" Type="http://schemas.openxmlformats.org/officeDocument/2006/relationships/image" Target="../media/image41.png"/><Relationship Id="rId8" Type="http://schemas.openxmlformats.org/officeDocument/2006/relationships/tags" Target="../tags/tag88.xml"/><Relationship Id="rId3" Type="http://schemas.openxmlformats.org/officeDocument/2006/relationships/tags" Target="../tags/tag83.xml"/><Relationship Id="rId12" Type="http://schemas.openxmlformats.org/officeDocument/2006/relationships/tags" Target="../tags/tag92.xml"/><Relationship Id="rId17" Type="http://schemas.openxmlformats.org/officeDocument/2006/relationships/tags" Target="../tags/tag97.xml"/><Relationship Id="rId25" Type="http://schemas.openxmlformats.org/officeDocument/2006/relationships/tags" Target="../tags/tag105.xml"/><Relationship Id="rId33" Type="http://schemas.openxmlformats.org/officeDocument/2006/relationships/tags" Target="../tags/tag113.xml"/><Relationship Id="rId38" Type="http://schemas.openxmlformats.org/officeDocument/2006/relationships/tags" Target="../tags/tag118.xml"/><Relationship Id="rId46" Type="http://schemas.openxmlformats.org/officeDocument/2006/relationships/image" Target="../media/image39.png"/><Relationship Id="rId20" Type="http://schemas.openxmlformats.org/officeDocument/2006/relationships/tags" Target="../tags/tag100.xml"/><Relationship Id="rId41" Type="http://schemas.openxmlformats.org/officeDocument/2006/relationships/tags" Target="../tags/tag121.xml"/></Relationships>
</file>

<file path=ppt/slides/_rels/slide2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slideLayout" Target="../slideLayouts/slideLayout9.xml"/><Relationship Id="rId1" Type="http://schemas.openxmlformats.org/officeDocument/2006/relationships/tags" Target="../tags/tag125.xml"/><Relationship Id="rId5" Type="http://schemas.openxmlformats.org/officeDocument/2006/relationships/image" Target="../media/image44.png"/><Relationship Id="rId4" Type="http://schemas.openxmlformats.org/officeDocument/2006/relationships/image" Target="../media/image43.png"/></Relationships>
</file>

<file path=ppt/slides/_rels/slide2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slideLayout" Target="../slideLayouts/slideLayout4.xml"/><Relationship Id="rId1" Type="http://schemas.openxmlformats.org/officeDocument/2006/relationships/tags" Target="../tags/tag126.xml"/><Relationship Id="rId4" Type="http://schemas.openxmlformats.org/officeDocument/2006/relationships/image" Target="../media/image46.png"/></Relationships>
</file>

<file path=ppt/slides/_rels/slide2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slideLayout" Target="../slideLayouts/slideLayout4.xml"/><Relationship Id="rId1" Type="http://schemas.openxmlformats.org/officeDocument/2006/relationships/tags" Target="../tags/tag127.xml"/><Relationship Id="rId5" Type="http://schemas.openxmlformats.org/officeDocument/2006/relationships/image" Target="../media/image49.png"/><Relationship Id="rId4" Type="http://schemas.openxmlformats.org/officeDocument/2006/relationships/image" Target="../media/image48.png"/></Relationships>
</file>

<file path=ppt/slides/_rels/slide2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xml"/><Relationship Id="rId1" Type="http://schemas.openxmlformats.org/officeDocument/2006/relationships/video" Target="https://www.youtube.com/embed/PgMtg1QO7G8?feature=oembed" TargetMode="External"/><Relationship Id="rId5" Type="http://schemas.openxmlformats.org/officeDocument/2006/relationships/hyperlink" Target="https://www.dropbox.com/home/Technical%20team%20general%20folders/Knowledge%20Hub/ALMA%20courses%20-%20French/A%20-%20Video%20lessons?preview=07+-+Comment+utiliser+les+donn%C3%A9es+de+la+carte+de+score+pour+l%E2%80%99action.mp4" TargetMode="External"/><Relationship Id="rId4" Type="http://schemas.openxmlformats.org/officeDocument/2006/relationships/image" Target="../media/image50.jpeg"/></Relationships>
</file>

<file path=ppt/slides/_rels/slide27.xml.rels><?xml version="1.0" encoding="UTF-8" standalone="yes"?>
<Relationships xmlns="http://schemas.openxmlformats.org/package/2006/relationships"><Relationship Id="rId3" Type="http://schemas.openxmlformats.org/officeDocument/2006/relationships/tags" Target="../tags/tag130.xml"/><Relationship Id="rId7" Type="http://schemas.openxmlformats.org/officeDocument/2006/relationships/slideLayout" Target="../slideLayouts/slideLayout3.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5" Type="http://schemas.openxmlformats.org/officeDocument/2006/relationships/tags" Target="../tags/tag132.xml"/><Relationship Id="rId4" Type="http://schemas.openxmlformats.org/officeDocument/2006/relationships/tags" Target="../tags/tag131.xml"/></Relationships>
</file>

<file path=ppt/slides/_rels/slide28.xml.rels><?xml version="1.0" encoding="UTF-8" standalone="yes"?>
<Relationships xmlns="http://schemas.openxmlformats.org/package/2006/relationships"><Relationship Id="rId8" Type="http://schemas.openxmlformats.org/officeDocument/2006/relationships/tags" Target="../tags/tag141.xml"/><Relationship Id="rId13" Type="http://schemas.openxmlformats.org/officeDocument/2006/relationships/tags" Target="../tags/tag146.xml"/><Relationship Id="rId3" Type="http://schemas.openxmlformats.org/officeDocument/2006/relationships/tags" Target="../tags/tag136.xml"/><Relationship Id="rId7" Type="http://schemas.openxmlformats.org/officeDocument/2006/relationships/tags" Target="../tags/tag140.xml"/><Relationship Id="rId12" Type="http://schemas.openxmlformats.org/officeDocument/2006/relationships/tags" Target="../tags/tag145.xml"/><Relationship Id="rId2" Type="http://schemas.openxmlformats.org/officeDocument/2006/relationships/tags" Target="../tags/tag135.xml"/><Relationship Id="rId16" Type="http://schemas.openxmlformats.org/officeDocument/2006/relationships/slideLayout" Target="../slideLayouts/slideLayout4.xml"/><Relationship Id="rId1" Type="http://schemas.openxmlformats.org/officeDocument/2006/relationships/tags" Target="../tags/tag134.xml"/><Relationship Id="rId6" Type="http://schemas.openxmlformats.org/officeDocument/2006/relationships/tags" Target="../tags/tag139.xml"/><Relationship Id="rId11" Type="http://schemas.openxmlformats.org/officeDocument/2006/relationships/tags" Target="../tags/tag144.xml"/><Relationship Id="rId5" Type="http://schemas.openxmlformats.org/officeDocument/2006/relationships/tags" Target="../tags/tag138.xml"/><Relationship Id="rId15" Type="http://schemas.openxmlformats.org/officeDocument/2006/relationships/tags" Target="../tags/tag148.xml"/><Relationship Id="rId10" Type="http://schemas.openxmlformats.org/officeDocument/2006/relationships/tags" Target="../tags/tag143.xml"/><Relationship Id="rId4" Type="http://schemas.openxmlformats.org/officeDocument/2006/relationships/tags" Target="../tags/tag137.xml"/><Relationship Id="rId9" Type="http://schemas.openxmlformats.org/officeDocument/2006/relationships/tags" Target="../tags/tag142.xml"/><Relationship Id="rId14" Type="http://schemas.openxmlformats.org/officeDocument/2006/relationships/tags" Target="../tags/tag147.xml"/></Relationships>
</file>

<file path=ppt/slides/_rels/slide2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3.xml"/><Relationship Id="rId1" Type="http://schemas.openxmlformats.org/officeDocument/2006/relationships/slideLayout" Target="../slideLayouts/slideLayout4.xml"/><Relationship Id="rId4" Type="http://schemas.openxmlformats.org/officeDocument/2006/relationships/image" Target="../media/image52.png"/></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3" Type="http://schemas.openxmlformats.org/officeDocument/2006/relationships/tags" Target="../tags/tag160.xml"/><Relationship Id="rId18" Type="http://schemas.openxmlformats.org/officeDocument/2006/relationships/tags" Target="../tags/tag165.xml"/><Relationship Id="rId26" Type="http://schemas.openxmlformats.org/officeDocument/2006/relationships/tags" Target="../tags/tag173.xml"/><Relationship Id="rId39" Type="http://schemas.openxmlformats.org/officeDocument/2006/relationships/tags" Target="../tags/tag186.xml"/><Relationship Id="rId21" Type="http://schemas.openxmlformats.org/officeDocument/2006/relationships/tags" Target="../tags/tag168.xml"/><Relationship Id="rId34" Type="http://schemas.openxmlformats.org/officeDocument/2006/relationships/tags" Target="../tags/tag181.xml"/><Relationship Id="rId42" Type="http://schemas.openxmlformats.org/officeDocument/2006/relationships/tags" Target="../tags/tag189.xml"/><Relationship Id="rId47" Type="http://schemas.openxmlformats.org/officeDocument/2006/relationships/tags" Target="../tags/tag194.xml"/><Relationship Id="rId50" Type="http://schemas.openxmlformats.org/officeDocument/2006/relationships/oleObject" Target="../embeddings/oleObject11.bin"/><Relationship Id="rId7" Type="http://schemas.openxmlformats.org/officeDocument/2006/relationships/tags" Target="../tags/tag154.xml"/><Relationship Id="rId2" Type="http://schemas.openxmlformats.org/officeDocument/2006/relationships/tags" Target="../tags/tag149.xml"/><Relationship Id="rId16" Type="http://schemas.openxmlformats.org/officeDocument/2006/relationships/tags" Target="../tags/tag163.xml"/><Relationship Id="rId29" Type="http://schemas.openxmlformats.org/officeDocument/2006/relationships/tags" Target="../tags/tag176.xml"/><Relationship Id="rId11" Type="http://schemas.openxmlformats.org/officeDocument/2006/relationships/tags" Target="../tags/tag158.xml"/><Relationship Id="rId24" Type="http://schemas.openxmlformats.org/officeDocument/2006/relationships/tags" Target="../tags/tag171.xml"/><Relationship Id="rId32" Type="http://schemas.openxmlformats.org/officeDocument/2006/relationships/tags" Target="../tags/tag179.xml"/><Relationship Id="rId37" Type="http://schemas.openxmlformats.org/officeDocument/2006/relationships/tags" Target="../tags/tag184.xml"/><Relationship Id="rId40" Type="http://schemas.openxmlformats.org/officeDocument/2006/relationships/tags" Target="../tags/tag187.xml"/><Relationship Id="rId45" Type="http://schemas.openxmlformats.org/officeDocument/2006/relationships/tags" Target="../tags/tag192.xml"/><Relationship Id="rId5" Type="http://schemas.openxmlformats.org/officeDocument/2006/relationships/tags" Target="../tags/tag152.xml"/><Relationship Id="rId15" Type="http://schemas.openxmlformats.org/officeDocument/2006/relationships/tags" Target="../tags/tag162.xml"/><Relationship Id="rId23" Type="http://schemas.openxmlformats.org/officeDocument/2006/relationships/tags" Target="../tags/tag170.xml"/><Relationship Id="rId28" Type="http://schemas.openxmlformats.org/officeDocument/2006/relationships/tags" Target="../tags/tag175.xml"/><Relationship Id="rId36" Type="http://schemas.openxmlformats.org/officeDocument/2006/relationships/tags" Target="../tags/tag183.xml"/><Relationship Id="rId49" Type="http://schemas.openxmlformats.org/officeDocument/2006/relationships/slideLayout" Target="../slideLayouts/slideLayout3.xml"/><Relationship Id="rId10" Type="http://schemas.openxmlformats.org/officeDocument/2006/relationships/tags" Target="../tags/tag157.xml"/><Relationship Id="rId19" Type="http://schemas.openxmlformats.org/officeDocument/2006/relationships/tags" Target="../tags/tag166.xml"/><Relationship Id="rId31" Type="http://schemas.openxmlformats.org/officeDocument/2006/relationships/tags" Target="../tags/tag178.xml"/><Relationship Id="rId44" Type="http://schemas.openxmlformats.org/officeDocument/2006/relationships/tags" Target="../tags/tag191.xml"/><Relationship Id="rId52" Type="http://schemas.openxmlformats.org/officeDocument/2006/relationships/image" Target="../media/image53.png"/><Relationship Id="rId4" Type="http://schemas.openxmlformats.org/officeDocument/2006/relationships/tags" Target="../tags/tag151.xml"/><Relationship Id="rId9" Type="http://schemas.openxmlformats.org/officeDocument/2006/relationships/tags" Target="../tags/tag156.xml"/><Relationship Id="rId14" Type="http://schemas.openxmlformats.org/officeDocument/2006/relationships/tags" Target="../tags/tag161.xml"/><Relationship Id="rId22" Type="http://schemas.openxmlformats.org/officeDocument/2006/relationships/tags" Target="../tags/tag169.xml"/><Relationship Id="rId27" Type="http://schemas.openxmlformats.org/officeDocument/2006/relationships/tags" Target="../tags/tag174.xml"/><Relationship Id="rId30" Type="http://schemas.openxmlformats.org/officeDocument/2006/relationships/tags" Target="../tags/tag177.xml"/><Relationship Id="rId35" Type="http://schemas.openxmlformats.org/officeDocument/2006/relationships/tags" Target="../tags/tag182.xml"/><Relationship Id="rId43" Type="http://schemas.openxmlformats.org/officeDocument/2006/relationships/tags" Target="../tags/tag190.xml"/><Relationship Id="rId48" Type="http://schemas.openxmlformats.org/officeDocument/2006/relationships/tags" Target="../tags/tag195.xml"/><Relationship Id="rId8" Type="http://schemas.openxmlformats.org/officeDocument/2006/relationships/tags" Target="../tags/tag155.xml"/><Relationship Id="rId51" Type="http://schemas.openxmlformats.org/officeDocument/2006/relationships/image" Target="../media/image4.emf"/><Relationship Id="rId3" Type="http://schemas.openxmlformats.org/officeDocument/2006/relationships/tags" Target="../tags/tag150.xml"/><Relationship Id="rId12" Type="http://schemas.openxmlformats.org/officeDocument/2006/relationships/tags" Target="../tags/tag159.xml"/><Relationship Id="rId17" Type="http://schemas.openxmlformats.org/officeDocument/2006/relationships/tags" Target="../tags/tag164.xml"/><Relationship Id="rId25" Type="http://schemas.openxmlformats.org/officeDocument/2006/relationships/tags" Target="../tags/tag172.xml"/><Relationship Id="rId33" Type="http://schemas.openxmlformats.org/officeDocument/2006/relationships/tags" Target="../tags/tag180.xml"/><Relationship Id="rId38" Type="http://schemas.openxmlformats.org/officeDocument/2006/relationships/tags" Target="../tags/tag185.xml"/><Relationship Id="rId46" Type="http://schemas.openxmlformats.org/officeDocument/2006/relationships/tags" Target="../tags/tag193.xml"/><Relationship Id="rId20" Type="http://schemas.openxmlformats.org/officeDocument/2006/relationships/tags" Target="../tags/tag167.xml"/><Relationship Id="rId41" Type="http://schemas.openxmlformats.org/officeDocument/2006/relationships/tags" Target="../tags/tag188.xml"/><Relationship Id="rId1" Type="http://schemas.openxmlformats.org/officeDocument/2006/relationships/vmlDrawing" Target="../drawings/vmlDrawing15.vml"/><Relationship Id="rId6" Type="http://schemas.openxmlformats.org/officeDocument/2006/relationships/tags" Target="../tags/tag153.xml"/></Relationships>
</file>

<file path=ppt/slides/_rels/slide31.xml.rels><?xml version="1.0" encoding="UTF-8" standalone="yes"?>
<Relationships xmlns="http://schemas.openxmlformats.org/package/2006/relationships"><Relationship Id="rId8" Type="http://schemas.openxmlformats.org/officeDocument/2006/relationships/tags" Target="../tags/tag202.xml"/><Relationship Id="rId13" Type="http://schemas.openxmlformats.org/officeDocument/2006/relationships/tags" Target="../tags/tag207.xml"/><Relationship Id="rId18" Type="http://schemas.openxmlformats.org/officeDocument/2006/relationships/image" Target="../media/image36.emf"/><Relationship Id="rId3" Type="http://schemas.openxmlformats.org/officeDocument/2006/relationships/tags" Target="../tags/tag197.xml"/><Relationship Id="rId7" Type="http://schemas.openxmlformats.org/officeDocument/2006/relationships/tags" Target="../tags/tag201.xml"/><Relationship Id="rId12" Type="http://schemas.openxmlformats.org/officeDocument/2006/relationships/tags" Target="../tags/tag206.xml"/><Relationship Id="rId17" Type="http://schemas.openxmlformats.org/officeDocument/2006/relationships/oleObject" Target="../embeddings/oleObject12.bin"/><Relationship Id="rId2" Type="http://schemas.openxmlformats.org/officeDocument/2006/relationships/tags" Target="../tags/tag196.xml"/><Relationship Id="rId16" Type="http://schemas.openxmlformats.org/officeDocument/2006/relationships/notesSlide" Target="../notesSlides/notesSlide14.xml"/><Relationship Id="rId1" Type="http://schemas.openxmlformats.org/officeDocument/2006/relationships/vmlDrawing" Target="../drawings/vmlDrawing16.vml"/><Relationship Id="rId6" Type="http://schemas.openxmlformats.org/officeDocument/2006/relationships/tags" Target="../tags/tag200.xml"/><Relationship Id="rId11" Type="http://schemas.openxmlformats.org/officeDocument/2006/relationships/tags" Target="../tags/tag205.xml"/><Relationship Id="rId5" Type="http://schemas.openxmlformats.org/officeDocument/2006/relationships/tags" Target="../tags/tag199.xml"/><Relationship Id="rId15" Type="http://schemas.openxmlformats.org/officeDocument/2006/relationships/slideLayout" Target="../slideLayouts/slideLayout4.xml"/><Relationship Id="rId10" Type="http://schemas.openxmlformats.org/officeDocument/2006/relationships/tags" Target="../tags/tag204.xml"/><Relationship Id="rId4" Type="http://schemas.openxmlformats.org/officeDocument/2006/relationships/tags" Target="../tags/tag198.xml"/><Relationship Id="rId9" Type="http://schemas.openxmlformats.org/officeDocument/2006/relationships/tags" Target="../tags/tag203.xml"/><Relationship Id="rId14" Type="http://schemas.openxmlformats.org/officeDocument/2006/relationships/tags" Target="../tags/tag208.xml"/></Relationships>
</file>

<file path=ppt/slides/_rels/slide3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xml"/><Relationship Id="rId1" Type="http://schemas.openxmlformats.org/officeDocument/2006/relationships/video" Target="https://www.youtube.com/embed/ty10pFnMNGU?feature=oembed" TargetMode="External"/><Relationship Id="rId5" Type="http://schemas.openxmlformats.org/officeDocument/2006/relationships/hyperlink" Target="https://www.dropbox.com/home/Technical%20team%20general%20folders/Knowledge%20Hub/ALMA%20courses%20-%20French/A%20-%20Video%20lessons?preview=08+-+Comment+int%C3%A9grer+la+revue+de+l%E2%80%99outil+carte+de+score+dans+les+m%C3%A9canismes+de+redevabilit%C3%A9+existants.mp4" TargetMode="External"/><Relationship Id="rId4" Type="http://schemas.openxmlformats.org/officeDocument/2006/relationships/image" Target="../media/image54.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3.xml"/><Relationship Id="rId5" Type="http://schemas.openxmlformats.org/officeDocument/2006/relationships/image" Target="../media/image58.png"/><Relationship Id="rId4" Type="http://schemas.openxmlformats.org/officeDocument/2006/relationships/image" Target="../media/image57.jpg"/></Relationships>
</file>

<file path=ppt/slides/_rels/slide38.xml.rels><?xml version="1.0" encoding="UTF-8" standalone="yes"?>
<Relationships xmlns="http://schemas.openxmlformats.org/package/2006/relationships"><Relationship Id="rId13" Type="http://schemas.openxmlformats.org/officeDocument/2006/relationships/tags" Target="../tags/tag221.xml"/><Relationship Id="rId18" Type="http://schemas.openxmlformats.org/officeDocument/2006/relationships/tags" Target="../tags/tag226.xml"/><Relationship Id="rId26" Type="http://schemas.openxmlformats.org/officeDocument/2006/relationships/tags" Target="../tags/tag234.xml"/><Relationship Id="rId39" Type="http://schemas.openxmlformats.org/officeDocument/2006/relationships/tags" Target="../tags/tag247.xml"/><Relationship Id="rId21" Type="http://schemas.openxmlformats.org/officeDocument/2006/relationships/tags" Target="../tags/tag229.xml"/><Relationship Id="rId34" Type="http://schemas.openxmlformats.org/officeDocument/2006/relationships/tags" Target="../tags/tag242.xml"/><Relationship Id="rId42" Type="http://schemas.openxmlformats.org/officeDocument/2006/relationships/tags" Target="../tags/tag250.xml"/><Relationship Id="rId47" Type="http://schemas.openxmlformats.org/officeDocument/2006/relationships/tags" Target="../tags/tag255.xml"/><Relationship Id="rId50" Type="http://schemas.openxmlformats.org/officeDocument/2006/relationships/tags" Target="../tags/tag258.xml"/><Relationship Id="rId55" Type="http://schemas.openxmlformats.org/officeDocument/2006/relationships/tags" Target="../tags/tag263.xml"/><Relationship Id="rId63" Type="http://schemas.openxmlformats.org/officeDocument/2006/relationships/tags" Target="../tags/tag271.xml"/><Relationship Id="rId7" Type="http://schemas.openxmlformats.org/officeDocument/2006/relationships/tags" Target="../tags/tag215.xml"/><Relationship Id="rId2" Type="http://schemas.openxmlformats.org/officeDocument/2006/relationships/tags" Target="../tags/tag210.xml"/><Relationship Id="rId16" Type="http://schemas.openxmlformats.org/officeDocument/2006/relationships/tags" Target="../tags/tag224.xml"/><Relationship Id="rId29" Type="http://schemas.openxmlformats.org/officeDocument/2006/relationships/tags" Target="../tags/tag237.xml"/><Relationship Id="rId11" Type="http://schemas.openxmlformats.org/officeDocument/2006/relationships/tags" Target="../tags/tag219.xml"/><Relationship Id="rId24" Type="http://schemas.openxmlformats.org/officeDocument/2006/relationships/tags" Target="../tags/tag232.xml"/><Relationship Id="rId32" Type="http://schemas.openxmlformats.org/officeDocument/2006/relationships/tags" Target="../tags/tag240.xml"/><Relationship Id="rId37" Type="http://schemas.openxmlformats.org/officeDocument/2006/relationships/tags" Target="../tags/tag245.xml"/><Relationship Id="rId40" Type="http://schemas.openxmlformats.org/officeDocument/2006/relationships/tags" Target="../tags/tag248.xml"/><Relationship Id="rId45" Type="http://schemas.openxmlformats.org/officeDocument/2006/relationships/tags" Target="../tags/tag253.xml"/><Relationship Id="rId53" Type="http://schemas.openxmlformats.org/officeDocument/2006/relationships/tags" Target="../tags/tag261.xml"/><Relationship Id="rId58" Type="http://schemas.openxmlformats.org/officeDocument/2006/relationships/tags" Target="../tags/tag266.xml"/><Relationship Id="rId5" Type="http://schemas.openxmlformats.org/officeDocument/2006/relationships/tags" Target="../tags/tag213.xml"/><Relationship Id="rId61" Type="http://schemas.openxmlformats.org/officeDocument/2006/relationships/tags" Target="../tags/tag269.xml"/><Relationship Id="rId19" Type="http://schemas.openxmlformats.org/officeDocument/2006/relationships/tags" Target="../tags/tag227.xml"/><Relationship Id="rId14" Type="http://schemas.openxmlformats.org/officeDocument/2006/relationships/tags" Target="../tags/tag222.xml"/><Relationship Id="rId22" Type="http://schemas.openxmlformats.org/officeDocument/2006/relationships/tags" Target="../tags/tag230.xml"/><Relationship Id="rId27" Type="http://schemas.openxmlformats.org/officeDocument/2006/relationships/tags" Target="../tags/tag235.xml"/><Relationship Id="rId30" Type="http://schemas.openxmlformats.org/officeDocument/2006/relationships/tags" Target="../tags/tag238.xml"/><Relationship Id="rId35" Type="http://schemas.openxmlformats.org/officeDocument/2006/relationships/tags" Target="../tags/tag243.xml"/><Relationship Id="rId43" Type="http://schemas.openxmlformats.org/officeDocument/2006/relationships/tags" Target="../tags/tag251.xml"/><Relationship Id="rId48" Type="http://schemas.openxmlformats.org/officeDocument/2006/relationships/tags" Target="../tags/tag256.xml"/><Relationship Id="rId56" Type="http://schemas.openxmlformats.org/officeDocument/2006/relationships/tags" Target="../tags/tag264.xml"/><Relationship Id="rId64" Type="http://schemas.openxmlformats.org/officeDocument/2006/relationships/slideLayout" Target="../slideLayouts/slideLayout13.xml"/><Relationship Id="rId8" Type="http://schemas.openxmlformats.org/officeDocument/2006/relationships/tags" Target="../tags/tag216.xml"/><Relationship Id="rId51" Type="http://schemas.openxmlformats.org/officeDocument/2006/relationships/tags" Target="../tags/tag259.xml"/><Relationship Id="rId3" Type="http://schemas.openxmlformats.org/officeDocument/2006/relationships/tags" Target="../tags/tag211.xml"/><Relationship Id="rId12" Type="http://schemas.openxmlformats.org/officeDocument/2006/relationships/tags" Target="../tags/tag220.xml"/><Relationship Id="rId17" Type="http://schemas.openxmlformats.org/officeDocument/2006/relationships/tags" Target="../tags/tag225.xml"/><Relationship Id="rId25" Type="http://schemas.openxmlformats.org/officeDocument/2006/relationships/tags" Target="../tags/tag233.xml"/><Relationship Id="rId33" Type="http://schemas.openxmlformats.org/officeDocument/2006/relationships/tags" Target="../tags/tag241.xml"/><Relationship Id="rId38" Type="http://schemas.openxmlformats.org/officeDocument/2006/relationships/tags" Target="../tags/tag246.xml"/><Relationship Id="rId46" Type="http://schemas.openxmlformats.org/officeDocument/2006/relationships/tags" Target="../tags/tag254.xml"/><Relationship Id="rId59" Type="http://schemas.openxmlformats.org/officeDocument/2006/relationships/tags" Target="../tags/tag267.xml"/><Relationship Id="rId20" Type="http://schemas.openxmlformats.org/officeDocument/2006/relationships/tags" Target="../tags/tag228.xml"/><Relationship Id="rId41" Type="http://schemas.openxmlformats.org/officeDocument/2006/relationships/tags" Target="../tags/tag249.xml"/><Relationship Id="rId54" Type="http://schemas.openxmlformats.org/officeDocument/2006/relationships/tags" Target="../tags/tag262.xml"/><Relationship Id="rId62" Type="http://schemas.openxmlformats.org/officeDocument/2006/relationships/tags" Target="../tags/tag270.xml"/><Relationship Id="rId1" Type="http://schemas.openxmlformats.org/officeDocument/2006/relationships/tags" Target="../tags/tag209.xml"/><Relationship Id="rId6" Type="http://schemas.openxmlformats.org/officeDocument/2006/relationships/tags" Target="../tags/tag214.xml"/><Relationship Id="rId15" Type="http://schemas.openxmlformats.org/officeDocument/2006/relationships/tags" Target="../tags/tag223.xml"/><Relationship Id="rId23" Type="http://schemas.openxmlformats.org/officeDocument/2006/relationships/tags" Target="../tags/tag231.xml"/><Relationship Id="rId28" Type="http://schemas.openxmlformats.org/officeDocument/2006/relationships/tags" Target="../tags/tag236.xml"/><Relationship Id="rId36" Type="http://schemas.openxmlformats.org/officeDocument/2006/relationships/tags" Target="../tags/tag244.xml"/><Relationship Id="rId49" Type="http://schemas.openxmlformats.org/officeDocument/2006/relationships/tags" Target="../tags/tag257.xml"/><Relationship Id="rId57" Type="http://schemas.openxmlformats.org/officeDocument/2006/relationships/tags" Target="../tags/tag265.xml"/><Relationship Id="rId10" Type="http://schemas.openxmlformats.org/officeDocument/2006/relationships/tags" Target="../tags/tag218.xml"/><Relationship Id="rId31" Type="http://schemas.openxmlformats.org/officeDocument/2006/relationships/tags" Target="../tags/tag239.xml"/><Relationship Id="rId44" Type="http://schemas.openxmlformats.org/officeDocument/2006/relationships/tags" Target="../tags/tag252.xml"/><Relationship Id="rId52" Type="http://schemas.openxmlformats.org/officeDocument/2006/relationships/tags" Target="../tags/tag260.xml"/><Relationship Id="rId60" Type="http://schemas.openxmlformats.org/officeDocument/2006/relationships/tags" Target="../tags/tag268.xml"/><Relationship Id="rId4" Type="http://schemas.openxmlformats.org/officeDocument/2006/relationships/tags" Target="../tags/tag212.xml"/><Relationship Id="rId9" Type="http://schemas.openxmlformats.org/officeDocument/2006/relationships/tags" Target="../tags/tag217.xml"/></Relationships>
</file>

<file path=ppt/slides/_rels/slide3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hyperlink" Target="https://www.dropbox.com/scl/fi/zrqi1scy8sx2rbqp46nfz/Comptes-Plateforme-Web-Carte-de-Score_template.xlsx?dl=0&amp;rlkey=mqv3py8j9mivsd6w943q0impa" TargetMode="External"/><Relationship Id="rId2" Type="http://schemas.openxmlformats.org/officeDocument/2006/relationships/hyperlink" Target="https://www.dropbox.com/sh/3e634s76eiyq9zz/AAAt9YBNNaCGpEu9lo0ikIm4a?dl=0" TargetMode="External"/><Relationship Id="rId1" Type="http://schemas.openxmlformats.org/officeDocument/2006/relationships/slideLayout" Target="../slideLayouts/slideLayout2.xml"/><Relationship Id="rId5" Type="http://schemas.openxmlformats.org/officeDocument/2006/relationships/hyperlink" Target="mailto:dduque@alma2030.org" TargetMode="External"/><Relationship Id="rId4" Type="http://schemas.openxmlformats.org/officeDocument/2006/relationships/hyperlink" Target="https://www.dropbox.com/scl/fi/loyalmx9100lli20l8dyy/Liste-de-pr-sence_atelier-ALMA.docx?dl=0&amp;rlkey=8mhnxc7st66y9glclosoeiwh5" TargetMode="External"/></Relationships>
</file>

<file path=ppt/slides/_rels/slide40.xml.rels><?xml version="1.0" encoding="UTF-8" standalone="yes"?>
<Relationships xmlns="http://schemas.openxmlformats.org/package/2006/relationships"><Relationship Id="rId3" Type="http://schemas.openxmlformats.org/officeDocument/2006/relationships/hyperlink" Target="mailto:account@rmnch.org" TargetMode="External"/><Relationship Id="rId2" Type="http://schemas.openxmlformats.org/officeDocument/2006/relationships/image" Target="../media/image59.png"/><Relationship Id="rId1" Type="http://schemas.openxmlformats.org/officeDocument/2006/relationships/slideLayout" Target="../slideLayouts/slideLayout3.xml"/><Relationship Id="rId4" Type="http://schemas.openxmlformats.org/officeDocument/2006/relationships/image" Target="../media/image60.png"/></Relationships>
</file>

<file path=ppt/slides/_rels/slide41.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hyperlink" Target="http://www.malariascorecard.org/" TargetMode="External"/><Relationship Id="rId7" Type="http://schemas.openxmlformats.org/officeDocument/2006/relationships/image" Target="../media/image63.png"/><Relationship Id="rId2" Type="http://schemas.openxmlformats.org/officeDocument/2006/relationships/notesSlide" Target="../notesSlides/notesSlide18.xml"/><Relationship Id="rId1" Type="http://schemas.openxmlformats.org/officeDocument/2006/relationships/slideLayout" Target="../slideLayouts/slideLayout3.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hyperlink" Target="https://play.google.com/store/apps/details?id=org.alma"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slideLayout" Target="../slideLayouts/slideLayout3.xml"/><Relationship Id="rId1" Type="http://schemas.openxmlformats.org/officeDocument/2006/relationships/video" Target="https://www.youtube.com/embed/ZGSrC-Bz8tQ?feature=oembed" TargetMode="External"/><Relationship Id="rId4" Type="http://schemas.openxmlformats.org/officeDocument/2006/relationships/hyperlink" Target="https://www.dropbox.com/s/wv834n8kayro6q1/French_Part%201%20web%20platform_users.mp4?dl=0" TargetMode="External"/></Relationships>
</file>

<file path=ppt/slides/_rels/slide43.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slideLayout" Target="../slideLayouts/slideLayout3.xml"/><Relationship Id="rId1" Type="http://schemas.openxmlformats.org/officeDocument/2006/relationships/video" Target="https://www.youtube.com/embed/U5Hvv7bFeMA?feature=oembed" TargetMode="External"/><Relationship Id="rId4" Type="http://schemas.openxmlformats.org/officeDocument/2006/relationships/hyperlink" Target="https://www.dropbox.com/s/kbq1t0bpzn0ge6n/French_Part%202%20web%20platform_users.mp4?dl=0" TargetMode="External"/></Relationships>
</file>

<file path=ppt/slides/_rels/slide44.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slideLayout" Target="../slideLayouts/slideLayout3.xml"/><Relationship Id="rId1" Type="http://schemas.openxmlformats.org/officeDocument/2006/relationships/video" Target="https://www.youtube.com/embed/2ZGW560s1yY?feature=oembed" TargetMode="External"/><Relationship Id="rId4" Type="http://schemas.openxmlformats.org/officeDocument/2006/relationships/hyperlink" Target="https://www.dropbox.com/s/sfiuaekdsz0e0za/French_Part%203%20action%20tracker.mp4?dl=0" TargetMode="Externa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slideLayout" Target="../slideLayouts/slideLayout3.xml"/><Relationship Id="rId1" Type="http://schemas.openxmlformats.org/officeDocument/2006/relationships/video" Target="https://www.youtube.com/embed/AKvo1QnBkZw?feature=oembed" TargetMode="External"/><Relationship Id="rId4" Type="http://schemas.openxmlformats.org/officeDocument/2006/relationships/hyperlink" Target="https://www.dropbox.com/s/hoedvsolnnn7xxx/French_Admin_Part%201%20Scorecard%20Web%20Platform.mp4?dl=0" TargetMode="External"/></Relationships>
</file>

<file path=ppt/slides/_rels/slide48.xml.rels><?xml version="1.0" encoding="UTF-8" standalone="yes"?>
<Relationships xmlns="http://schemas.openxmlformats.org/package/2006/relationships"><Relationship Id="rId3" Type="http://schemas.openxmlformats.org/officeDocument/2006/relationships/hyperlink" Target="mailto:pbaptiste@google.com" TargetMode="External"/><Relationship Id="rId2" Type="http://schemas.openxmlformats.org/officeDocument/2006/relationships/hyperlink" Target="https://www.dropbox.com/scl/fi/zrqi1scy8sx2rbqp46nfz/Comptes-Plateforme-Web-Carte-de-Score_template.xlsx?dl=0&amp;rlkey=mqv3py8j9mivsd6w943q0impa" TargetMode="Externa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3" Type="http://schemas.openxmlformats.org/officeDocument/2006/relationships/hyperlink" Target="https://www.dropbox.com/s/t9onfvoe51pbbwv/French_Admin_Part%202%20Scorecard%20Web%20Platform.mp4?dl=0" TargetMode="External"/><Relationship Id="rId2" Type="http://schemas.openxmlformats.org/officeDocument/2006/relationships/slideLayout" Target="../slideLayouts/slideLayout3.xml"/><Relationship Id="rId1" Type="http://schemas.openxmlformats.org/officeDocument/2006/relationships/video" Target="https://www.youtube.com/embed/GiNG4ZyjpcI?feature=oembed" TargetMode="External"/><Relationship Id="rId4" Type="http://schemas.openxmlformats.org/officeDocument/2006/relationships/image" Target="../media/image69.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3" Type="http://schemas.openxmlformats.org/officeDocument/2006/relationships/hyperlink" Target="https://www.dropbox.com/home/Technical%20team%20general%20folders/Knowledge%20Hub/ALMA%20courses%20-%20French/A%20-%20Video%20lessons?preview=12+-+Partager+votre+carte+de+score+avec+les+d%C3%A9cideurs%2C+membres+du+personnel+de+programme%2C+membres+de+la+communaut%C3%A9+et+les+partenaires.mp4" TargetMode="External"/><Relationship Id="rId2" Type="http://schemas.openxmlformats.org/officeDocument/2006/relationships/slideLayout" Target="../slideLayouts/slideLayout3.xml"/><Relationship Id="rId1" Type="http://schemas.openxmlformats.org/officeDocument/2006/relationships/video" Target="https://www.youtube.com/embed/vvArLqDk5Ds?feature=oembed" TargetMode="External"/><Relationship Id="rId4" Type="http://schemas.openxmlformats.org/officeDocument/2006/relationships/image" Target="../media/image70.jpeg"/></Relationships>
</file>

<file path=ppt/slides/_rels/slide53.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tags" Target="../tags/tag272.xml"/></Relationships>
</file>

<file path=ppt/slides/_rels/slide5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Layout" Target="../slideLayouts/slideLayout17.xml"/><Relationship Id="rId1" Type="http://schemas.openxmlformats.org/officeDocument/2006/relationships/tags" Target="../tags/tag273.xml"/><Relationship Id="rId4" Type="http://schemas.openxmlformats.org/officeDocument/2006/relationships/image" Target="../media/image72.png"/></Relationships>
</file>

<file path=ppt/slides/_rels/slide55.xml.rels><?xml version="1.0" encoding="UTF-8" standalone="yes"?>
<Relationships xmlns="http://schemas.openxmlformats.org/package/2006/relationships"><Relationship Id="rId3" Type="http://schemas.openxmlformats.org/officeDocument/2006/relationships/image" Target="../media/image73.png"/><Relationship Id="rId7" Type="http://schemas.openxmlformats.org/officeDocument/2006/relationships/image" Target="../media/image77.png"/><Relationship Id="rId2" Type="http://schemas.openxmlformats.org/officeDocument/2006/relationships/slideLayout" Target="../slideLayouts/slideLayout6.xml"/><Relationship Id="rId1" Type="http://schemas.openxmlformats.org/officeDocument/2006/relationships/tags" Target="../tags/tag274.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jpeg"/></Relationships>
</file>

<file path=ppt/slides/_rels/slide56.xml.rels><?xml version="1.0" encoding="UTF-8" standalone="yes"?>
<Relationships xmlns="http://schemas.openxmlformats.org/package/2006/relationships"><Relationship Id="rId2" Type="http://schemas.openxmlformats.org/officeDocument/2006/relationships/slideLayout" Target="../slideLayouts/slideLayout18.xml"/><Relationship Id="rId1" Type="http://schemas.openxmlformats.org/officeDocument/2006/relationships/tags" Target="../tags/tag275.xml"/></Relationships>
</file>

<file path=ppt/slides/_rels/slide5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3" Type="http://schemas.openxmlformats.org/officeDocument/2006/relationships/hyperlink" Target="https://www.dropbox.com/home/Technical%20team%20general%20folders/Knowledge%20Hub/ALMA%20courses%20-%20French/A%20-%20Video%20lessons?preview=13+-+Utiliser+la+carte+de+score+pour+un+engagement+de+haut+niveau.mp4" TargetMode="External"/><Relationship Id="rId2" Type="http://schemas.openxmlformats.org/officeDocument/2006/relationships/slideLayout" Target="../slideLayouts/slideLayout3.xml"/><Relationship Id="rId1" Type="http://schemas.openxmlformats.org/officeDocument/2006/relationships/video" Target="https://www.youtube.com/embed/izJYiu5ggoI?feature=oembed" TargetMode="External"/><Relationship Id="rId4" Type="http://schemas.openxmlformats.org/officeDocument/2006/relationships/image" Target="../media/image78.jpe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1.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2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6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image" Target="../media/image81.jpeg"/><Relationship Id="rId1" Type="http://schemas.openxmlformats.org/officeDocument/2006/relationships/slideLayout" Target="../slideLayouts/slideLayout4.xml"/><Relationship Id="rId5" Type="http://schemas.openxmlformats.org/officeDocument/2006/relationships/image" Target="../media/image84.jpeg"/><Relationship Id="rId4" Type="http://schemas.openxmlformats.org/officeDocument/2006/relationships/image" Target="../media/image83.jpeg"/></Relationships>
</file>

<file path=ppt/slides/_rels/slide6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7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5.xml"/><Relationship Id="rId4" Type="http://schemas.openxmlformats.org/officeDocument/2006/relationships/image" Target="../media/image87.png"/></Relationships>
</file>

<file path=ppt/slides/_rels/slide71.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5.xml"/></Relationships>
</file>

<file path=ppt/slides/_rels/slide72.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5.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4.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5.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9.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image" Target="../media/image81.jpeg"/><Relationship Id="rId1" Type="http://schemas.openxmlformats.org/officeDocument/2006/relationships/slideLayout" Target="../slideLayouts/slideLayout4.xml"/><Relationship Id="rId5" Type="http://schemas.openxmlformats.org/officeDocument/2006/relationships/image" Target="../media/image84.jpeg"/><Relationship Id="rId4" Type="http://schemas.openxmlformats.org/officeDocument/2006/relationships/image" Target="../media/image83.jpe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video" Target="https://www.youtube.com/embed/Q2335jukPOw?feature=oembed" TargetMode="External"/><Relationship Id="rId5" Type="http://schemas.openxmlformats.org/officeDocument/2006/relationships/hyperlink" Target="https://www.dropbox.com/home/Technical%20team%20general%20folders/Knowledge%20Hub/ALMA%20courses%20-%20French/A%20-%20Video%20lessons?preview=02+-+Aper%C3%A7u+de+l%E2%80%99outil+de+gestion+de+carte+de+score.mp4" TargetMode="External"/><Relationship Id="rId4" Type="http://schemas.openxmlformats.org/officeDocument/2006/relationships/image" Target="../media/image18.jpeg"/></Relationships>
</file>

<file path=ppt/slides/_rels/slide8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81.xml.rels><?xml version="1.0" encoding="UTF-8" standalone="yes"?>
<Relationships xmlns="http://schemas.openxmlformats.org/package/2006/relationships"><Relationship Id="rId3" Type="http://schemas.openxmlformats.org/officeDocument/2006/relationships/hyperlink" Target="http://www.scorecardhub.org/fr" TargetMode="External"/><Relationship Id="rId2" Type="http://schemas.openxmlformats.org/officeDocument/2006/relationships/image" Target="../media/image91.png"/><Relationship Id="rId1" Type="http://schemas.openxmlformats.org/officeDocument/2006/relationships/slideLayout" Target="../slideLayouts/slideLayout27.xml"/></Relationships>
</file>

<file path=ppt/slides/_rels/slide82.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chart" Target="../charts/chart1.xml"/><Relationship Id="rId1" Type="http://schemas.openxmlformats.org/officeDocument/2006/relationships/slideLayout" Target="../slideLayouts/slideLayout28.xml"/><Relationship Id="rId5" Type="http://schemas.openxmlformats.org/officeDocument/2006/relationships/image" Target="../media/image93.png"/><Relationship Id="rId4" Type="http://schemas.openxmlformats.org/officeDocument/2006/relationships/hyperlink" Target="http://www.scorecardhub.org/fr" TargetMode="External"/></Relationships>
</file>

<file path=ppt/slides/_rels/slide83.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28.xml"/><Relationship Id="rId4" Type="http://schemas.openxmlformats.org/officeDocument/2006/relationships/hyperlink" Target="mailto:scorecardhub@alma2030.org" TargetMode="External"/></Relationships>
</file>

<file path=ppt/slides/_rels/slide84.xml.rels><?xml version="1.0" encoding="UTF-8" standalone="yes"?>
<Relationships xmlns="http://schemas.openxmlformats.org/package/2006/relationships"><Relationship Id="rId3" Type="http://schemas.openxmlformats.org/officeDocument/2006/relationships/hyperlink" Target="mailto:scorecardhub@alma2030.org" TargetMode="External"/><Relationship Id="rId2" Type="http://schemas.openxmlformats.org/officeDocument/2006/relationships/image" Target="../media/image96.png"/><Relationship Id="rId1" Type="http://schemas.openxmlformats.org/officeDocument/2006/relationships/slideLayout" Target="../slideLayouts/slideLayout28.xml"/></Relationships>
</file>

<file path=ppt/slides/_rels/slide85.xml.rels><?xml version="1.0" encoding="UTF-8" standalone="yes"?>
<Relationships xmlns="http://schemas.openxmlformats.org/package/2006/relationships"><Relationship Id="rId3" Type="http://schemas.openxmlformats.org/officeDocument/2006/relationships/hyperlink" Target="https://scorecardhub.org/fr/cartes-de-score/" TargetMode="External"/><Relationship Id="rId2" Type="http://schemas.openxmlformats.org/officeDocument/2006/relationships/hyperlink" Target="https://scorecardhub.org/guides-and-toolkits/download-course-content-to-access-when-you-do-not-have-an-internet-connection/" TargetMode="External"/><Relationship Id="rId1" Type="http://schemas.openxmlformats.org/officeDocument/2006/relationships/slideLayout" Target="../slideLayouts/slideLayout28.xml"/><Relationship Id="rId5" Type="http://schemas.openxmlformats.org/officeDocument/2006/relationships/image" Target="../media/image97.png"/><Relationship Id="rId4" Type="http://schemas.openxmlformats.org/officeDocument/2006/relationships/hyperlink" Target="https://scorecardhub.org/fr/bonnes-pratiques/" TargetMode="Externa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87.xml.rels><?xml version="1.0" encoding="UTF-8" standalone="yes"?>
<Relationships xmlns="http://schemas.openxmlformats.org/package/2006/relationships"><Relationship Id="rId2" Type="http://schemas.openxmlformats.org/officeDocument/2006/relationships/hyperlink" Target="https://scorecardhub.org/fr/" TargetMode="External"/><Relationship Id="rId1" Type="http://schemas.openxmlformats.org/officeDocument/2006/relationships/slideLayout" Target="../slideLayouts/slideLayout4.xml"/></Relationships>
</file>

<file path=ppt/slides/_rels/slide8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3.xml"/><Relationship Id="rId1" Type="http://schemas.openxmlformats.org/officeDocument/2006/relationships/vmlDrawing" Target="../drawings/vmlDrawing12.v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52589" y="3351400"/>
            <a:ext cx="6858728" cy="1447704"/>
          </a:xfrm>
        </p:spPr>
        <p:txBody>
          <a:bodyPr/>
          <a:lstStyle/>
          <a:p>
            <a:pPr algn="ctr"/>
            <a:r>
              <a:rPr lang="fr-FR" sz="3136" dirty="0">
                <a:solidFill>
                  <a:schemeClr val="tx1"/>
                </a:solidFill>
              </a:rPr>
              <a:t>Carte de Score de la SRMNIA</a:t>
            </a:r>
            <a:br>
              <a:rPr lang="fr-FR" sz="3136" dirty="0">
                <a:solidFill>
                  <a:schemeClr val="tx1"/>
                </a:solidFill>
              </a:rPr>
            </a:br>
            <a:br>
              <a:rPr lang="fr-FR" sz="3136" dirty="0">
                <a:solidFill>
                  <a:schemeClr val="tx1"/>
                </a:solidFill>
              </a:rPr>
            </a:br>
            <a:endParaRPr lang="en-US" sz="3136" dirty="0">
              <a:solidFill>
                <a:schemeClr val="tx1"/>
              </a:solidFill>
            </a:endParaRPr>
          </a:p>
        </p:txBody>
      </p:sp>
      <p:sp>
        <p:nvSpPr>
          <p:cNvPr id="3" name="Subtitle 2"/>
          <p:cNvSpPr>
            <a:spLocks noGrp="1"/>
          </p:cNvSpPr>
          <p:nvPr>
            <p:ph type="subTitle" idx="1"/>
          </p:nvPr>
        </p:nvSpPr>
        <p:spPr>
          <a:xfrm>
            <a:off x="3729094" y="5416229"/>
            <a:ext cx="2355102" cy="338554"/>
          </a:xfrm>
        </p:spPr>
        <p:txBody>
          <a:bodyPr/>
          <a:lstStyle/>
          <a:p>
            <a:r>
              <a:rPr lang="en-US" dirty="0" err="1"/>
              <a:t>Juin</a:t>
            </a:r>
            <a:r>
              <a:rPr lang="en-US" dirty="0"/>
              <a:t> 2021</a:t>
            </a: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7" name="Picture 6" descr="Text, logo&#10;&#10;Description automatically generated">
            <a:extLst>
              <a:ext uri="{FF2B5EF4-FFF2-40B4-BE49-F238E27FC236}">
                <a16:creationId xmlns:a16="http://schemas.microsoft.com/office/drawing/2014/main" id="{CB633535-CC37-4F37-844E-076E5AED91D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35712" y="4434454"/>
            <a:ext cx="4492482" cy="1123121"/>
          </a:xfrm>
          <a:prstGeom prst="rect">
            <a:avLst/>
          </a:prstGeom>
        </p:spPr>
      </p:pic>
      <p:pic>
        <p:nvPicPr>
          <p:cNvPr id="9" name="Picture 8">
            <a:extLst>
              <a:ext uri="{FF2B5EF4-FFF2-40B4-BE49-F238E27FC236}">
                <a16:creationId xmlns:a16="http://schemas.microsoft.com/office/drawing/2014/main" id="{9E084D09-600A-4DAE-A7BD-5892FAC00DBB}"/>
              </a:ext>
            </a:extLst>
          </p:cNvPr>
          <p:cNvPicPr>
            <a:picLocks noChangeAspect="1"/>
          </p:cNvPicPr>
          <p:nvPr/>
        </p:nvPicPr>
        <p:blipFill>
          <a:blip r:embed="rId4"/>
          <a:stretch>
            <a:fillRect/>
          </a:stretch>
        </p:blipFill>
        <p:spPr>
          <a:xfrm>
            <a:off x="2876111" y="69397"/>
            <a:ext cx="3011685" cy="3036071"/>
          </a:xfrm>
          <a:prstGeom prst="rect">
            <a:avLst/>
          </a:prstGeom>
        </p:spPr>
      </p:pic>
      <p:grpSp>
        <p:nvGrpSpPr>
          <p:cNvPr id="10" name="Group 9">
            <a:extLst>
              <a:ext uri="{FF2B5EF4-FFF2-40B4-BE49-F238E27FC236}">
                <a16:creationId xmlns:a16="http://schemas.microsoft.com/office/drawing/2014/main" id="{A6A559A9-7D40-4965-99DD-AF47E6D9CA15}"/>
              </a:ext>
            </a:extLst>
          </p:cNvPr>
          <p:cNvGrpSpPr/>
          <p:nvPr/>
        </p:nvGrpSpPr>
        <p:grpSpPr>
          <a:xfrm>
            <a:off x="-3583" y="6365028"/>
            <a:ext cx="8961438" cy="348643"/>
            <a:chOff x="0" y="6465918"/>
            <a:chExt cx="8961438" cy="348643"/>
          </a:xfrm>
        </p:grpSpPr>
        <p:sp>
          <p:nvSpPr>
            <p:cNvPr id="11" name="Rectangle 10">
              <a:extLst>
                <a:ext uri="{FF2B5EF4-FFF2-40B4-BE49-F238E27FC236}">
                  <a16:creationId xmlns:a16="http://schemas.microsoft.com/office/drawing/2014/main" id="{EDE7B856-E914-4A36-A292-A031D00559B0}"/>
                </a:ext>
              </a:extLst>
            </p:cNvPr>
            <p:cNvSpPr/>
            <p:nvPr/>
          </p:nvSpPr>
          <p:spPr>
            <a:xfrm>
              <a:off x="0" y="6465918"/>
              <a:ext cx="8961438" cy="340398"/>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pic>
          <p:nvPicPr>
            <p:cNvPr id="12" name="Picture 4">
              <a:extLst>
                <a:ext uri="{FF2B5EF4-FFF2-40B4-BE49-F238E27FC236}">
                  <a16:creationId xmlns:a16="http://schemas.microsoft.com/office/drawing/2014/main" id="{87C1D277-C75A-4722-ABC7-89BE6E9FEE1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130802" y="6474163"/>
              <a:ext cx="509470" cy="34039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8699129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98183" y="256965"/>
            <a:ext cx="6654067" cy="292388"/>
          </a:xfrm>
        </p:spPr>
        <p:txBody>
          <a:bodyPr vert="horz" wrap="square" lIns="0" tIns="0" rIns="0" bIns="0" numCol="1" anchor="t" anchorCtr="0" compatLnSpc="1">
            <a:prstTxWarp prst="textNoShape">
              <a:avLst/>
            </a:prstTxWarp>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GB" dirty="0" err="1"/>
              <a:t>Où</a:t>
            </a:r>
            <a:r>
              <a:rPr lang="en-GB" dirty="0"/>
              <a:t> les carte de score pays </a:t>
            </a:r>
            <a:r>
              <a:rPr lang="en-GB" dirty="0" err="1"/>
              <a:t>sont</a:t>
            </a:r>
            <a:r>
              <a:rPr lang="en-GB" dirty="0"/>
              <a:t> </a:t>
            </a:r>
            <a:r>
              <a:rPr lang="en-GB" dirty="0" err="1"/>
              <a:t>utilisées</a:t>
            </a:r>
            <a:r>
              <a:rPr lang="en-GB" dirty="0"/>
              <a:t>
</a:t>
            </a:r>
            <a:endParaRPr lang="en-GB" noProof="0" dirty="0"/>
          </a:p>
        </p:txBody>
      </p:sp>
      <p:sp>
        <p:nvSpPr>
          <p:cNvPr id="171" name="Text Placeholder 5">
            <a:extLst>
              <a:ext uri="{FF2B5EF4-FFF2-40B4-BE49-F238E27FC236}">
                <a16:creationId xmlns:a16="http://schemas.microsoft.com/office/drawing/2014/main" id="{D1D34180-87F6-4873-B19F-1C31E64CD03F}"/>
              </a:ext>
            </a:extLst>
          </p:cNvPr>
          <p:cNvSpPr txBox="1">
            <a:spLocks/>
          </p:cNvSpPr>
          <p:nvPr/>
        </p:nvSpPr>
        <p:spPr>
          <a:xfrm>
            <a:off x="277477" y="1282217"/>
            <a:ext cx="4088107" cy="4770537"/>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lnSpc>
                <a:spcPct val="100000"/>
              </a:lnSpc>
              <a:spcBef>
                <a:spcPts val="200"/>
              </a:spcBef>
              <a:spcAft>
                <a:spcPts val="600"/>
              </a:spcAft>
              <a:buFont typeface="Arial" panose="020B0604020202020204" pitchFamily="34" charset="0"/>
              <a:buChar char="•"/>
            </a:pPr>
            <a:r>
              <a:rPr lang="fr-FR" sz="1500" dirty="0">
                <a:solidFill>
                  <a:schemeClr val="bg2">
                    <a:lumMod val="10000"/>
                  </a:schemeClr>
                </a:solidFill>
              </a:rPr>
              <a:t>Intégrées aux processus de gestion et de décision existants</a:t>
            </a:r>
          </a:p>
          <a:p>
            <a:pPr marL="285750" indent="-285750">
              <a:lnSpc>
                <a:spcPct val="100000"/>
              </a:lnSpc>
              <a:spcBef>
                <a:spcPts val="200"/>
              </a:spcBef>
              <a:spcAft>
                <a:spcPts val="200"/>
              </a:spcAft>
              <a:buFont typeface="Arial" panose="020B0604020202020204" pitchFamily="34" charset="0"/>
              <a:buChar char="•"/>
            </a:pPr>
            <a:r>
              <a:rPr lang="fr-FR" sz="1500" b="1" dirty="0">
                <a:solidFill>
                  <a:schemeClr val="bg2">
                    <a:lumMod val="10000"/>
                  </a:schemeClr>
                </a:solidFill>
              </a:rPr>
              <a:t>Cartes de score nationales</a:t>
            </a:r>
          </a:p>
          <a:p>
            <a:pPr marL="539750" lvl="2" indent="-198438">
              <a:lnSpc>
                <a:spcPct val="100000"/>
              </a:lnSpc>
              <a:spcBef>
                <a:spcPts val="200"/>
              </a:spcBef>
              <a:spcAft>
                <a:spcPts val="200"/>
              </a:spcAft>
            </a:pPr>
            <a:r>
              <a:rPr lang="fr-FR" sz="1500" dirty="0">
                <a:solidFill>
                  <a:schemeClr val="bg2">
                    <a:lumMod val="10000"/>
                  </a:schemeClr>
                </a:solidFill>
              </a:rPr>
              <a:t>40 contre le paludisme</a:t>
            </a:r>
          </a:p>
          <a:p>
            <a:pPr marL="539750" lvl="2" indent="-198438">
              <a:lnSpc>
                <a:spcPct val="100000"/>
              </a:lnSpc>
              <a:spcBef>
                <a:spcPts val="200"/>
              </a:spcBef>
              <a:spcAft>
                <a:spcPts val="200"/>
              </a:spcAft>
            </a:pPr>
            <a:r>
              <a:rPr lang="fr-FR" sz="1500" dirty="0">
                <a:solidFill>
                  <a:schemeClr val="bg2">
                    <a:lumMod val="10000"/>
                  </a:schemeClr>
                </a:solidFill>
              </a:rPr>
              <a:t>29 pour la SRMNIA</a:t>
            </a:r>
          </a:p>
          <a:p>
            <a:pPr marL="539750" lvl="2" indent="-198438">
              <a:lnSpc>
                <a:spcPct val="100000"/>
              </a:lnSpc>
              <a:spcBef>
                <a:spcPts val="200"/>
              </a:spcBef>
              <a:spcAft>
                <a:spcPts val="200"/>
              </a:spcAft>
            </a:pPr>
            <a:r>
              <a:rPr lang="fr-FR" sz="1500" dirty="0">
                <a:solidFill>
                  <a:schemeClr val="bg2">
                    <a:lumMod val="10000"/>
                  </a:schemeClr>
                </a:solidFill>
              </a:rPr>
              <a:t>6</a:t>
            </a:r>
            <a:r>
              <a:rPr lang="fr-FR" sz="1500" b="1" dirty="0">
                <a:solidFill>
                  <a:schemeClr val="bg2">
                    <a:lumMod val="10000"/>
                  </a:schemeClr>
                </a:solidFill>
              </a:rPr>
              <a:t> </a:t>
            </a:r>
            <a:r>
              <a:rPr lang="fr-FR" sz="1500" dirty="0">
                <a:solidFill>
                  <a:schemeClr val="bg2">
                    <a:lumMod val="10000"/>
                  </a:schemeClr>
                </a:solidFill>
              </a:rPr>
              <a:t>contre les MTN</a:t>
            </a:r>
          </a:p>
          <a:p>
            <a:pPr marL="539750" lvl="2" indent="-198438">
              <a:lnSpc>
                <a:spcPct val="100000"/>
              </a:lnSpc>
              <a:spcBef>
                <a:spcPts val="200"/>
              </a:spcBef>
              <a:spcAft>
                <a:spcPts val="200"/>
              </a:spcAft>
            </a:pPr>
            <a:r>
              <a:rPr lang="fr-FR" sz="1500" dirty="0">
                <a:solidFill>
                  <a:schemeClr val="bg2">
                    <a:lumMod val="10000"/>
                  </a:schemeClr>
                </a:solidFill>
              </a:rPr>
              <a:t>4 communautaires</a:t>
            </a:r>
          </a:p>
          <a:p>
            <a:pPr marL="539750" lvl="2" indent="-198438">
              <a:lnSpc>
                <a:spcPct val="100000"/>
              </a:lnSpc>
              <a:spcBef>
                <a:spcPts val="200"/>
              </a:spcBef>
              <a:spcAft>
                <a:spcPts val="200"/>
              </a:spcAft>
            </a:pPr>
            <a:r>
              <a:rPr lang="fr-FR" sz="1500" dirty="0">
                <a:solidFill>
                  <a:schemeClr val="bg2">
                    <a:lumMod val="10000"/>
                  </a:schemeClr>
                </a:solidFill>
              </a:rPr>
              <a:t>2 sur la nutrition (Kenya et Tanzanie)</a:t>
            </a:r>
          </a:p>
          <a:p>
            <a:pPr marL="285750" indent="-285750">
              <a:lnSpc>
                <a:spcPct val="100000"/>
              </a:lnSpc>
              <a:spcBef>
                <a:spcPts val="600"/>
              </a:spcBef>
              <a:spcAft>
                <a:spcPts val="200"/>
              </a:spcAft>
              <a:buFont typeface="Arial" panose="020B0604020202020204" pitchFamily="34" charset="0"/>
              <a:buChar char="•"/>
            </a:pPr>
            <a:r>
              <a:rPr lang="fr-FR" sz="1500" b="1" dirty="0">
                <a:solidFill>
                  <a:schemeClr val="bg2">
                    <a:lumMod val="10000"/>
                  </a:schemeClr>
                </a:solidFill>
              </a:rPr>
              <a:t>Assistance d’ALMA :</a:t>
            </a:r>
          </a:p>
          <a:p>
            <a:pPr marL="539750" lvl="2" indent="-198438">
              <a:lnSpc>
                <a:spcPct val="100000"/>
              </a:lnSpc>
              <a:spcBef>
                <a:spcPts val="200"/>
              </a:spcBef>
              <a:spcAft>
                <a:spcPts val="200"/>
              </a:spcAft>
            </a:pPr>
            <a:r>
              <a:rPr lang="fr-FR" sz="1500" dirty="0">
                <a:solidFill>
                  <a:schemeClr val="bg2">
                    <a:lumMod val="10000"/>
                  </a:schemeClr>
                </a:solidFill>
              </a:rPr>
              <a:t>renforcement de capacité pour assurer l'utilisation pérenne de l'outil </a:t>
            </a:r>
          </a:p>
          <a:p>
            <a:pPr marL="539750" lvl="2" indent="-198438">
              <a:lnSpc>
                <a:spcPct val="100000"/>
              </a:lnSpc>
              <a:spcBef>
                <a:spcPts val="200"/>
              </a:spcBef>
              <a:spcAft>
                <a:spcPts val="200"/>
              </a:spcAft>
            </a:pPr>
            <a:r>
              <a:rPr lang="fr-FR" sz="1500" dirty="0">
                <a:solidFill>
                  <a:schemeClr val="bg2">
                    <a:lumMod val="10000"/>
                  </a:schemeClr>
                </a:solidFill>
              </a:rPr>
              <a:t>documentation et diffusion des meilleures pratiques</a:t>
            </a:r>
          </a:p>
          <a:p>
            <a:pPr marL="539750" lvl="2" indent="-198438">
              <a:lnSpc>
                <a:spcPct val="100000"/>
              </a:lnSpc>
              <a:spcBef>
                <a:spcPts val="200"/>
              </a:spcBef>
              <a:spcAft>
                <a:spcPts val="200"/>
              </a:spcAft>
            </a:pPr>
            <a:r>
              <a:rPr lang="fr-FR" sz="1500" dirty="0">
                <a:solidFill>
                  <a:schemeClr val="bg2">
                    <a:lumMod val="10000"/>
                  </a:schemeClr>
                </a:solidFill>
              </a:rPr>
              <a:t>autres activités de soutien : décentralisation, plateforme Web, engagement de haut niveau et communautaire, liaison DHIS2, révision des indicateurs, etc.</a:t>
            </a:r>
          </a:p>
        </p:txBody>
      </p:sp>
      <p:sp>
        <p:nvSpPr>
          <p:cNvPr id="163" name="TextBox 162">
            <a:extLst>
              <a:ext uri="{FF2B5EF4-FFF2-40B4-BE49-F238E27FC236}">
                <a16:creationId xmlns:a16="http://schemas.microsoft.com/office/drawing/2014/main" id="{656BA7B9-CA66-4C82-BF80-7D2FE0553AF6}"/>
              </a:ext>
            </a:extLst>
          </p:cNvPr>
          <p:cNvSpPr txBox="1"/>
          <p:nvPr/>
        </p:nvSpPr>
        <p:spPr>
          <a:xfrm>
            <a:off x="4853851" y="4868247"/>
            <a:ext cx="654346" cy="213007"/>
          </a:xfrm>
          <a:prstGeom prst="rect">
            <a:avLst/>
          </a:prstGeom>
          <a:noFill/>
        </p:spPr>
        <p:txBody>
          <a:bodyPr wrap="none" rtlCol="0">
            <a:spAutoFit/>
          </a:bodyPr>
          <a:lstStyle/>
          <a:p>
            <a:pPr defTabSz="914206" fontAlgn="base">
              <a:spcBef>
                <a:spcPct val="0"/>
              </a:spcBef>
              <a:spcAft>
                <a:spcPct val="0"/>
              </a:spcAft>
              <a:defRPr/>
            </a:pPr>
            <a:r>
              <a:rPr lang="en-US" sz="784" kern="0" dirty="0">
                <a:solidFill>
                  <a:prstClr val="black"/>
                </a:solidFill>
              </a:rPr>
              <a:t>Paludisme</a:t>
            </a:r>
            <a:endParaRPr lang="en-US" sz="784" kern="0" dirty="0">
              <a:solidFill>
                <a:prstClr val="black"/>
              </a:solidFill>
              <a:latin typeface="Arial" charset="0"/>
            </a:endParaRPr>
          </a:p>
        </p:txBody>
      </p:sp>
      <p:sp>
        <p:nvSpPr>
          <p:cNvPr id="164" name="Rectangle 163">
            <a:extLst>
              <a:ext uri="{FF2B5EF4-FFF2-40B4-BE49-F238E27FC236}">
                <a16:creationId xmlns:a16="http://schemas.microsoft.com/office/drawing/2014/main" id="{99858EF6-7DB8-4157-8CC6-2A4BD0EBBD88}"/>
              </a:ext>
            </a:extLst>
          </p:cNvPr>
          <p:cNvSpPr>
            <a:spLocks noChangeArrowheads="1"/>
          </p:cNvSpPr>
          <p:nvPr>
            <p:custDataLst>
              <p:tags r:id="rId2"/>
            </p:custDataLst>
          </p:nvPr>
        </p:nvSpPr>
        <p:spPr bwMode="gray">
          <a:xfrm>
            <a:off x="6488865" y="3966914"/>
            <a:ext cx="277320" cy="105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p>
            <a:pPr defTabSz="877257" fontAlgn="base">
              <a:spcBef>
                <a:spcPct val="0"/>
              </a:spcBef>
              <a:spcAft>
                <a:spcPct val="0"/>
              </a:spcAft>
              <a:buClr>
                <a:srgbClr val="39302A"/>
              </a:buClr>
              <a:defRPr/>
            </a:pPr>
            <a:r>
              <a:rPr lang="en-US" sz="686" kern="0" dirty="0">
                <a:solidFill>
                  <a:prstClr val="white"/>
                </a:solidFill>
                <a:latin typeface="Arial" charset="0"/>
              </a:rPr>
              <a:t>Angola</a:t>
            </a:r>
          </a:p>
        </p:txBody>
      </p:sp>
      <p:sp>
        <p:nvSpPr>
          <p:cNvPr id="165" name="TextBox 164">
            <a:extLst>
              <a:ext uri="{FF2B5EF4-FFF2-40B4-BE49-F238E27FC236}">
                <a16:creationId xmlns:a16="http://schemas.microsoft.com/office/drawing/2014/main" id="{C9FABD5E-C397-4DF8-B25D-54037738AA74}"/>
              </a:ext>
            </a:extLst>
          </p:cNvPr>
          <p:cNvSpPr txBox="1"/>
          <p:nvPr/>
        </p:nvSpPr>
        <p:spPr>
          <a:xfrm>
            <a:off x="4853851" y="5899754"/>
            <a:ext cx="1159292" cy="213007"/>
          </a:xfrm>
          <a:prstGeom prst="rect">
            <a:avLst/>
          </a:prstGeom>
          <a:noFill/>
        </p:spPr>
        <p:txBody>
          <a:bodyPr wrap="none" rtlCol="0">
            <a:spAutoFit/>
          </a:bodyPr>
          <a:lstStyle/>
          <a:p>
            <a:pPr defTabSz="914206" fontAlgn="base">
              <a:spcBef>
                <a:spcPct val="0"/>
              </a:spcBef>
              <a:spcAft>
                <a:spcPct val="0"/>
              </a:spcAft>
              <a:defRPr/>
            </a:pPr>
            <a:r>
              <a:rPr lang="fr-FR" sz="784" kern="0" dirty="0">
                <a:solidFill>
                  <a:prstClr val="black"/>
                </a:solidFill>
                <a:latin typeface="Arial" charset="0"/>
              </a:rPr>
              <a:t>Pas de carte de score</a:t>
            </a:r>
            <a:endParaRPr lang="en-US" sz="784" kern="0" dirty="0">
              <a:solidFill>
                <a:prstClr val="black"/>
              </a:solidFill>
              <a:latin typeface="Arial" charset="0"/>
            </a:endParaRPr>
          </a:p>
        </p:txBody>
      </p:sp>
      <p:sp>
        <p:nvSpPr>
          <p:cNvPr id="166" name="Rectangle 165">
            <a:extLst>
              <a:ext uri="{FF2B5EF4-FFF2-40B4-BE49-F238E27FC236}">
                <a16:creationId xmlns:a16="http://schemas.microsoft.com/office/drawing/2014/main" id="{7A8C996A-271F-4EC6-9E04-E6DFD40495A8}"/>
              </a:ext>
            </a:extLst>
          </p:cNvPr>
          <p:cNvSpPr/>
          <p:nvPr/>
        </p:nvSpPr>
        <p:spPr>
          <a:xfrm>
            <a:off x="4614708" y="4877262"/>
            <a:ext cx="210951" cy="188258"/>
          </a:xfrm>
          <a:prstGeom prst="rect">
            <a:avLst/>
          </a:prstGeom>
          <a:solidFill>
            <a:srgbClr val="FFCA08"/>
          </a:solidFill>
          <a:ln w="9525" cap="flat" cmpd="sng" algn="ctr">
            <a:solidFill>
              <a:sysClr val="window" lastClr="FFFFFF">
                <a:lumMod val="95000"/>
              </a:sysClr>
            </a:solidFill>
            <a:prstDash val="solid"/>
          </a:ln>
          <a:effectLst/>
        </p:spPr>
        <p:txBody>
          <a:bodyPr anchor="ctr"/>
          <a:lstStyle/>
          <a:p>
            <a:pPr marL="0" marR="0" lvl="0" indent="0" algn="ctr" defTabSz="896070" eaLnBrk="1" fontAlgn="auto" latinLnBrk="0" hangingPunct="1">
              <a:lnSpc>
                <a:spcPct val="100000"/>
              </a:lnSpc>
              <a:spcBef>
                <a:spcPts val="0"/>
              </a:spcBef>
              <a:spcAft>
                <a:spcPts val="0"/>
              </a:spcAft>
              <a:buClrTx/>
              <a:buSzTx/>
              <a:buFontTx/>
              <a:buNone/>
              <a:tabLst/>
              <a:defRPr/>
            </a:pPr>
            <a:endParaRPr kumimoji="0" lang="en-US" sz="2161" b="0" i="0" u="none" strike="noStrike" kern="0" cap="none" spc="0" normalizeH="0" baseline="0" noProof="0" dirty="0" err="1">
              <a:ln>
                <a:noFill/>
              </a:ln>
              <a:solidFill>
                <a:prstClr val="black"/>
              </a:solidFill>
              <a:effectLst/>
              <a:uLnTx/>
              <a:uFillTx/>
              <a:latin typeface="Arial"/>
              <a:sym typeface="Gill Sans" panose="020B0502020104020203" pitchFamily="34" charset="-79"/>
            </a:endParaRPr>
          </a:p>
        </p:txBody>
      </p:sp>
      <p:sp>
        <p:nvSpPr>
          <p:cNvPr id="167" name="Rectangle 166">
            <a:extLst>
              <a:ext uri="{FF2B5EF4-FFF2-40B4-BE49-F238E27FC236}">
                <a16:creationId xmlns:a16="http://schemas.microsoft.com/office/drawing/2014/main" id="{30B83FF0-1CB9-4E92-ABB0-3A4AB7DAA205}"/>
              </a:ext>
            </a:extLst>
          </p:cNvPr>
          <p:cNvSpPr/>
          <p:nvPr/>
        </p:nvSpPr>
        <p:spPr>
          <a:xfrm>
            <a:off x="4614708" y="5152595"/>
            <a:ext cx="210951" cy="200352"/>
          </a:xfrm>
          <a:prstGeom prst="rect">
            <a:avLst/>
          </a:prstGeom>
          <a:solidFill>
            <a:srgbClr val="6F0710"/>
          </a:solidFill>
          <a:ln w="9525" cap="flat" cmpd="sng" algn="ctr">
            <a:solidFill>
              <a:sysClr val="window" lastClr="FFFFFF">
                <a:lumMod val="95000"/>
              </a:sysClr>
            </a:solidFill>
            <a:prstDash val="solid"/>
          </a:ln>
          <a:effectLst/>
        </p:spPr>
        <p:txBody>
          <a:bodyPr anchor="ctr"/>
          <a:lstStyle/>
          <a:p>
            <a:pPr algn="ctr" defTabSz="896070">
              <a:defRPr/>
            </a:pPr>
            <a:endParaRPr lang="en-US" sz="2161" kern="0" dirty="0" err="1">
              <a:solidFill>
                <a:prstClr val="black"/>
              </a:solidFill>
              <a:latin typeface="Arial"/>
              <a:sym typeface="Gill Sans" panose="020B0502020104020203" pitchFamily="34" charset="-79"/>
            </a:endParaRPr>
          </a:p>
        </p:txBody>
      </p:sp>
      <p:sp>
        <p:nvSpPr>
          <p:cNvPr id="168" name="Rectangle 167">
            <a:extLst>
              <a:ext uri="{FF2B5EF4-FFF2-40B4-BE49-F238E27FC236}">
                <a16:creationId xmlns:a16="http://schemas.microsoft.com/office/drawing/2014/main" id="{1EFF0A9E-B3CB-4AD6-A639-BFB5FDA185CC}"/>
              </a:ext>
            </a:extLst>
          </p:cNvPr>
          <p:cNvSpPr/>
          <p:nvPr/>
        </p:nvSpPr>
        <p:spPr>
          <a:xfrm>
            <a:off x="4614708" y="4595306"/>
            <a:ext cx="210951" cy="194881"/>
          </a:xfrm>
          <a:prstGeom prst="rect">
            <a:avLst/>
          </a:prstGeom>
          <a:solidFill>
            <a:srgbClr val="002060">
              <a:lumMod val="25000"/>
              <a:lumOff val="75000"/>
            </a:srgbClr>
          </a:solidFill>
          <a:ln w="9525" cap="flat" cmpd="sng" algn="ctr">
            <a:solidFill>
              <a:sysClr val="window" lastClr="FFFFFF">
                <a:lumMod val="95000"/>
              </a:sysClr>
            </a:solidFill>
            <a:prstDash val="solid"/>
          </a:ln>
          <a:effectLst/>
        </p:spPr>
        <p:txBody>
          <a:bodyPr anchor="ctr"/>
          <a:lstStyle/>
          <a:p>
            <a:pPr marL="0" marR="0" lvl="0" indent="0" algn="ctr" defTabSz="896070" eaLnBrk="1" fontAlgn="auto" latinLnBrk="0" hangingPunct="1">
              <a:lnSpc>
                <a:spcPct val="100000"/>
              </a:lnSpc>
              <a:spcBef>
                <a:spcPts val="0"/>
              </a:spcBef>
              <a:spcAft>
                <a:spcPts val="0"/>
              </a:spcAft>
              <a:buClrTx/>
              <a:buSzTx/>
              <a:buFontTx/>
              <a:buNone/>
              <a:tabLst/>
              <a:defRPr/>
            </a:pPr>
            <a:endParaRPr kumimoji="0" lang="en-US" sz="2161" b="0" i="0" u="none" strike="noStrike" kern="0" cap="none" spc="0" normalizeH="0" baseline="0" noProof="0" dirty="0" err="1">
              <a:ln>
                <a:noFill/>
              </a:ln>
              <a:solidFill>
                <a:prstClr val="black"/>
              </a:solidFill>
              <a:effectLst/>
              <a:uLnTx/>
              <a:uFillTx/>
              <a:latin typeface="Arial"/>
              <a:sym typeface="Gill Sans" panose="020B0502020104020203" pitchFamily="34" charset="-79"/>
            </a:endParaRPr>
          </a:p>
        </p:txBody>
      </p:sp>
      <p:grpSp>
        <p:nvGrpSpPr>
          <p:cNvPr id="169" name="Group 168">
            <a:extLst>
              <a:ext uri="{FF2B5EF4-FFF2-40B4-BE49-F238E27FC236}">
                <a16:creationId xmlns:a16="http://schemas.microsoft.com/office/drawing/2014/main" id="{91C2172C-253A-489A-A3D4-8B344F5F2A37}"/>
              </a:ext>
            </a:extLst>
          </p:cNvPr>
          <p:cNvGrpSpPr/>
          <p:nvPr/>
        </p:nvGrpSpPr>
        <p:grpSpPr>
          <a:xfrm>
            <a:off x="4286901" y="1546284"/>
            <a:ext cx="4507761" cy="4192519"/>
            <a:chOff x="275156" y="89301"/>
            <a:chExt cx="6968653" cy="6548837"/>
          </a:xfrm>
        </p:grpSpPr>
        <p:sp>
          <p:nvSpPr>
            <p:cNvPr id="170" name="Freeform 1">
              <a:extLst>
                <a:ext uri="{FF2B5EF4-FFF2-40B4-BE49-F238E27FC236}">
                  <a16:creationId xmlns:a16="http://schemas.microsoft.com/office/drawing/2014/main" id="{B4D12A5D-9E61-478B-B1EA-978B8A385A13}"/>
                </a:ext>
              </a:extLst>
            </p:cNvPr>
            <p:cNvSpPr>
              <a:spLocks/>
            </p:cNvSpPr>
            <p:nvPr/>
          </p:nvSpPr>
          <p:spPr bwMode="auto">
            <a:xfrm>
              <a:off x="4465404" y="1382920"/>
              <a:ext cx="1477894" cy="1772159"/>
            </a:xfrm>
            <a:custGeom>
              <a:avLst/>
              <a:gdLst>
                <a:gd name="T0" fmla="*/ 2147483646 w 21600"/>
                <a:gd name="T1" fmla="*/ 2147483646 h 21600"/>
                <a:gd name="T2" fmla="*/ 2147483646 w 21600"/>
                <a:gd name="T3" fmla="*/ 2147483646 h 21600"/>
                <a:gd name="T4" fmla="*/ 1617174170 w 21600"/>
                <a:gd name="T5" fmla="*/ 2147483646 h 21600"/>
                <a:gd name="T6" fmla="*/ 713630612 w 21600"/>
                <a:gd name="T7" fmla="*/ 2147483646 h 21600"/>
                <a:gd name="T8" fmla="*/ 345556357 w 21600"/>
                <a:gd name="T9" fmla="*/ 2147483646 h 21600"/>
                <a:gd name="T10" fmla="*/ 0 w 21600"/>
                <a:gd name="T11" fmla="*/ 2147483646 h 21600"/>
                <a:gd name="T12" fmla="*/ 831100018 w 21600"/>
                <a:gd name="T13" fmla="*/ 2147483646 h 21600"/>
                <a:gd name="T14" fmla="*/ 1366569421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936742078 h 21600"/>
                <a:gd name="T72" fmla="*/ 2147483646 w 21600"/>
                <a:gd name="T73" fmla="*/ 297055580 h 21600"/>
                <a:gd name="T74" fmla="*/ 2147483646 w 21600"/>
                <a:gd name="T75" fmla="*/ 1260802700 h 21600"/>
                <a:gd name="T76" fmla="*/ 2147483646 w 21600"/>
                <a:gd name="T77" fmla="*/ 1819459904 h 21600"/>
                <a:gd name="T78" fmla="*/ 2147483646 w 21600"/>
                <a:gd name="T79" fmla="*/ 1900475030 h 21600"/>
                <a:gd name="T80" fmla="*/ 2147483646 w 21600"/>
                <a:gd name="T81" fmla="*/ 1927480072 h 21600"/>
                <a:gd name="T82" fmla="*/ 2147483646 w 21600"/>
                <a:gd name="T83" fmla="*/ 2033813362 h 2160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1600" h="21600">
                  <a:moveTo>
                    <a:pt x="3973" y="1205"/>
                  </a:moveTo>
                  <a:lnTo>
                    <a:pt x="4058" y="3344"/>
                  </a:lnTo>
                  <a:lnTo>
                    <a:pt x="2705" y="3220"/>
                  </a:lnTo>
                  <a:lnTo>
                    <a:pt x="2793" y="5312"/>
                  </a:lnTo>
                  <a:lnTo>
                    <a:pt x="2849" y="8095"/>
                  </a:lnTo>
                  <a:lnTo>
                    <a:pt x="1652" y="8109"/>
                  </a:lnTo>
                  <a:lnTo>
                    <a:pt x="1328" y="8794"/>
                  </a:lnTo>
                  <a:lnTo>
                    <a:pt x="729" y="9321"/>
                  </a:lnTo>
                  <a:lnTo>
                    <a:pt x="883" y="9891"/>
                  </a:lnTo>
                  <a:lnTo>
                    <a:pt x="353" y="10248"/>
                  </a:lnTo>
                  <a:lnTo>
                    <a:pt x="444" y="10800"/>
                  </a:lnTo>
                  <a:lnTo>
                    <a:pt x="0" y="11540"/>
                  </a:lnTo>
                  <a:lnTo>
                    <a:pt x="832" y="11489"/>
                  </a:lnTo>
                  <a:lnTo>
                    <a:pt x="849" y="12248"/>
                  </a:lnTo>
                  <a:lnTo>
                    <a:pt x="1331" y="12956"/>
                  </a:lnTo>
                  <a:lnTo>
                    <a:pt x="1396" y="13456"/>
                  </a:lnTo>
                  <a:lnTo>
                    <a:pt x="1967" y="14118"/>
                  </a:lnTo>
                  <a:lnTo>
                    <a:pt x="2319" y="14747"/>
                  </a:lnTo>
                  <a:lnTo>
                    <a:pt x="2231" y="15847"/>
                  </a:lnTo>
                  <a:lnTo>
                    <a:pt x="3072" y="15910"/>
                  </a:lnTo>
                  <a:lnTo>
                    <a:pt x="3513" y="16387"/>
                  </a:lnTo>
                  <a:lnTo>
                    <a:pt x="4543" y="16776"/>
                  </a:lnTo>
                  <a:lnTo>
                    <a:pt x="4716" y="17384"/>
                  </a:lnTo>
                  <a:lnTo>
                    <a:pt x="5548" y="17705"/>
                  </a:lnTo>
                  <a:lnTo>
                    <a:pt x="6160" y="18491"/>
                  </a:lnTo>
                  <a:lnTo>
                    <a:pt x="6640" y="18987"/>
                  </a:lnTo>
                  <a:lnTo>
                    <a:pt x="7244" y="19462"/>
                  </a:lnTo>
                  <a:lnTo>
                    <a:pt x="7699" y="20021"/>
                  </a:lnTo>
                  <a:lnTo>
                    <a:pt x="8441" y="20752"/>
                  </a:lnTo>
                  <a:lnTo>
                    <a:pt x="9478" y="20586"/>
                  </a:lnTo>
                  <a:lnTo>
                    <a:pt x="10278" y="20784"/>
                  </a:lnTo>
                  <a:lnTo>
                    <a:pt x="10860" y="20528"/>
                  </a:lnTo>
                  <a:lnTo>
                    <a:pt x="11289" y="21061"/>
                  </a:lnTo>
                  <a:lnTo>
                    <a:pt x="12306" y="21600"/>
                  </a:lnTo>
                  <a:lnTo>
                    <a:pt x="12911" y="21312"/>
                  </a:lnTo>
                  <a:lnTo>
                    <a:pt x="13774" y="21435"/>
                  </a:lnTo>
                  <a:lnTo>
                    <a:pt x="14869" y="21397"/>
                  </a:lnTo>
                  <a:lnTo>
                    <a:pt x="16058" y="21309"/>
                  </a:lnTo>
                  <a:lnTo>
                    <a:pt x="16910" y="20437"/>
                  </a:lnTo>
                  <a:lnTo>
                    <a:pt x="18810" y="20357"/>
                  </a:lnTo>
                  <a:lnTo>
                    <a:pt x="18823" y="19572"/>
                  </a:lnTo>
                  <a:lnTo>
                    <a:pt x="18074" y="19476"/>
                  </a:lnTo>
                  <a:lnTo>
                    <a:pt x="17511" y="18660"/>
                  </a:lnTo>
                  <a:lnTo>
                    <a:pt x="17300" y="18137"/>
                  </a:lnTo>
                  <a:lnTo>
                    <a:pt x="16647" y="17621"/>
                  </a:lnTo>
                  <a:lnTo>
                    <a:pt x="16040" y="17114"/>
                  </a:lnTo>
                  <a:lnTo>
                    <a:pt x="14926" y="16874"/>
                  </a:lnTo>
                  <a:lnTo>
                    <a:pt x="15240" y="16127"/>
                  </a:lnTo>
                  <a:lnTo>
                    <a:pt x="16360" y="16069"/>
                  </a:lnTo>
                  <a:lnTo>
                    <a:pt x="16360" y="14708"/>
                  </a:lnTo>
                  <a:lnTo>
                    <a:pt x="16846" y="13563"/>
                  </a:lnTo>
                  <a:lnTo>
                    <a:pt x="17601" y="13269"/>
                  </a:lnTo>
                  <a:lnTo>
                    <a:pt x="17646" y="12277"/>
                  </a:lnTo>
                  <a:lnTo>
                    <a:pt x="18298" y="11380"/>
                  </a:lnTo>
                  <a:lnTo>
                    <a:pt x="18964" y="11140"/>
                  </a:lnTo>
                  <a:lnTo>
                    <a:pt x="19105" y="10489"/>
                  </a:lnTo>
                  <a:lnTo>
                    <a:pt x="19322" y="9456"/>
                  </a:lnTo>
                  <a:lnTo>
                    <a:pt x="19245" y="8634"/>
                  </a:lnTo>
                  <a:lnTo>
                    <a:pt x="19463" y="7897"/>
                  </a:lnTo>
                  <a:lnTo>
                    <a:pt x="19565" y="7141"/>
                  </a:lnTo>
                  <a:lnTo>
                    <a:pt x="19604" y="6528"/>
                  </a:lnTo>
                  <a:lnTo>
                    <a:pt x="20320" y="6474"/>
                  </a:lnTo>
                  <a:lnTo>
                    <a:pt x="20365" y="5925"/>
                  </a:lnTo>
                  <a:lnTo>
                    <a:pt x="21178" y="5967"/>
                  </a:lnTo>
                  <a:lnTo>
                    <a:pt x="21600" y="5380"/>
                  </a:lnTo>
                  <a:lnTo>
                    <a:pt x="20941" y="4938"/>
                  </a:lnTo>
                  <a:lnTo>
                    <a:pt x="20250" y="4389"/>
                  </a:lnTo>
                  <a:lnTo>
                    <a:pt x="19789" y="3536"/>
                  </a:lnTo>
                  <a:lnTo>
                    <a:pt x="19591" y="2847"/>
                  </a:lnTo>
                  <a:lnTo>
                    <a:pt x="19348" y="1825"/>
                  </a:lnTo>
                  <a:lnTo>
                    <a:pt x="19053" y="987"/>
                  </a:lnTo>
                  <a:lnTo>
                    <a:pt x="18369" y="555"/>
                  </a:lnTo>
                  <a:lnTo>
                    <a:pt x="17249" y="0"/>
                  </a:lnTo>
                  <a:lnTo>
                    <a:pt x="16545" y="176"/>
                  </a:lnTo>
                  <a:lnTo>
                    <a:pt x="16270" y="736"/>
                  </a:lnTo>
                  <a:lnTo>
                    <a:pt x="15508" y="747"/>
                  </a:lnTo>
                  <a:lnTo>
                    <a:pt x="15093" y="1297"/>
                  </a:lnTo>
                  <a:lnTo>
                    <a:pt x="14498" y="1078"/>
                  </a:lnTo>
                  <a:lnTo>
                    <a:pt x="12821" y="1099"/>
                  </a:lnTo>
                  <a:lnTo>
                    <a:pt x="10674" y="1126"/>
                  </a:lnTo>
                  <a:lnTo>
                    <a:pt x="7315" y="1110"/>
                  </a:lnTo>
                  <a:lnTo>
                    <a:pt x="5539" y="1142"/>
                  </a:lnTo>
                  <a:lnTo>
                    <a:pt x="3973" y="1205"/>
                  </a:lnTo>
                  <a:close/>
                  <a:moveTo>
                    <a:pt x="3973" y="1205"/>
                  </a:moveTo>
                </a:path>
              </a:pathLst>
            </a:custGeom>
            <a:solidFill>
              <a:srgbClr val="002060">
                <a:lumMod val="25000"/>
                <a:lumOff val="75000"/>
              </a:srgbClr>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31" name="Freeform 2">
              <a:extLst>
                <a:ext uri="{FF2B5EF4-FFF2-40B4-BE49-F238E27FC236}">
                  <a16:creationId xmlns:a16="http://schemas.microsoft.com/office/drawing/2014/main" id="{0826BA11-81F3-4455-A60D-18F2DAA35087}"/>
                </a:ext>
              </a:extLst>
            </p:cNvPr>
            <p:cNvSpPr>
              <a:spLocks/>
            </p:cNvSpPr>
            <p:nvPr/>
          </p:nvSpPr>
          <p:spPr bwMode="auto">
            <a:xfrm>
              <a:off x="2530250" y="1328223"/>
              <a:ext cx="1410070" cy="1058920"/>
            </a:xfrm>
            <a:custGeom>
              <a:avLst/>
              <a:gdLst>
                <a:gd name="T0" fmla="*/ 188318561 w 21600"/>
                <a:gd name="T1" fmla="*/ 63495235 h 21600"/>
                <a:gd name="T2" fmla="*/ 188982752 w 21600"/>
                <a:gd name="T3" fmla="*/ 55675424 h 21600"/>
                <a:gd name="T4" fmla="*/ 190122515 w 21600"/>
                <a:gd name="T5" fmla="*/ 48427464 h 21600"/>
                <a:gd name="T6" fmla="*/ 190068705 w 21600"/>
                <a:gd name="T7" fmla="*/ 41786928 h 21600"/>
                <a:gd name="T8" fmla="*/ 191809754 w 21600"/>
                <a:gd name="T9" fmla="*/ 36457283 h 21600"/>
                <a:gd name="T10" fmla="*/ 193856041 w 21600"/>
                <a:gd name="T11" fmla="*/ 30672105 h 21600"/>
                <a:gd name="T12" fmla="*/ 191450801 w 21600"/>
                <a:gd name="T13" fmla="*/ 25701806 h 21600"/>
                <a:gd name="T14" fmla="*/ 186936465 w 21600"/>
                <a:gd name="T15" fmla="*/ 21004839 h 21600"/>
                <a:gd name="T16" fmla="*/ 185428654 w 21600"/>
                <a:gd name="T17" fmla="*/ 14769181 h 21600"/>
                <a:gd name="T18" fmla="*/ 184288891 w 21600"/>
                <a:gd name="T19" fmla="*/ 6185004 h 21600"/>
                <a:gd name="T20" fmla="*/ 174847361 w 21600"/>
                <a:gd name="T21" fmla="*/ 8897920 h 21600"/>
                <a:gd name="T22" fmla="*/ 167622642 w 21600"/>
                <a:gd name="T23" fmla="*/ 5147447 h 21600"/>
                <a:gd name="T24" fmla="*/ 158297826 w 21600"/>
                <a:gd name="T25" fmla="*/ 2439582 h 21600"/>
                <a:gd name="T26" fmla="*/ 146792103 w 21600"/>
                <a:gd name="T27" fmla="*/ 0 h 21600"/>
                <a:gd name="T28" fmla="*/ 139289146 w 21600"/>
                <a:gd name="T29" fmla="*/ 4013704 h 21600"/>
                <a:gd name="T30" fmla="*/ 125638422 w 21600"/>
                <a:gd name="T31" fmla="*/ 9991182 h 21600"/>
                <a:gd name="T32" fmla="*/ 109035076 w 21600"/>
                <a:gd name="T33" fmla="*/ 16996187 h 21600"/>
                <a:gd name="T34" fmla="*/ 94818971 w 21600"/>
                <a:gd name="T35" fmla="*/ 23535485 h 21600"/>
                <a:gd name="T36" fmla="*/ 83753011 w 21600"/>
                <a:gd name="T37" fmla="*/ 29902759 h 21600"/>
                <a:gd name="T38" fmla="*/ 71780622 w 21600"/>
                <a:gd name="T39" fmla="*/ 37722641 h 21600"/>
                <a:gd name="T40" fmla="*/ 60463328 w 21600"/>
                <a:gd name="T41" fmla="*/ 39028481 h 21600"/>
                <a:gd name="T42" fmla="*/ 50339702 w 21600"/>
                <a:gd name="T43" fmla="*/ 38603327 h 21600"/>
                <a:gd name="T44" fmla="*/ 50339702 w 21600"/>
                <a:gd name="T45" fmla="*/ 51297323 h 21600"/>
                <a:gd name="T46" fmla="*/ 50106369 w 21600"/>
                <a:gd name="T47" fmla="*/ 61414998 h 21600"/>
                <a:gd name="T48" fmla="*/ 46992128 w 21600"/>
                <a:gd name="T49" fmla="*/ 69523367 h 21600"/>
                <a:gd name="T50" fmla="*/ 40494409 w 21600"/>
                <a:gd name="T51" fmla="*/ 75445211 h 21600"/>
                <a:gd name="T52" fmla="*/ 13713533 w 21600"/>
                <a:gd name="T53" fmla="*/ 76077891 h 21600"/>
                <a:gd name="T54" fmla="*/ 8660720 w 21600"/>
                <a:gd name="T55" fmla="*/ 79059089 h 21600"/>
                <a:gd name="T56" fmla="*/ 0 w 21600"/>
                <a:gd name="T57" fmla="*/ 78603557 h 21600"/>
                <a:gd name="T58" fmla="*/ 358953 w 21600"/>
                <a:gd name="T59" fmla="*/ 87460996 h 21600"/>
                <a:gd name="T60" fmla="*/ 8849149 w 21600"/>
                <a:gd name="T61" fmla="*/ 93281603 h 21600"/>
                <a:gd name="T62" fmla="*/ 10051816 w 21600"/>
                <a:gd name="T63" fmla="*/ 99567844 h 21600"/>
                <a:gd name="T64" fmla="*/ 18712537 w 21600"/>
                <a:gd name="T65" fmla="*/ 101374818 h 21600"/>
                <a:gd name="T66" fmla="*/ 21853682 w 21600"/>
                <a:gd name="T67" fmla="*/ 105995875 h 21600"/>
                <a:gd name="T68" fmla="*/ 29661783 w 21600"/>
                <a:gd name="T69" fmla="*/ 104851958 h 21600"/>
                <a:gd name="T70" fmla="*/ 39587885 w 21600"/>
                <a:gd name="T71" fmla="*/ 109326245 h 21600"/>
                <a:gd name="T72" fmla="*/ 41203410 w 21600"/>
                <a:gd name="T73" fmla="*/ 104143368 h 21600"/>
                <a:gd name="T74" fmla="*/ 45735651 w 21600"/>
                <a:gd name="T75" fmla="*/ 100190421 h 21600"/>
                <a:gd name="T76" fmla="*/ 47108842 w 21600"/>
                <a:gd name="T77" fmla="*/ 94329333 h 21600"/>
                <a:gd name="T78" fmla="*/ 52107751 w 21600"/>
                <a:gd name="T79" fmla="*/ 91661950 h 21600"/>
                <a:gd name="T80" fmla="*/ 63299425 w 21600"/>
                <a:gd name="T81" fmla="*/ 90533258 h 21600"/>
                <a:gd name="T82" fmla="*/ 73342242 w 21600"/>
                <a:gd name="T83" fmla="*/ 92385764 h 21600"/>
                <a:gd name="T84" fmla="*/ 80082294 w 21600"/>
                <a:gd name="T85" fmla="*/ 97624274 h 21600"/>
                <a:gd name="T86" fmla="*/ 91570017 w 21600"/>
                <a:gd name="T87" fmla="*/ 96090705 h 21600"/>
                <a:gd name="T88" fmla="*/ 100060213 w 21600"/>
                <a:gd name="T89" fmla="*/ 98074755 h 21600"/>
                <a:gd name="T90" fmla="*/ 113414794 w 21600"/>
                <a:gd name="T91" fmla="*/ 99972793 h 21600"/>
                <a:gd name="T92" fmla="*/ 125746136 w 21600"/>
                <a:gd name="T93" fmla="*/ 95680705 h 21600"/>
                <a:gd name="T94" fmla="*/ 138140383 w 21600"/>
                <a:gd name="T95" fmla="*/ 95549089 h 21600"/>
                <a:gd name="T96" fmla="*/ 148910200 w 21600"/>
                <a:gd name="T97" fmla="*/ 98530287 h 21600"/>
                <a:gd name="T98" fmla="*/ 157543920 w 21600"/>
                <a:gd name="T99" fmla="*/ 93514456 h 21600"/>
                <a:gd name="T100" fmla="*/ 162632638 w 21600"/>
                <a:gd name="T101" fmla="*/ 89698104 h 21600"/>
                <a:gd name="T102" fmla="*/ 164975068 w 21600"/>
                <a:gd name="T103" fmla="*/ 83396709 h 21600"/>
                <a:gd name="T104" fmla="*/ 170386929 w 21600"/>
                <a:gd name="T105" fmla="*/ 77884794 h 21600"/>
                <a:gd name="T106" fmla="*/ 177494934 w 21600"/>
                <a:gd name="T107" fmla="*/ 71062059 h 21600"/>
                <a:gd name="T108" fmla="*/ 188318561 w 21600"/>
                <a:gd name="T109" fmla="*/ 63495235 h 21600"/>
                <a:gd name="T110" fmla="*/ 188318561 w 21600"/>
                <a:gd name="T111" fmla="*/ 63495235 h 216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1600" h="21600">
                  <a:moveTo>
                    <a:pt x="20983" y="12545"/>
                  </a:moveTo>
                  <a:lnTo>
                    <a:pt x="21057" y="11000"/>
                  </a:lnTo>
                  <a:lnTo>
                    <a:pt x="21184" y="9568"/>
                  </a:lnTo>
                  <a:lnTo>
                    <a:pt x="21178" y="8256"/>
                  </a:lnTo>
                  <a:lnTo>
                    <a:pt x="21372" y="7203"/>
                  </a:lnTo>
                  <a:lnTo>
                    <a:pt x="21600" y="6060"/>
                  </a:lnTo>
                  <a:lnTo>
                    <a:pt x="21332" y="5078"/>
                  </a:lnTo>
                  <a:lnTo>
                    <a:pt x="20829" y="4150"/>
                  </a:lnTo>
                  <a:lnTo>
                    <a:pt x="20661" y="2918"/>
                  </a:lnTo>
                  <a:lnTo>
                    <a:pt x="20534" y="1222"/>
                  </a:lnTo>
                  <a:lnTo>
                    <a:pt x="19482" y="1758"/>
                  </a:lnTo>
                  <a:lnTo>
                    <a:pt x="18677" y="1017"/>
                  </a:lnTo>
                  <a:lnTo>
                    <a:pt x="17638" y="482"/>
                  </a:lnTo>
                  <a:lnTo>
                    <a:pt x="16356" y="0"/>
                  </a:lnTo>
                  <a:lnTo>
                    <a:pt x="15520" y="793"/>
                  </a:lnTo>
                  <a:lnTo>
                    <a:pt x="13999" y="1974"/>
                  </a:lnTo>
                  <a:lnTo>
                    <a:pt x="12149" y="3358"/>
                  </a:lnTo>
                  <a:lnTo>
                    <a:pt x="10565" y="4650"/>
                  </a:lnTo>
                  <a:lnTo>
                    <a:pt x="9332" y="5908"/>
                  </a:lnTo>
                  <a:lnTo>
                    <a:pt x="7998" y="7453"/>
                  </a:lnTo>
                  <a:lnTo>
                    <a:pt x="6737" y="7711"/>
                  </a:lnTo>
                  <a:lnTo>
                    <a:pt x="5609" y="7627"/>
                  </a:lnTo>
                  <a:lnTo>
                    <a:pt x="5609" y="10135"/>
                  </a:lnTo>
                  <a:lnTo>
                    <a:pt x="5583" y="12134"/>
                  </a:lnTo>
                  <a:lnTo>
                    <a:pt x="5236" y="13736"/>
                  </a:lnTo>
                  <a:lnTo>
                    <a:pt x="4512" y="14906"/>
                  </a:lnTo>
                  <a:lnTo>
                    <a:pt x="1528" y="15031"/>
                  </a:lnTo>
                  <a:lnTo>
                    <a:pt x="965" y="15620"/>
                  </a:lnTo>
                  <a:lnTo>
                    <a:pt x="0" y="15530"/>
                  </a:lnTo>
                  <a:lnTo>
                    <a:pt x="40" y="17280"/>
                  </a:lnTo>
                  <a:lnTo>
                    <a:pt x="986" y="18430"/>
                  </a:lnTo>
                  <a:lnTo>
                    <a:pt x="1120" y="19672"/>
                  </a:lnTo>
                  <a:lnTo>
                    <a:pt x="2085" y="20029"/>
                  </a:lnTo>
                  <a:lnTo>
                    <a:pt x="2435" y="20942"/>
                  </a:lnTo>
                  <a:lnTo>
                    <a:pt x="3305" y="20716"/>
                  </a:lnTo>
                  <a:lnTo>
                    <a:pt x="4411" y="21600"/>
                  </a:lnTo>
                  <a:lnTo>
                    <a:pt x="4591" y="20576"/>
                  </a:lnTo>
                  <a:lnTo>
                    <a:pt x="5096" y="19795"/>
                  </a:lnTo>
                  <a:lnTo>
                    <a:pt x="5249" y="18637"/>
                  </a:lnTo>
                  <a:lnTo>
                    <a:pt x="5806" y="18110"/>
                  </a:lnTo>
                  <a:lnTo>
                    <a:pt x="7053" y="17887"/>
                  </a:lnTo>
                  <a:lnTo>
                    <a:pt x="8172" y="18253"/>
                  </a:lnTo>
                  <a:lnTo>
                    <a:pt x="8923" y="19288"/>
                  </a:lnTo>
                  <a:lnTo>
                    <a:pt x="10203" y="18985"/>
                  </a:lnTo>
                  <a:lnTo>
                    <a:pt x="11149" y="19377"/>
                  </a:lnTo>
                  <a:lnTo>
                    <a:pt x="12637" y="19752"/>
                  </a:lnTo>
                  <a:lnTo>
                    <a:pt x="14011" y="18904"/>
                  </a:lnTo>
                  <a:lnTo>
                    <a:pt x="15392" y="18878"/>
                  </a:lnTo>
                  <a:lnTo>
                    <a:pt x="16592" y="19467"/>
                  </a:lnTo>
                  <a:lnTo>
                    <a:pt x="17554" y="18476"/>
                  </a:lnTo>
                  <a:lnTo>
                    <a:pt x="18121" y="17722"/>
                  </a:lnTo>
                  <a:lnTo>
                    <a:pt x="18382" y="16477"/>
                  </a:lnTo>
                  <a:lnTo>
                    <a:pt x="18985" y="15388"/>
                  </a:lnTo>
                  <a:lnTo>
                    <a:pt x="19777" y="14040"/>
                  </a:lnTo>
                  <a:lnTo>
                    <a:pt x="20983" y="12545"/>
                  </a:lnTo>
                  <a:close/>
                  <a:moveTo>
                    <a:pt x="20983" y="12545"/>
                  </a:moveTo>
                </a:path>
              </a:pathLst>
            </a:custGeom>
            <a:solidFill>
              <a:srgbClr val="002060">
                <a:lumMod val="25000"/>
                <a:lumOff val="75000"/>
              </a:srgbClr>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32" name="Freeform 3">
              <a:extLst>
                <a:ext uri="{FF2B5EF4-FFF2-40B4-BE49-F238E27FC236}">
                  <a16:creationId xmlns:a16="http://schemas.microsoft.com/office/drawing/2014/main" id="{F5A1F740-CB7C-43AC-9C00-00E077A3950F}"/>
                </a:ext>
              </a:extLst>
            </p:cNvPr>
            <p:cNvSpPr>
              <a:spLocks/>
            </p:cNvSpPr>
            <p:nvPr/>
          </p:nvSpPr>
          <p:spPr bwMode="auto">
            <a:xfrm>
              <a:off x="3566198" y="4014905"/>
              <a:ext cx="1101583" cy="1104865"/>
            </a:xfrm>
            <a:custGeom>
              <a:avLst/>
              <a:gdLst>
                <a:gd name="T0" fmla="*/ 2147483646 w 21600"/>
                <a:gd name="T1" fmla="*/ 2147483646 h 21600"/>
                <a:gd name="T2" fmla="*/ 0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0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2147483646 w 21600"/>
                <a:gd name="T99" fmla="*/ 2147483646 h 21600"/>
                <a:gd name="T100" fmla="*/ 2147483646 w 21600"/>
                <a:gd name="T101" fmla="*/ 2147483646 h 21600"/>
                <a:gd name="T102" fmla="*/ 2147483646 w 21600"/>
                <a:gd name="T103" fmla="*/ 2147483646 h 21600"/>
                <a:gd name="T104" fmla="*/ 2147483646 w 21600"/>
                <a:gd name="T105" fmla="*/ 2147483646 h 21600"/>
                <a:gd name="T106" fmla="*/ 2147483646 w 21600"/>
                <a:gd name="T107" fmla="*/ 2147483646 h 21600"/>
                <a:gd name="T108" fmla="*/ 2147483646 w 21600"/>
                <a:gd name="T109" fmla="*/ 2147483646 h 21600"/>
                <a:gd name="T110" fmla="*/ 2147483646 w 21600"/>
                <a:gd name="T111" fmla="*/ 2147483646 h 21600"/>
                <a:gd name="T112" fmla="*/ 2147483646 w 21600"/>
                <a:gd name="T113" fmla="*/ 2147483646 h 21600"/>
                <a:gd name="T114" fmla="*/ 2147483646 w 21600"/>
                <a:gd name="T115" fmla="*/ 2147483646 h 21600"/>
                <a:gd name="T116" fmla="*/ 2147483646 w 21600"/>
                <a:gd name="T117" fmla="*/ 2147483646 h 21600"/>
                <a:gd name="T118" fmla="*/ 2147483646 w 21600"/>
                <a:gd name="T119" fmla="*/ 2147483646 h 21600"/>
                <a:gd name="T120" fmla="*/ 2147483646 w 21600"/>
                <a:gd name="T121" fmla="*/ 2147483646 h 2160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1600" h="21600">
                  <a:moveTo>
                    <a:pt x="21" y="20688"/>
                  </a:moveTo>
                  <a:lnTo>
                    <a:pt x="0" y="19176"/>
                  </a:lnTo>
                  <a:lnTo>
                    <a:pt x="63" y="17927"/>
                  </a:lnTo>
                  <a:lnTo>
                    <a:pt x="610" y="16341"/>
                  </a:lnTo>
                  <a:lnTo>
                    <a:pt x="1042" y="14063"/>
                  </a:lnTo>
                  <a:lnTo>
                    <a:pt x="1910" y="12489"/>
                  </a:lnTo>
                  <a:lnTo>
                    <a:pt x="2847" y="12069"/>
                  </a:lnTo>
                  <a:lnTo>
                    <a:pt x="3173" y="10903"/>
                  </a:lnTo>
                  <a:lnTo>
                    <a:pt x="3184" y="9349"/>
                  </a:lnTo>
                  <a:lnTo>
                    <a:pt x="2626" y="8079"/>
                  </a:lnTo>
                  <a:lnTo>
                    <a:pt x="2047" y="6897"/>
                  </a:lnTo>
                  <a:lnTo>
                    <a:pt x="1647" y="5742"/>
                  </a:lnTo>
                  <a:lnTo>
                    <a:pt x="2573" y="5490"/>
                  </a:lnTo>
                  <a:lnTo>
                    <a:pt x="2216" y="4418"/>
                  </a:lnTo>
                  <a:lnTo>
                    <a:pt x="1637" y="3326"/>
                  </a:lnTo>
                  <a:lnTo>
                    <a:pt x="1310" y="2098"/>
                  </a:lnTo>
                  <a:lnTo>
                    <a:pt x="659" y="959"/>
                  </a:lnTo>
                  <a:lnTo>
                    <a:pt x="2110" y="368"/>
                  </a:lnTo>
                  <a:lnTo>
                    <a:pt x="3510" y="168"/>
                  </a:lnTo>
                  <a:lnTo>
                    <a:pt x="4994" y="137"/>
                  </a:lnTo>
                  <a:lnTo>
                    <a:pt x="6342" y="0"/>
                  </a:lnTo>
                  <a:lnTo>
                    <a:pt x="8047" y="126"/>
                  </a:lnTo>
                  <a:lnTo>
                    <a:pt x="8605" y="1449"/>
                  </a:lnTo>
                  <a:lnTo>
                    <a:pt x="8942" y="2678"/>
                  </a:lnTo>
                  <a:lnTo>
                    <a:pt x="9899" y="3875"/>
                  </a:lnTo>
                  <a:lnTo>
                    <a:pt x="11110" y="3948"/>
                  </a:lnTo>
                  <a:lnTo>
                    <a:pt x="12384" y="3906"/>
                  </a:lnTo>
                  <a:lnTo>
                    <a:pt x="13257" y="3812"/>
                  </a:lnTo>
                  <a:lnTo>
                    <a:pt x="13569" y="2176"/>
                  </a:lnTo>
                  <a:lnTo>
                    <a:pt x="14800" y="2226"/>
                  </a:lnTo>
                  <a:lnTo>
                    <a:pt x="15653" y="2394"/>
                  </a:lnTo>
                  <a:lnTo>
                    <a:pt x="16569" y="2657"/>
                  </a:lnTo>
                  <a:lnTo>
                    <a:pt x="17621" y="2751"/>
                  </a:lnTo>
                  <a:lnTo>
                    <a:pt x="17632" y="4715"/>
                  </a:lnTo>
                  <a:lnTo>
                    <a:pt x="17621" y="6799"/>
                  </a:lnTo>
                  <a:lnTo>
                    <a:pt x="18484" y="7817"/>
                  </a:lnTo>
                  <a:lnTo>
                    <a:pt x="18579" y="9476"/>
                  </a:lnTo>
                  <a:lnTo>
                    <a:pt x="19811" y="9466"/>
                  </a:lnTo>
                  <a:lnTo>
                    <a:pt x="21600" y="9361"/>
                  </a:lnTo>
                  <a:lnTo>
                    <a:pt x="21547" y="11125"/>
                  </a:lnTo>
                  <a:lnTo>
                    <a:pt x="21447" y="12661"/>
                  </a:lnTo>
                  <a:lnTo>
                    <a:pt x="19793" y="12867"/>
                  </a:lnTo>
                  <a:lnTo>
                    <a:pt x="17958" y="12839"/>
                  </a:lnTo>
                  <a:lnTo>
                    <a:pt x="17948" y="15390"/>
                  </a:lnTo>
                  <a:lnTo>
                    <a:pt x="18053" y="17389"/>
                  </a:lnTo>
                  <a:lnTo>
                    <a:pt x="18060" y="18906"/>
                  </a:lnTo>
                  <a:lnTo>
                    <a:pt x="19021" y="19825"/>
                  </a:lnTo>
                  <a:lnTo>
                    <a:pt x="20147" y="21148"/>
                  </a:lnTo>
                  <a:lnTo>
                    <a:pt x="18453" y="21390"/>
                  </a:lnTo>
                  <a:lnTo>
                    <a:pt x="16632" y="21600"/>
                  </a:lnTo>
                  <a:lnTo>
                    <a:pt x="15190" y="21526"/>
                  </a:lnTo>
                  <a:lnTo>
                    <a:pt x="12832" y="21484"/>
                  </a:lnTo>
                  <a:lnTo>
                    <a:pt x="11579" y="20749"/>
                  </a:lnTo>
                  <a:lnTo>
                    <a:pt x="9274" y="20760"/>
                  </a:lnTo>
                  <a:lnTo>
                    <a:pt x="7168" y="20781"/>
                  </a:lnTo>
                  <a:lnTo>
                    <a:pt x="4926" y="20823"/>
                  </a:lnTo>
                  <a:lnTo>
                    <a:pt x="3579" y="20749"/>
                  </a:lnTo>
                  <a:lnTo>
                    <a:pt x="2758" y="19993"/>
                  </a:lnTo>
                  <a:lnTo>
                    <a:pt x="1852" y="20224"/>
                  </a:lnTo>
                  <a:lnTo>
                    <a:pt x="21" y="20688"/>
                  </a:lnTo>
                  <a:close/>
                  <a:moveTo>
                    <a:pt x="21" y="20688"/>
                  </a:moveTo>
                </a:path>
              </a:pathLst>
            </a:custGeom>
            <a:solidFill>
              <a:srgbClr val="FFCA08"/>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333" name="Freeform 4">
              <a:extLst>
                <a:ext uri="{FF2B5EF4-FFF2-40B4-BE49-F238E27FC236}">
                  <a16:creationId xmlns:a16="http://schemas.microsoft.com/office/drawing/2014/main" id="{FE05D4CE-B75A-4FD0-A136-5AB760102BD0}"/>
                </a:ext>
              </a:extLst>
            </p:cNvPr>
            <p:cNvSpPr>
              <a:spLocks/>
            </p:cNvSpPr>
            <p:nvPr/>
          </p:nvSpPr>
          <p:spPr bwMode="auto">
            <a:xfrm>
              <a:off x="3788265" y="2485597"/>
              <a:ext cx="1178157" cy="802941"/>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0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0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2147483646 w 21600"/>
                <a:gd name="T99" fmla="*/ 2147483646 h 21600"/>
                <a:gd name="T100" fmla="*/ 2147483646 w 21600"/>
                <a:gd name="T101" fmla="*/ 2147483646 h 21600"/>
                <a:gd name="T102" fmla="*/ 2147483646 w 21600"/>
                <a:gd name="T103" fmla="*/ 2147483646 h 21600"/>
                <a:gd name="T104" fmla="*/ 2147483646 w 21600"/>
                <a:gd name="T105" fmla="*/ 2147483646 h 21600"/>
                <a:gd name="T106" fmla="*/ 2147483646 w 21600"/>
                <a:gd name="T107" fmla="*/ 2147483646 h 21600"/>
                <a:gd name="T108" fmla="*/ 2147483646 w 21600"/>
                <a:gd name="T109" fmla="*/ 2147483646 h 21600"/>
                <a:gd name="T110" fmla="*/ 2147483646 w 21600"/>
                <a:gd name="T111" fmla="*/ 2147483646 h 216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1600" h="21600">
                  <a:moveTo>
                    <a:pt x="2826" y="21600"/>
                  </a:moveTo>
                  <a:lnTo>
                    <a:pt x="2797" y="19562"/>
                  </a:lnTo>
                  <a:lnTo>
                    <a:pt x="2054" y="18759"/>
                  </a:lnTo>
                  <a:lnTo>
                    <a:pt x="1301" y="17525"/>
                  </a:lnTo>
                  <a:lnTo>
                    <a:pt x="1203" y="16291"/>
                  </a:lnTo>
                  <a:lnTo>
                    <a:pt x="421" y="15013"/>
                  </a:lnTo>
                  <a:lnTo>
                    <a:pt x="421" y="13248"/>
                  </a:lnTo>
                  <a:lnTo>
                    <a:pt x="0" y="12107"/>
                  </a:lnTo>
                  <a:lnTo>
                    <a:pt x="724" y="10988"/>
                  </a:lnTo>
                  <a:lnTo>
                    <a:pt x="1164" y="9811"/>
                  </a:lnTo>
                  <a:lnTo>
                    <a:pt x="1886" y="8192"/>
                  </a:lnTo>
                  <a:lnTo>
                    <a:pt x="2866" y="8376"/>
                  </a:lnTo>
                  <a:lnTo>
                    <a:pt x="3648" y="7443"/>
                  </a:lnTo>
                  <a:lnTo>
                    <a:pt x="4205" y="8477"/>
                  </a:lnTo>
                  <a:lnTo>
                    <a:pt x="4841" y="7429"/>
                  </a:lnTo>
                  <a:lnTo>
                    <a:pt x="5800" y="7171"/>
                  </a:lnTo>
                  <a:lnTo>
                    <a:pt x="7022" y="6984"/>
                  </a:lnTo>
                  <a:lnTo>
                    <a:pt x="7892" y="6195"/>
                  </a:lnTo>
                  <a:lnTo>
                    <a:pt x="7677" y="4703"/>
                  </a:lnTo>
                  <a:lnTo>
                    <a:pt x="9506" y="4601"/>
                  </a:lnTo>
                  <a:lnTo>
                    <a:pt x="10719" y="3553"/>
                  </a:lnTo>
                  <a:lnTo>
                    <a:pt x="11844" y="1808"/>
                  </a:lnTo>
                  <a:lnTo>
                    <a:pt x="12372" y="588"/>
                  </a:lnTo>
                  <a:lnTo>
                    <a:pt x="13207" y="57"/>
                  </a:lnTo>
                  <a:lnTo>
                    <a:pt x="14263" y="0"/>
                  </a:lnTo>
                  <a:lnTo>
                    <a:pt x="14948" y="1492"/>
                  </a:lnTo>
                  <a:lnTo>
                    <a:pt x="15476" y="3157"/>
                  </a:lnTo>
                  <a:lnTo>
                    <a:pt x="15300" y="5396"/>
                  </a:lnTo>
                  <a:lnTo>
                    <a:pt x="16238" y="5306"/>
                  </a:lnTo>
                  <a:lnTo>
                    <a:pt x="16884" y="6558"/>
                  </a:lnTo>
                  <a:lnTo>
                    <a:pt x="17960" y="7261"/>
                  </a:lnTo>
                  <a:lnTo>
                    <a:pt x="18716" y="8908"/>
                  </a:lnTo>
                  <a:lnTo>
                    <a:pt x="19311" y="9399"/>
                  </a:lnTo>
                  <a:lnTo>
                    <a:pt x="20133" y="10972"/>
                  </a:lnTo>
                  <a:lnTo>
                    <a:pt x="20700" y="12249"/>
                  </a:lnTo>
                  <a:lnTo>
                    <a:pt x="21600" y="13368"/>
                  </a:lnTo>
                  <a:lnTo>
                    <a:pt x="20816" y="14571"/>
                  </a:lnTo>
                  <a:lnTo>
                    <a:pt x="19684" y="14118"/>
                  </a:lnTo>
                  <a:lnTo>
                    <a:pt x="18493" y="13841"/>
                  </a:lnTo>
                  <a:lnTo>
                    <a:pt x="17884" y="14747"/>
                  </a:lnTo>
                  <a:lnTo>
                    <a:pt x="16864" y="14533"/>
                  </a:lnTo>
                  <a:lnTo>
                    <a:pt x="15886" y="15087"/>
                  </a:lnTo>
                  <a:lnTo>
                    <a:pt x="14961" y="15313"/>
                  </a:lnTo>
                  <a:lnTo>
                    <a:pt x="14137" y="15175"/>
                  </a:lnTo>
                  <a:lnTo>
                    <a:pt x="13623" y="16684"/>
                  </a:lnTo>
                  <a:lnTo>
                    <a:pt x="11543" y="16525"/>
                  </a:lnTo>
                  <a:lnTo>
                    <a:pt x="10260" y="15886"/>
                  </a:lnTo>
                  <a:lnTo>
                    <a:pt x="9448" y="14546"/>
                  </a:lnTo>
                  <a:lnTo>
                    <a:pt x="8239" y="14533"/>
                  </a:lnTo>
                  <a:lnTo>
                    <a:pt x="7329" y="16143"/>
                  </a:lnTo>
                  <a:lnTo>
                    <a:pt x="6995" y="18093"/>
                  </a:lnTo>
                  <a:lnTo>
                    <a:pt x="5152" y="18294"/>
                  </a:lnTo>
                  <a:lnTo>
                    <a:pt x="3806" y="18294"/>
                  </a:lnTo>
                  <a:lnTo>
                    <a:pt x="3592" y="19828"/>
                  </a:lnTo>
                  <a:lnTo>
                    <a:pt x="2826" y="21600"/>
                  </a:lnTo>
                  <a:close/>
                  <a:moveTo>
                    <a:pt x="2826" y="21600"/>
                  </a:moveTo>
                </a:path>
              </a:pathLst>
            </a:custGeom>
            <a:solidFill>
              <a:srgbClr val="E6E6E6"/>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334" name="Freeform 5">
              <a:extLst>
                <a:ext uri="{FF2B5EF4-FFF2-40B4-BE49-F238E27FC236}">
                  <a16:creationId xmlns:a16="http://schemas.microsoft.com/office/drawing/2014/main" id="{E0F34855-CA90-495B-96E9-18252BB1D5F2}"/>
                </a:ext>
              </a:extLst>
            </p:cNvPr>
            <p:cNvSpPr>
              <a:spLocks/>
            </p:cNvSpPr>
            <p:nvPr/>
          </p:nvSpPr>
          <p:spPr bwMode="auto">
            <a:xfrm>
              <a:off x="3712783" y="1352290"/>
              <a:ext cx="949527" cy="1446169"/>
            </a:xfrm>
            <a:custGeom>
              <a:avLst/>
              <a:gdLst>
                <a:gd name="T0" fmla="*/ 48290704 w 21600"/>
                <a:gd name="T1" fmla="*/ 2147483646 h 21600"/>
                <a:gd name="T2" fmla="*/ 772891772 w 21600"/>
                <a:gd name="T3" fmla="*/ 2147483646 h 21600"/>
                <a:gd name="T4" fmla="*/ 1122081846 w 21600"/>
                <a:gd name="T5" fmla="*/ 2147483646 h 21600"/>
                <a:gd name="T6" fmla="*/ 1163620978 w 21600"/>
                <a:gd name="T7" fmla="*/ 2147483646 h 21600"/>
                <a:gd name="T8" fmla="*/ 1342499366 w 21600"/>
                <a:gd name="T9" fmla="*/ 2147483646 h 21600"/>
                <a:gd name="T10" fmla="*/ 1083135110 w 21600"/>
                <a:gd name="T11" fmla="*/ 2147483646 h 21600"/>
                <a:gd name="T12" fmla="*/ 945795854 w 21600"/>
                <a:gd name="T13" fmla="*/ 487965839 h 21600"/>
                <a:gd name="T14" fmla="*/ 1570706194 w 21600"/>
                <a:gd name="T15" fmla="*/ 0 h 21600"/>
                <a:gd name="T16" fmla="*/ 2147483646 w 21600"/>
                <a:gd name="T17" fmla="*/ 1112588553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022704352 w 21600"/>
                <a:gd name="T47" fmla="*/ 2147483646 h 21600"/>
                <a:gd name="T48" fmla="*/ 1610426241 w 21600"/>
                <a:gd name="T49" fmla="*/ 2147483646 h 21600"/>
                <a:gd name="T50" fmla="*/ 1040818648 w 21600"/>
                <a:gd name="T51" fmla="*/ 2147483646 h 21600"/>
                <a:gd name="T52" fmla="*/ 780681145 w 21600"/>
                <a:gd name="T53" fmla="*/ 2147483646 h 21600"/>
                <a:gd name="T54" fmla="*/ 326082490 w 21600"/>
                <a:gd name="T55" fmla="*/ 2147483646 h 21600"/>
                <a:gd name="T56" fmla="*/ 712400150 w 21600"/>
                <a:gd name="T57" fmla="*/ 2147483646 h 21600"/>
                <a:gd name="T58" fmla="*/ 839614025 w 21600"/>
                <a:gd name="T59" fmla="*/ 2147483646 h 21600"/>
                <a:gd name="T60" fmla="*/ 779122467 w 21600"/>
                <a:gd name="T61" fmla="*/ 2147483646 h 21600"/>
                <a:gd name="T62" fmla="*/ 489386215 w 21600"/>
                <a:gd name="T63" fmla="*/ 2147483646 h 21600"/>
                <a:gd name="T64" fmla="*/ 0 w 21600"/>
                <a:gd name="T65" fmla="*/ 2147483646 h 2160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1600" h="21600">
                  <a:moveTo>
                    <a:pt x="0" y="12823"/>
                  </a:moveTo>
                  <a:lnTo>
                    <a:pt x="186" y="11833"/>
                  </a:lnTo>
                  <a:lnTo>
                    <a:pt x="1551" y="10523"/>
                  </a:lnTo>
                  <a:lnTo>
                    <a:pt x="2977" y="9560"/>
                  </a:lnTo>
                  <a:lnTo>
                    <a:pt x="4162" y="8905"/>
                  </a:lnTo>
                  <a:lnTo>
                    <a:pt x="4322" y="7987"/>
                  </a:lnTo>
                  <a:lnTo>
                    <a:pt x="4482" y="6748"/>
                  </a:lnTo>
                  <a:lnTo>
                    <a:pt x="4482" y="5725"/>
                  </a:lnTo>
                  <a:lnTo>
                    <a:pt x="4842" y="4996"/>
                  </a:lnTo>
                  <a:lnTo>
                    <a:pt x="5171" y="4182"/>
                  </a:lnTo>
                  <a:lnTo>
                    <a:pt x="4892" y="3388"/>
                  </a:lnTo>
                  <a:lnTo>
                    <a:pt x="4172" y="2844"/>
                  </a:lnTo>
                  <a:lnTo>
                    <a:pt x="3720" y="1868"/>
                  </a:lnTo>
                  <a:lnTo>
                    <a:pt x="3643" y="532"/>
                  </a:lnTo>
                  <a:lnTo>
                    <a:pt x="4742" y="7"/>
                  </a:lnTo>
                  <a:lnTo>
                    <a:pt x="6050" y="0"/>
                  </a:lnTo>
                  <a:lnTo>
                    <a:pt x="7945" y="663"/>
                  </a:lnTo>
                  <a:lnTo>
                    <a:pt x="9974" y="1213"/>
                  </a:lnTo>
                  <a:lnTo>
                    <a:pt x="12847" y="2151"/>
                  </a:lnTo>
                  <a:lnTo>
                    <a:pt x="15193" y="2986"/>
                  </a:lnTo>
                  <a:lnTo>
                    <a:pt x="18007" y="3859"/>
                  </a:lnTo>
                  <a:lnTo>
                    <a:pt x="19982" y="4657"/>
                  </a:lnTo>
                  <a:lnTo>
                    <a:pt x="21390" y="5228"/>
                  </a:lnTo>
                  <a:lnTo>
                    <a:pt x="21600" y="6191"/>
                  </a:lnTo>
                  <a:lnTo>
                    <a:pt x="21590" y="9046"/>
                  </a:lnTo>
                  <a:lnTo>
                    <a:pt x="21570" y="10345"/>
                  </a:lnTo>
                  <a:lnTo>
                    <a:pt x="19682" y="10398"/>
                  </a:lnTo>
                  <a:lnTo>
                    <a:pt x="19373" y="11111"/>
                  </a:lnTo>
                  <a:lnTo>
                    <a:pt x="18344" y="11872"/>
                  </a:lnTo>
                  <a:lnTo>
                    <a:pt x="18454" y="12562"/>
                  </a:lnTo>
                  <a:lnTo>
                    <a:pt x="17715" y="13172"/>
                  </a:lnTo>
                  <a:lnTo>
                    <a:pt x="17874" y="13835"/>
                  </a:lnTo>
                  <a:lnTo>
                    <a:pt x="17155" y="14524"/>
                  </a:lnTo>
                  <a:lnTo>
                    <a:pt x="18374" y="14572"/>
                  </a:lnTo>
                  <a:lnTo>
                    <a:pt x="18673" y="15570"/>
                  </a:lnTo>
                  <a:lnTo>
                    <a:pt x="19313" y="16095"/>
                  </a:lnTo>
                  <a:lnTo>
                    <a:pt x="19313" y="17026"/>
                  </a:lnTo>
                  <a:lnTo>
                    <a:pt x="17984" y="17085"/>
                  </a:lnTo>
                  <a:lnTo>
                    <a:pt x="16926" y="17460"/>
                  </a:lnTo>
                  <a:lnTo>
                    <a:pt x="15837" y="18431"/>
                  </a:lnTo>
                  <a:lnTo>
                    <a:pt x="14738" y="19060"/>
                  </a:lnTo>
                  <a:lnTo>
                    <a:pt x="13709" y="19487"/>
                  </a:lnTo>
                  <a:lnTo>
                    <a:pt x="12439" y="19561"/>
                  </a:lnTo>
                  <a:lnTo>
                    <a:pt x="11272" y="19539"/>
                  </a:lnTo>
                  <a:lnTo>
                    <a:pt x="11522" y="20379"/>
                  </a:lnTo>
                  <a:lnTo>
                    <a:pt x="10358" y="20812"/>
                  </a:lnTo>
                  <a:lnTo>
                    <a:pt x="8979" y="20963"/>
                  </a:lnTo>
                  <a:lnTo>
                    <a:pt x="7791" y="21068"/>
                  </a:lnTo>
                  <a:lnTo>
                    <a:pt x="6932" y="21600"/>
                  </a:lnTo>
                  <a:lnTo>
                    <a:pt x="6203" y="21075"/>
                  </a:lnTo>
                  <a:lnTo>
                    <a:pt x="5464" y="21551"/>
                  </a:lnTo>
                  <a:lnTo>
                    <a:pt x="4009" y="21534"/>
                  </a:lnTo>
                  <a:lnTo>
                    <a:pt x="3536" y="20495"/>
                  </a:lnTo>
                  <a:lnTo>
                    <a:pt x="3007" y="19861"/>
                  </a:lnTo>
                  <a:lnTo>
                    <a:pt x="1948" y="19441"/>
                  </a:lnTo>
                  <a:lnTo>
                    <a:pt x="1256" y="18850"/>
                  </a:lnTo>
                  <a:lnTo>
                    <a:pt x="1336" y="18181"/>
                  </a:lnTo>
                  <a:lnTo>
                    <a:pt x="2744" y="18181"/>
                  </a:lnTo>
                  <a:lnTo>
                    <a:pt x="4291" y="18029"/>
                  </a:lnTo>
                  <a:lnTo>
                    <a:pt x="3234" y="17332"/>
                  </a:lnTo>
                  <a:lnTo>
                    <a:pt x="3353" y="16407"/>
                  </a:lnTo>
                  <a:lnTo>
                    <a:pt x="3001" y="15387"/>
                  </a:lnTo>
                  <a:lnTo>
                    <a:pt x="2701" y="14736"/>
                  </a:lnTo>
                  <a:lnTo>
                    <a:pt x="1885" y="14413"/>
                  </a:lnTo>
                  <a:lnTo>
                    <a:pt x="652" y="13695"/>
                  </a:lnTo>
                  <a:lnTo>
                    <a:pt x="0" y="12823"/>
                  </a:lnTo>
                  <a:close/>
                  <a:moveTo>
                    <a:pt x="0" y="12823"/>
                  </a:moveTo>
                </a:path>
              </a:pathLst>
            </a:custGeom>
            <a:solidFill>
              <a:srgbClr val="97BAFF"/>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35" name="Freeform 6">
              <a:extLst>
                <a:ext uri="{FF2B5EF4-FFF2-40B4-BE49-F238E27FC236}">
                  <a16:creationId xmlns:a16="http://schemas.microsoft.com/office/drawing/2014/main" id="{92C73B2E-0801-45AC-8086-E84397EFEE8D}"/>
                </a:ext>
              </a:extLst>
            </p:cNvPr>
            <p:cNvSpPr>
              <a:spLocks/>
            </p:cNvSpPr>
            <p:nvPr/>
          </p:nvSpPr>
          <p:spPr bwMode="auto">
            <a:xfrm>
              <a:off x="5489318" y="2127884"/>
              <a:ext cx="1353186" cy="1030478"/>
            </a:xfrm>
            <a:custGeom>
              <a:avLst/>
              <a:gdLst>
                <a:gd name="T0" fmla="*/ 110333710 w 21600"/>
                <a:gd name="T1" fmla="*/ 97233987 h 21600"/>
                <a:gd name="T2" fmla="*/ 119094982 w 21600"/>
                <a:gd name="T3" fmla="*/ 96836177 h 21600"/>
                <a:gd name="T4" fmla="*/ 123285472 w 21600"/>
                <a:gd name="T5" fmla="*/ 92714065 h 21600"/>
                <a:gd name="T6" fmla="*/ 127806615 w 21600"/>
                <a:gd name="T7" fmla="*/ 90168866 h 21600"/>
                <a:gd name="T8" fmla="*/ 144287650 w 21600"/>
                <a:gd name="T9" fmla="*/ 89948429 h 21600"/>
                <a:gd name="T10" fmla="*/ 153048921 w 21600"/>
                <a:gd name="T11" fmla="*/ 82662802 h 21600"/>
                <a:gd name="T12" fmla="*/ 161057972 w 21600"/>
                <a:gd name="T13" fmla="*/ 75822963 h 21600"/>
                <a:gd name="T14" fmla="*/ 168257072 w 21600"/>
                <a:gd name="T15" fmla="*/ 69112520 h 21600"/>
                <a:gd name="T16" fmla="*/ 178530877 w 21600"/>
                <a:gd name="T17" fmla="*/ 60724501 h 21600"/>
                <a:gd name="T18" fmla="*/ 168488539 w 21600"/>
                <a:gd name="T19" fmla="*/ 60240427 h 21600"/>
                <a:gd name="T20" fmla="*/ 155197851 w 21600"/>
                <a:gd name="T21" fmla="*/ 57369280 h 21600"/>
                <a:gd name="T22" fmla="*/ 138427528 w 21600"/>
                <a:gd name="T23" fmla="*/ 53261569 h 21600"/>
                <a:gd name="T24" fmla="*/ 131633449 w 21600"/>
                <a:gd name="T25" fmla="*/ 51363487 h 21600"/>
                <a:gd name="T26" fmla="*/ 126988391 w 21600"/>
                <a:gd name="T27" fmla="*/ 47653587 h 21600"/>
                <a:gd name="T28" fmla="*/ 120028940 w 21600"/>
                <a:gd name="T29" fmla="*/ 43416411 h 21600"/>
                <a:gd name="T30" fmla="*/ 115441702 w 21600"/>
                <a:gd name="T31" fmla="*/ 38560988 h 21600"/>
                <a:gd name="T32" fmla="*/ 116954235 w 21600"/>
                <a:gd name="T33" fmla="*/ 32986514 h 21600"/>
                <a:gd name="T34" fmla="*/ 104010747 w 21600"/>
                <a:gd name="T35" fmla="*/ 33647963 h 21600"/>
                <a:gd name="T36" fmla="*/ 103655365 w 21600"/>
                <a:gd name="T37" fmla="*/ 28131021 h 21600"/>
                <a:gd name="T38" fmla="*/ 107779760 w 21600"/>
                <a:gd name="T39" fmla="*/ 21904722 h 21600"/>
                <a:gd name="T40" fmla="*/ 108589711 w 21600"/>
                <a:gd name="T41" fmla="*/ 17399131 h 21600"/>
                <a:gd name="T42" fmla="*/ 101456797 w 21600"/>
                <a:gd name="T43" fmla="*/ 14000847 h 21600"/>
                <a:gd name="T44" fmla="*/ 96811647 w 21600"/>
                <a:gd name="T45" fmla="*/ 10425120 h 21600"/>
                <a:gd name="T46" fmla="*/ 91588013 w 21600"/>
                <a:gd name="T47" fmla="*/ 6715220 h 21600"/>
                <a:gd name="T48" fmla="*/ 80942280 w 21600"/>
                <a:gd name="T49" fmla="*/ 2473267 h 21600"/>
                <a:gd name="T50" fmla="*/ 73801002 w 21600"/>
                <a:gd name="T51" fmla="*/ 2339094 h 21600"/>
                <a:gd name="T52" fmla="*/ 67073017 w 21600"/>
                <a:gd name="T53" fmla="*/ 1236633 h 21600"/>
                <a:gd name="T54" fmla="*/ 59584720 w 21600"/>
                <a:gd name="T55" fmla="*/ 0 h 21600"/>
                <a:gd name="T56" fmla="*/ 54476729 w 21600"/>
                <a:gd name="T57" fmla="*/ 5032797 h 21600"/>
                <a:gd name="T58" fmla="*/ 48905895 w 21600"/>
                <a:gd name="T59" fmla="*/ 2075456 h 21600"/>
                <a:gd name="T60" fmla="*/ 39524773 w 21600"/>
                <a:gd name="T61" fmla="*/ 3312089 h 21600"/>
                <a:gd name="T62" fmla="*/ 38070061 w 21600"/>
                <a:gd name="T63" fmla="*/ 10952396 h 21600"/>
                <a:gd name="T64" fmla="*/ 34796983 w 21600"/>
                <a:gd name="T65" fmla="*/ 16119366 h 21600"/>
                <a:gd name="T66" fmla="*/ 29507164 w 21600"/>
                <a:gd name="T67" fmla="*/ 19402724 h 21600"/>
                <a:gd name="T68" fmla="*/ 24961292 w 21600"/>
                <a:gd name="T69" fmla="*/ 25811174 h 21600"/>
                <a:gd name="T70" fmla="*/ 23390847 w 21600"/>
                <a:gd name="T71" fmla="*/ 33585653 h 21600"/>
                <a:gd name="T72" fmla="*/ 17414992 w 21600"/>
                <a:gd name="T73" fmla="*/ 37070270 h 21600"/>
                <a:gd name="T74" fmla="*/ 11976438 w 21600"/>
                <a:gd name="T75" fmla="*/ 46608659 h 21600"/>
                <a:gd name="T76" fmla="*/ 11976438 w 21600"/>
                <a:gd name="T77" fmla="*/ 56664699 h 21600"/>
                <a:gd name="T78" fmla="*/ 2611862 w 21600"/>
                <a:gd name="T79" fmla="*/ 58117062 h 21600"/>
                <a:gd name="T80" fmla="*/ 0 w 21600"/>
                <a:gd name="T81" fmla="*/ 64194787 h 21600"/>
                <a:gd name="T82" fmla="*/ 8876914 w 21600"/>
                <a:gd name="T83" fmla="*/ 66447548 h 21600"/>
                <a:gd name="T84" fmla="*/ 15960372 w 21600"/>
                <a:gd name="T85" fmla="*/ 71259909 h 21600"/>
                <a:gd name="T86" fmla="*/ 21646848 w 21600"/>
                <a:gd name="T87" fmla="*/ 76690517 h 21600"/>
                <a:gd name="T88" fmla="*/ 25829155 w 21600"/>
                <a:gd name="T89" fmla="*/ 82327300 h 21600"/>
                <a:gd name="T90" fmla="*/ 28788126 w 21600"/>
                <a:gd name="T91" fmla="*/ 86214505 h 21600"/>
                <a:gd name="T92" fmla="*/ 34069672 w 21600"/>
                <a:gd name="T93" fmla="*/ 86430234 h 21600"/>
                <a:gd name="T94" fmla="*/ 35301191 w 21600"/>
                <a:gd name="T95" fmla="*/ 92795552 h 21600"/>
                <a:gd name="T96" fmla="*/ 41467146 w 21600"/>
                <a:gd name="T97" fmla="*/ 94343732 h 21600"/>
                <a:gd name="T98" fmla="*/ 47922298 w 21600"/>
                <a:gd name="T99" fmla="*/ 95537234 h 21600"/>
                <a:gd name="T100" fmla="*/ 53964248 w 21600"/>
                <a:gd name="T101" fmla="*/ 97794841 h 21600"/>
                <a:gd name="T102" fmla="*/ 60179751 w 21600"/>
                <a:gd name="T103" fmla="*/ 101672492 h 21600"/>
                <a:gd name="T104" fmla="*/ 68784015 w 21600"/>
                <a:gd name="T105" fmla="*/ 102602355 h 21600"/>
                <a:gd name="T106" fmla="*/ 79198281 w 21600"/>
                <a:gd name="T107" fmla="*/ 103532219 h 21600"/>
                <a:gd name="T108" fmla="*/ 86711488 w 21600"/>
                <a:gd name="T109" fmla="*/ 98614417 h 21600"/>
                <a:gd name="T110" fmla="*/ 95233020 w 21600"/>
                <a:gd name="T111" fmla="*/ 97483225 h 21600"/>
                <a:gd name="T112" fmla="*/ 101332790 w 21600"/>
                <a:gd name="T113" fmla="*/ 98413158 h 21600"/>
                <a:gd name="T114" fmla="*/ 110333710 w 21600"/>
                <a:gd name="T115" fmla="*/ 97233987 h 21600"/>
                <a:gd name="T116" fmla="*/ 110333710 w 21600"/>
                <a:gd name="T117" fmla="*/ 97233987 h 216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1600" h="21600">
                  <a:moveTo>
                    <a:pt x="13349" y="20286"/>
                  </a:moveTo>
                  <a:lnTo>
                    <a:pt x="14409" y="20203"/>
                  </a:lnTo>
                  <a:lnTo>
                    <a:pt x="14916" y="19343"/>
                  </a:lnTo>
                  <a:lnTo>
                    <a:pt x="15463" y="18812"/>
                  </a:lnTo>
                  <a:lnTo>
                    <a:pt x="17457" y="18766"/>
                  </a:lnTo>
                  <a:lnTo>
                    <a:pt x="18517" y="17246"/>
                  </a:lnTo>
                  <a:lnTo>
                    <a:pt x="19486" y="15819"/>
                  </a:lnTo>
                  <a:lnTo>
                    <a:pt x="20357" y="14419"/>
                  </a:lnTo>
                  <a:lnTo>
                    <a:pt x="21600" y="12669"/>
                  </a:lnTo>
                  <a:lnTo>
                    <a:pt x="20385" y="12568"/>
                  </a:lnTo>
                  <a:lnTo>
                    <a:pt x="18777" y="11969"/>
                  </a:lnTo>
                  <a:lnTo>
                    <a:pt x="16748" y="11112"/>
                  </a:lnTo>
                  <a:lnTo>
                    <a:pt x="15926" y="10716"/>
                  </a:lnTo>
                  <a:lnTo>
                    <a:pt x="15364" y="9942"/>
                  </a:lnTo>
                  <a:lnTo>
                    <a:pt x="14522" y="9058"/>
                  </a:lnTo>
                  <a:lnTo>
                    <a:pt x="13967" y="8045"/>
                  </a:lnTo>
                  <a:lnTo>
                    <a:pt x="14150" y="6882"/>
                  </a:lnTo>
                  <a:lnTo>
                    <a:pt x="12584" y="7020"/>
                  </a:lnTo>
                  <a:lnTo>
                    <a:pt x="12541" y="5869"/>
                  </a:lnTo>
                  <a:lnTo>
                    <a:pt x="13040" y="4570"/>
                  </a:lnTo>
                  <a:lnTo>
                    <a:pt x="13138" y="3630"/>
                  </a:lnTo>
                  <a:lnTo>
                    <a:pt x="12275" y="2921"/>
                  </a:lnTo>
                  <a:lnTo>
                    <a:pt x="11713" y="2175"/>
                  </a:lnTo>
                  <a:lnTo>
                    <a:pt x="11081" y="1401"/>
                  </a:lnTo>
                  <a:lnTo>
                    <a:pt x="9793" y="516"/>
                  </a:lnTo>
                  <a:lnTo>
                    <a:pt x="8929" y="488"/>
                  </a:lnTo>
                  <a:lnTo>
                    <a:pt x="8115" y="258"/>
                  </a:lnTo>
                  <a:lnTo>
                    <a:pt x="7209" y="0"/>
                  </a:lnTo>
                  <a:lnTo>
                    <a:pt x="6591" y="1050"/>
                  </a:lnTo>
                  <a:lnTo>
                    <a:pt x="5917" y="433"/>
                  </a:lnTo>
                  <a:lnTo>
                    <a:pt x="4782" y="691"/>
                  </a:lnTo>
                  <a:lnTo>
                    <a:pt x="4606" y="2285"/>
                  </a:lnTo>
                  <a:lnTo>
                    <a:pt x="4210" y="3363"/>
                  </a:lnTo>
                  <a:lnTo>
                    <a:pt x="3570" y="4048"/>
                  </a:lnTo>
                  <a:lnTo>
                    <a:pt x="3020" y="5385"/>
                  </a:lnTo>
                  <a:lnTo>
                    <a:pt x="2830" y="7007"/>
                  </a:lnTo>
                  <a:lnTo>
                    <a:pt x="2107" y="7734"/>
                  </a:lnTo>
                  <a:lnTo>
                    <a:pt x="1449" y="9724"/>
                  </a:lnTo>
                  <a:lnTo>
                    <a:pt x="1449" y="11822"/>
                  </a:lnTo>
                  <a:lnTo>
                    <a:pt x="316" y="12125"/>
                  </a:lnTo>
                  <a:lnTo>
                    <a:pt x="0" y="13393"/>
                  </a:lnTo>
                  <a:lnTo>
                    <a:pt x="1074" y="13863"/>
                  </a:lnTo>
                  <a:lnTo>
                    <a:pt x="1931" y="14867"/>
                  </a:lnTo>
                  <a:lnTo>
                    <a:pt x="2619" y="16000"/>
                  </a:lnTo>
                  <a:lnTo>
                    <a:pt x="3125" y="17176"/>
                  </a:lnTo>
                  <a:lnTo>
                    <a:pt x="3483" y="17987"/>
                  </a:lnTo>
                  <a:lnTo>
                    <a:pt x="4122" y="18032"/>
                  </a:lnTo>
                  <a:lnTo>
                    <a:pt x="4271" y="19360"/>
                  </a:lnTo>
                  <a:lnTo>
                    <a:pt x="5017" y="19683"/>
                  </a:lnTo>
                  <a:lnTo>
                    <a:pt x="5798" y="19932"/>
                  </a:lnTo>
                  <a:lnTo>
                    <a:pt x="6529" y="20403"/>
                  </a:lnTo>
                  <a:lnTo>
                    <a:pt x="7281" y="21212"/>
                  </a:lnTo>
                  <a:lnTo>
                    <a:pt x="8322" y="21406"/>
                  </a:lnTo>
                  <a:lnTo>
                    <a:pt x="9582" y="21600"/>
                  </a:lnTo>
                  <a:lnTo>
                    <a:pt x="10491" y="20574"/>
                  </a:lnTo>
                  <a:lnTo>
                    <a:pt x="11522" y="20338"/>
                  </a:lnTo>
                  <a:lnTo>
                    <a:pt x="12260" y="20532"/>
                  </a:lnTo>
                  <a:lnTo>
                    <a:pt x="13349" y="20286"/>
                  </a:lnTo>
                  <a:close/>
                  <a:moveTo>
                    <a:pt x="13349" y="20286"/>
                  </a:moveTo>
                </a:path>
              </a:pathLst>
            </a:custGeom>
            <a:solidFill>
              <a:srgbClr val="002060">
                <a:lumMod val="25000"/>
                <a:lumOff val="75000"/>
              </a:srgbClr>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36" name="Freeform 7">
              <a:extLst>
                <a:ext uri="{FF2B5EF4-FFF2-40B4-BE49-F238E27FC236}">
                  <a16:creationId xmlns:a16="http://schemas.microsoft.com/office/drawing/2014/main" id="{9A7D5CC6-A683-4FF0-A527-5D476C65880B}"/>
                </a:ext>
              </a:extLst>
            </p:cNvPr>
            <p:cNvSpPr>
              <a:spLocks/>
            </p:cNvSpPr>
            <p:nvPr/>
          </p:nvSpPr>
          <p:spPr bwMode="auto">
            <a:xfrm>
              <a:off x="3586983" y="2984427"/>
              <a:ext cx="1756844" cy="1740436"/>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0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2147483646 w 21600"/>
                <a:gd name="T99" fmla="*/ 2147483646 h 2160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1600" h="21600">
                  <a:moveTo>
                    <a:pt x="4254" y="10737"/>
                  </a:moveTo>
                  <a:lnTo>
                    <a:pt x="4367" y="9935"/>
                  </a:lnTo>
                  <a:lnTo>
                    <a:pt x="4475" y="8732"/>
                  </a:lnTo>
                  <a:lnTo>
                    <a:pt x="5000" y="8126"/>
                  </a:lnTo>
                  <a:lnTo>
                    <a:pt x="5298" y="7542"/>
                  </a:lnTo>
                  <a:lnTo>
                    <a:pt x="6152" y="6996"/>
                  </a:lnTo>
                  <a:lnTo>
                    <a:pt x="6141" y="6225"/>
                  </a:lnTo>
                  <a:lnTo>
                    <a:pt x="6406" y="5439"/>
                  </a:lnTo>
                  <a:lnTo>
                    <a:pt x="6471" y="4740"/>
                  </a:lnTo>
                  <a:lnTo>
                    <a:pt x="6477" y="3834"/>
                  </a:lnTo>
                  <a:lnTo>
                    <a:pt x="6942" y="3242"/>
                  </a:lnTo>
                  <a:lnTo>
                    <a:pt x="7136" y="2216"/>
                  </a:lnTo>
                  <a:lnTo>
                    <a:pt x="7315" y="1337"/>
                  </a:lnTo>
                  <a:lnTo>
                    <a:pt x="7980" y="513"/>
                  </a:lnTo>
                  <a:lnTo>
                    <a:pt x="8732" y="491"/>
                  </a:lnTo>
                  <a:lnTo>
                    <a:pt x="9192" y="873"/>
                  </a:lnTo>
                  <a:lnTo>
                    <a:pt x="9992" y="1381"/>
                  </a:lnTo>
                  <a:lnTo>
                    <a:pt x="10711" y="1413"/>
                  </a:lnTo>
                  <a:lnTo>
                    <a:pt x="11539" y="1397"/>
                  </a:lnTo>
                  <a:lnTo>
                    <a:pt x="11950" y="835"/>
                  </a:lnTo>
                  <a:lnTo>
                    <a:pt x="13110" y="769"/>
                  </a:lnTo>
                  <a:lnTo>
                    <a:pt x="13818" y="480"/>
                  </a:lnTo>
                  <a:lnTo>
                    <a:pt x="14473" y="551"/>
                  </a:lnTo>
                  <a:lnTo>
                    <a:pt x="14895" y="164"/>
                  </a:lnTo>
                  <a:lnTo>
                    <a:pt x="16188" y="430"/>
                  </a:lnTo>
                  <a:lnTo>
                    <a:pt x="16981" y="0"/>
                  </a:lnTo>
                  <a:lnTo>
                    <a:pt x="17338" y="551"/>
                  </a:lnTo>
                  <a:lnTo>
                    <a:pt x="17841" y="1222"/>
                  </a:lnTo>
                  <a:lnTo>
                    <a:pt x="18979" y="1017"/>
                  </a:lnTo>
                  <a:lnTo>
                    <a:pt x="19881" y="913"/>
                  </a:lnTo>
                  <a:lnTo>
                    <a:pt x="20324" y="1539"/>
                  </a:lnTo>
                  <a:lnTo>
                    <a:pt x="21157" y="2105"/>
                  </a:lnTo>
                  <a:lnTo>
                    <a:pt x="21125" y="2681"/>
                  </a:lnTo>
                  <a:lnTo>
                    <a:pt x="21030" y="3374"/>
                  </a:lnTo>
                  <a:lnTo>
                    <a:pt x="21600" y="3689"/>
                  </a:lnTo>
                  <a:lnTo>
                    <a:pt x="21254" y="4202"/>
                  </a:lnTo>
                  <a:lnTo>
                    <a:pt x="20832" y="4710"/>
                  </a:lnTo>
                  <a:lnTo>
                    <a:pt x="20161" y="5264"/>
                  </a:lnTo>
                  <a:lnTo>
                    <a:pt x="19939" y="6198"/>
                  </a:lnTo>
                  <a:lnTo>
                    <a:pt x="19791" y="7755"/>
                  </a:lnTo>
                  <a:lnTo>
                    <a:pt x="19085" y="8265"/>
                  </a:lnTo>
                  <a:lnTo>
                    <a:pt x="18874" y="9029"/>
                  </a:lnTo>
                  <a:lnTo>
                    <a:pt x="19118" y="9803"/>
                  </a:lnTo>
                  <a:lnTo>
                    <a:pt x="19339" y="11337"/>
                  </a:lnTo>
                  <a:lnTo>
                    <a:pt x="19496" y="12679"/>
                  </a:lnTo>
                  <a:lnTo>
                    <a:pt x="19626" y="13546"/>
                  </a:lnTo>
                  <a:lnTo>
                    <a:pt x="20156" y="14200"/>
                  </a:lnTo>
                  <a:lnTo>
                    <a:pt x="20567" y="15046"/>
                  </a:lnTo>
                  <a:lnTo>
                    <a:pt x="20940" y="15679"/>
                  </a:lnTo>
                  <a:lnTo>
                    <a:pt x="20032" y="15766"/>
                  </a:lnTo>
                  <a:lnTo>
                    <a:pt x="18912" y="15935"/>
                  </a:lnTo>
                  <a:lnTo>
                    <a:pt x="18285" y="16840"/>
                  </a:lnTo>
                  <a:lnTo>
                    <a:pt x="18582" y="17511"/>
                  </a:lnTo>
                  <a:lnTo>
                    <a:pt x="18474" y="18385"/>
                  </a:lnTo>
                  <a:lnTo>
                    <a:pt x="18133" y="19400"/>
                  </a:lnTo>
                  <a:lnTo>
                    <a:pt x="18555" y="19990"/>
                  </a:lnTo>
                  <a:lnTo>
                    <a:pt x="19091" y="20443"/>
                  </a:lnTo>
                  <a:lnTo>
                    <a:pt x="19729" y="20061"/>
                  </a:lnTo>
                  <a:lnTo>
                    <a:pt x="19707" y="21600"/>
                  </a:lnTo>
                  <a:lnTo>
                    <a:pt x="18914" y="21526"/>
                  </a:lnTo>
                  <a:lnTo>
                    <a:pt x="18474" y="20792"/>
                  </a:lnTo>
                  <a:lnTo>
                    <a:pt x="17922" y="20465"/>
                  </a:lnTo>
                  <a:lnTo>
                    <a:pt x="17159" y="20203"/>
                  </a:lnTo>
                  <a:lnTo>
                    <a:pt x="16830" y="19564"/>
                  </a:lnTo>
                  <a:lnTo>
                    <a:pt x="16186" y="19826"/>
                  </a:lnTo>
                  <a:lnTo>
                    <a:pt x="15451" y="19695"/>
                  </a:lnTo>
                  <a:lnTo>
                    <a:pt x="14728" y="19667"/>
                  </a:lnTo>
                  <a:lnTo>
                    <a:pt x="14721" y="18997"/>
                  </a:lnTo>
                  <a:lnTo>
                    <a:pt x="13921" y="19291"/>
                  </a:lnTo>
                  <a:lnTo>
                    <a:pt x="13248" y="18760"/>
                  </a:lnTo>
                  <a:lnTo>
                    <a:pt x="12239" y="18773"/>
                  </a:lnTo>
                  <a:lnTo>
                    <a:pt x="11367" y="18844"/>
                  </a:lnTo>
                  <a:lnTo>
                    <a:pt x="11324" y="17796"/>
                  </a:lnTo>
                  <a:lnTo>
                    <a:pt x="10754" y="17094"/>
                  </a:lnTo>
                  <a:lnTo>
                    <a:pt x="10815" y="15929"/>
                  </a:lnTo>
                  <a:lnTo>
                    <a:pt x="10788" y="15253"/>
                  </a:lnTo>
                  <a:lnTo>
                    <a:pt x="10783" y="14527"/>
                  </a:lnTo>
                  <a:lnTo>
                    <a:pt x="10123" y="14495"/>
                  </a:lnTo>
                  <a:lnTo>
                    <a:pt x="9179" y="14192"/>
                  </a:lnTo>
                  <a:lnTo>
                    <a:pt x="8344" y="14192"/>
                  </a:lnTo>
                  <a:lnTo>
                    <a:pt x="8037" y="15302"/>
                  </a:lnTo>
                  <a:lnTo>
                    <a:pt x="5653" y="15281"/>
                  </a:lnTo>
                  <a:lnTo>
                    <a:pt x="5405" y="14631"/>
                  </a:lnTo>
                  <a:lnTo>
                    <a:pt x="5102" y="13736"/>
                  </a:lnTo>
                  <a:lnTo>
                    <a:pt x="4766" y="12904"/>
                  </a:lnTo>
                  <a:lnTo>
                    <a:pt x="3899" y="12850"/>
                  </a:lnTo>
                  <a:lnTo>
                    <a:pt x="2862" y="12902"/>
                  </a:lnTo>
                  <a:lnTo>
                    <a:pt x="1796" y="12866"/>
                  </a:lnTo>
                  <a:lnTo>
                    <a:pt x="1152" y="12986"/>
                  </a:lnTo>
                  <a:lnTo>
                    <a:pt x="130" y="13543"/>
                  </a:lnTo>
                  <a:lnTo>
                    <a:pt x="0" y="12839"/>
                  </a:lnTo>
                  <a:lnTo>
                    <a:pt x="395" y="12450"/>
                  </a:lnTo>
                  <a:lnTo>
                    <a:pt x="476" y="11894"/>
                  </a:lnTo>
                  <a:lnTo>
                    <a:pt x="1098" y="11588"/>
                  </a:lnTo>
                  <a:lnTo>
                    <a:pt x="1828" y="11364"/>
                  </a:lnTo>
                  <a:lnTo>
                    <a:pt x="2418" y="11141"/>
                  </a:lnTo>
                  <a:lnTo>
                    <a:pt x="2537" y="11768"/>
                  </a:lnTo>
                  <a:lnTo>
                    <a:pt x="3175" y="11435"/>
                  </a:lnTo>
                  <a:lnTo>
                    <a:pt x="3661" y="10917"/>
                  </a:lnTo>
                  <a:lnTo>
                    <a:pt x="4254" y="10737"/>
                  </a:lnTo>
                  <a:close/>
                  <a:moveTo>
                    <a:pt x="4254" y="10737"/>
                  </a:moveTo>
                </a:path>
              </a:pathLst>
            </a:custGeom>
            <a:solidFill>
              <a:srgbClr val="002060">
                <a:lumMod val="25000"/>
                <a:lumOff val="75000"/>
              </a:srgbClr>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37" name="Freeform 8">
              <a:extLst>
                <a:ext uri="{FF2B5EF4-FFF2-40B4-BE49-F238E27FC236}">
                  <a16:creationId xmlns:a16="http://schemas.microsoft.com/office/drawing/2014/main" id="{88C73A86-8664-4457-9174-4F9440F03463}"/>
                </a:ext>
              </a:extLst>
            </p:cNvPr>
            <p:cNvSpPr>
              <a:spLocks/>
            </p:cNvSpPr>
            <p:nvPr/>
          </p:nvSpPr>
          <p:spPr bwMode="auto">
            <a:xfrm>
              <a:off x="5161141" y="3578429"/>
              <a:ext cx="997660" cy="998754"/>
            </a:xfrm>
            <a:custGeom>
              <a:avLst/>
              <a:gdLst>
                <a:gd name="T0" fmla="*/ 14291328 w 21600"/>
                <a:gd name="T1" fmla="*/ 10432500 h 21600"/>
                <a:gd name="T2" fmla="*/ 13725278 w 21600"/>
                <a:gd name="T3" fmla="*/ 5398564 h 21600"/>
                <a:gd name="T4" fmla="*/ 11088070 w 21600"/>
                <a:gd name="T5" fmla="*/ 661887 h 21600"/>
                <a:gd name="T6" fmla="*/ 23833871 w 21600"/>
                <a:gd name="T7" fmla="*/ 0 h 21600"/>
                <a:gd name="T8" fmla="*/ 45160837 w 21600"/>
                <a:gd name="T9" fmla="*/ 1539907 h 21600"/>
                <a:gd name="T10" fmla="*/ 57448436 w 21600"/>
                <a:gd name="T11" fmla="*/ 7748919 h 21600"/>
                <a:gd name="T12" fmla="*/ 63482142 w 21600"/>
                <a:gd name="T13" fmla="*/ 12152439 h 21600"/>
                <a:gd name="T14" fmla="*/ 69250821 w 21600"/>
                <a:gd name="T15" fmla="*/ 15822072 h 21600"/>
                <a:gd name="T16" fmla="*/ 74538777 w 21600"/>
                <a:gd name="T17" fmla="*/ 18582148 h 21600"/>
                <a:gd name="T18" fmla="*/ 75648488 w 21600"/>
                <a:gd name="T19" fmla="*/ 24043787 h 21600"/>
                <a:gd name="T20" fmla="*/ 79507747 w 21600"/>
                <a:gd name="T21" fmla="*/ 26641746 h 21600"/>
                <a:gd name="T22" fmla="*/ 88079862 w 21600"/>
                <a:gd name="T23" fmla="*/ 32576181 h 21600"/>
                <a:gd name="T24" fmla="*/ 84957373 w 21600"/>
                <a:gd name="T25" fmla="*/ 38303407 h 21600"/>
                <a:gd name="T26" fmla="*/ 83690414 w 21600"/>
                <a:gd name="T27" fmla="*/ 44980719 h 21600"/>
                <a:gd name="T28" fmla="*/ 85698700 w 21600"/>
                <a:gd name="T29" fmla="*/ 50230788 h 21600"/>
                <a:gd name="T30" fmla="*/ 90141972 w 21600"/>
                <a:gd name="T31" fmla="*/ 54895398 h 21600"/>
                <a:gd name="T32" fmla="*/ 87868658 w 21600"/>
                <a:gd name="T33" fmla="*/ 63481876 h 21600"/>
                <a:gd name="T34" fmla="*/ 88767232 w 21600"/>
                <a:gd name="T35" fmla="*/ 71172216 h 21600"/>
                <a:gd name="T36" fmla="*/ 90514914 w 21600"/>
                <a:gd name="T37" fmla="*/ 77588437 h 21600"/>
                <a:gd name="T38" fmla="*/ 92734271 w 21600"/>
                <a:gd name="T39" fmla="*/ 82838439 h 21600"/>
                <a:gd name="T40" fmla="*/ 97042817 w 21600"/>
                <a:gd name="T41" fmla="*/ 86976305 h 21600"/>
                <a:gd name="T42" fmla="*/ 89876944 w 21600"/>
                <a:gd name="T43" fmla="*/ 91109675 h 21600"/>
                <a:gd name="T44" fmla="*/ 83214182 w 21600"/>
                <a:gd name="T45" fmla="*/ 92064190 h 21600"/>
                <a:gd name="T46" fmla="*/ 78766420 w 21600"/>
                <a:gd name="T47" fmla="*/ 93653617 h 21600"/>
                <a:gd name="T48" fmla="*/ 74219791 w 21600"/>
                <a:gd name="T49" fmla="*/ 93333947 h 21600"/>
                <a:gd name="T50" fmla="*/ 70989522 w 21600"/>
                <a:gd name="T51" fmla="*/ 96409197 h 21600"/>
                <a:gd name="T52" fmla="*/ 63212624 w 21600"/>
                <a:gd name="T53" fmla="*/ 96620835 h 21600"/>
                <a:gd name="T54" fmla="*/ 58347010 w 21600"/>
                <a:gd name="T55" fmla="*/ 94500100 h 21600"/>
                <a:gd name="T56" fmla="*/ 52474975 w 21600"/>
                <a:gd name="T57" fmla="*/ 95400598 h 21600"/>
                <a:gd name="T58" fmla="*/ 46279530 w 21600"/>
                <a:gd name="T59" fmla="*/ 97255679 h 21600"/>
                <a:gd name="T60" fmla="*/ 44060106 w 21600"/>
                <a:gd name="T61" fmla="*/ 91478866 h 21600"/>
                <a:gd name="T62" fmla="*/ 43534475 w 21600"/>
                <a:gd name="T63" fmla="*/ 83104093 h 21600"/>
                <a:gd name="T64" fmla="*/ 40991575 w 21600"/>
                <a:gd name="T65" fmla="*/ 77480337 h 21600"/>
                <a:gd name="T66" fmla="*/ 35914824 w 21600"/>
                <a:gd name="T67" fmla="*/ 76741955 h 21600"/>
                <a:gd name="T68" fmla="*/ 29036500 w 21600"/>
                <a:gd name="T69" fmla="*/ 74621220 h 21600"/>
                <a:gd name="T70" fmla="*/ 23694588 w 21600"/>
                <a:gd name="T71" fmla="*/ 70857041 h 21600"/>
                <a:gd name="T72" fmla="*/ 17503634 w 21600"/>
                <a:gd name="T73" fmla="*/ 69105564 h 21600"/>
                <a:gd name="T74" fmla="*/ 11946160 w 21600"/>
                <a:gd name="T75" fmla="*/ 65499006 h 21600"/>
                <a:gd name="T76" fmla="*/ 7619651 w 21600"/>
                <a:gd name="T77" fmla="*/ 56484826 h 21600"/>
                <a:gd name="T78" fmla="*/ 1846481 w 21600"/>
                <a:gd name="T79" fmla="*/ 48636865 h 21600"/>
                <a:gd name="T80" fmla="*/ 157247 w 21600"/>
                <a:gd name="T81" fmla="*/ 39014814 h 21600"/>
                <a:gd name="T82" fmla="*/ 0 w 21600"/>
                <a:gd name="T83" fmla="*/ 29789063 h 21600"/>
                <a:gd name="T84" fmla="*/ 5921435 w 21600"/>
                <a:gd name="T85" fmla="*/ 30068204 h 21600"/>
                <a:gd name="T86" fmla="*/ 10095121 w 21600"/>
                <a:gd name="T87" fmla="*/ 26105943 h 21600"/>
                <a:gd name="T88" fmla="*/ 13064853 w 21600"/>
                <a:gd name="T89" fmla="*/ 21369265 h 21600"/>
                <a:gd name="T90" fmla="*/ 10755545 w 21600"/>
                <a:gd name="T91" fmla="*/ 14097570 h 21600"/>
                <a:gd name="T92" fmla="*/ 14291328 w 21600"/>
                <a:gd name="T93" fmla="*/ 10432500 h 21600"/>
                <a:gd name="T94" fmla="*/ 14291328 w 21600"/>
                <a:gd name="T95" fmla="*/ 10432500 h 216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1600" h="21600">
                  <a:moveTo>
                    <a:pt x="3181" y="2317"/>
                  </a:moveTo>
                  <a:lnTo>
                    <a:pt x="3055" y="1199"/>
                  </a:lnTo>
                  <a:lnTo>
                    <a:pt x="2468" y="147"/>
                  </a:lnTo>
                  <a:lnTo>
                    <a:pt x="5305" y="0"/>
                  </a:lnTo>
                  <a:lnTo>
                    <a:pt x="10052" y="342"/>
                  </a:lnTo>
                  <a:lnTo>
                    <a:pt x="12787" y="1721"/>
                  </a:lnTo>
                  <a:lnTo>
                    <a:pt x="14130" y="2699"/>
                  </a:lnTo>
                  <a:lnTo>
                    <a:pt x="15414" y="3514"/>
                  </a:lnTo>
                  <a:lnTo>
                    <a:pt x="16591" y="4127"/>
                  </a:lnTo>
                  <a:lnTo>
                    <a:pt x="16838" y="5340"/>
                  </a:lnTo>
                  <a:lnTo>
                    <a:pt x="17697" y="5917"/>
                  </a:lnTo>
                  <a:lnTo>
                    <a:pt x="19605" y="7235"/>
                  </a:lnTo>
                  <a:lnTo>
                    <a:pt x="18910" y="8507"/>
                  </a:lnTo>
                  <a:lnTo>
                    <a:pt x="18628" y="9990"/>
                  </a:lnTo>
                  <a:lnTo>
                    <a:pt x="19075" y="11156"/>
                  </a:lnTo>
                  <a:lnTo>
                    <a:pt x="20064" y="12192"/>
                  </a:lnTo>
                  <a:lnTo>
                    <a:pt x="19558" y="14099"/>
                  </a:lnTo>
                  <a:lnTo>
                    <a:pt x="19758" y="15807"/>
                  </a:lnTo>
                  <a:lnTo>
                    <a:pt x="20147" y="17232"/>
                  </a:lnTo>
                  <a:lnTo>
                    <a:pt x="20641" y="18398"/>
                  </a:lnTo>
                  <a:lnTo>
                    <a:pt x="21600" y="19317"/>
                  </a:lnTo>
                  <a:lnTo>
                    <a:pt x="20005" y="20235"/>
                  </a:lnTo>
                  <a:lnTo>
                    <a:pt x="18522" y="20447"/>
                  </a:lnTo>
                  <a:lnTo>
                    <a:pt x="17532" y="20800"/>
                  </a:lnTo>
                  <a:lnTo>
                    <a:pt x="16520" y="20729"/>
                  </a:lnTo>
                  <a:lnTo>
                    <a:pt x="15801" y="21412"/>
                  </a:lnTo>
                  <a:lnTo>
                    <a:pt x="14070" y="21459"/>
                  </a:lnTo>
                  <a:lnTo>
                    <a:pt x="12987" y="20988"/>
                  </a:lnTo>
                  <a:lnTo>
                    <a:pt x="11680" y="21188"/>
                  </a:lnTo>
                  <a:lnTo>
                    <a:pt x="10301" y="21600"/>
                  </a:lnTo>
                  <a:lnTo>
                    <a:pt x="9807" y="20317"/>
                  </a:lnTo>
                  <a:lnTo>
                    <a:pt x="9690" y="18457"/>
                  </a:lnTo>
                  <a:lnTo>
                    <a:pt x="9124" y="17208"/>
                  </a:lnTo>
                  <a:lnTo>
                    <a:pt x="7994" y="17044"/>
                  </a:lnTo>
                  <a:lnTo>
                    <a:pt x="6463" y="16573"/>
                  </a:lnTo>
                  <a:lnTo>
                    <a:pt x="5274" y="15737"/>
                  </a:lnTo>
                  <a:lnTo>
                    <a:pt x="3896" y="15348"/>
                  </a:lnTo>
                  <a:lnTo>
                    <a:pt x="2659" y="14547"/>
                  </a:lnTo>
                  <a:lnTo>
                    <a:pt x="1696" y="12545"/>
                  </a:lnTo>
                  <a:lnTo>
                    <a:pt x="411" y="10802"/>
                  </a:lnTo>
                  <a:lnTo>
                    <a:pt x="35" y="8665"/>
                  </a:lnTo>
                  <a:lnTo>
                    <a:pt x="0" y="6616"/>
                  </a:lnTo>
                  <a:lnTo>
                    <a:pt x="1318" y="6678"/>
                  </a:lnTo>
                  <a:lnTo>
                    <a:pt x="2247" y="5798"/>
                  </a:lnTo>
                  <a:lnTo>
                    <a:pt x="2908" y="4746"/>
                  </a:lnTo>
                  <a:lnTo>
                    <a:pt x="2394" y="3131"/>
                  </a:lnTo>
                  <a:lnTo>
                    <a:pt x="3181" y="2317"/>
                  </a:lnTo>
                  <a:close/>
                  <a:moveTo>
                    <a:pt x="3181" y="2317"/>
                  </a:moveTo>
                </a:path>
              </a:pathLst>
            </a:custGeom>
            <a:solidFill>
              <a:srgbClr val="002060">
                <a:lumMod val="25000"/>
                <a:lumOff val="75000"/>
              </a:srgbClr>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38" name="Freeform 9">
              <a:extLst>
                <a:ext uri="{FF2B5EF4-FFF2-40B4-BE49-F238E27FC236}">
                  <a16:creationId xmlns:a16="http://schemas.microsoft.com/office/drawing/2014/main" id="{4F1617ED-8697-49C5-8B8F-7662330CA435}"/>
                </a:ext>
              </a:extLst>
            </p:cNvPr>
            <p:cNvSpPr>
              <a:spLocks/>
            </p:cNvSpPr>
            <p:nvPr/>
          </p:nvSpPr>
          <p:spPr bwMode="auto">
            <a:xfrm>
              <a:off x="2712936" y="2200082"/>
              <a:ext cx="1098301" cy="895925"/>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0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669530882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0 w 21600"/>
                <a:gd name="T95" fmla="*/ 2147483646 h 21600"/>
                <a:gd name="T96" fmla="*/ 2147483646 w 21600"/>
                <a:gd name="T97" fmla="*/ 2147483646 h 21600"/>
                <a:gd name="T98" fmla="*/ 2147483646 w 21600"/>
                <a:gd name="T99" fmla="*/ 2147483646 h 21600"/>
                <a:gd name="T100" fmla="*/ 2147483646 w 21600"/>
                <a:gd name="T101" fmla="*/ 2147483646 h 21600"/>
                <a:gd name="T102" fmla="*/ 2147483646 w 21600"/>
                <a:gd name="T103" fmla="*/ 2147483646 h 216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1600" h="21600">
                  <a:moveTo>
                    <a:pt x="445" y="10844"/>
                  </a:moveTo>
                  <a:lnTo>
                    <a:pt x="1134" y="9661"/>
                  </a:lnTo>
                  <a:lnTo>
                    <a:pt x="1996" y="8616"/>
                  </a:lnTo>
                  <a:lnTo>
                    <a:pt x="2213" y="7082"/>
                  </a:lnTo>
                  <a:lnTo>
                    <a:pt x="1789" y="5606"/>
                  </a:lnTo>
                  <a:lnTo>
                    <a:pt x="1746" y="4345"/>
                  </a:lnTo>
                  <a:lnTo>
                    <a:pt x="2142" y="3199"/>
                  </a:lnTo>
                  <a:lnTo>
                    <a:pt x="2988" y="2269"/>
                  </a:lnTo>
                  <a:lnTo>
                    <a:pt x="2979" y="1149"/>
                  </a:lnTo>
                  <a:lnTo>
                    <a:pt x="3849" y="283"/>
                  </a:lnTo>
                  <a:lnTo>
                    <a:pt x="5528" y="0"/>
                  </a:lnTo>
                  <a:lnTo>
                    <a:pt x="6666" y="484"/>
                  </a:lnTo>
                  <a:lnTo>
                    <a:pt x="7793" y="1451"/>
                  </a:lnTo>
                  <a:lnTo>
                    <a:pt x="9465" y="1403"/>
                  </a:lnTo>
                  <a:lnTo>
                    <a:pt x="11258" y="2011"/>
                  </a:lnTo>
                  <a:lnTo>
                    <a:pt x="12641" y="2226"/>
                  </a:lnTo>
                  <a:lnTo>
                    <a:pt x="14301" y="1348"/>
                  </a:lnTo>
                  <a:lnTo>
                    <a:pt x="16279" y="1099"/>
                  </a:lnTo>
                  <a:lnTo>
                    <a:pt x="17640" y="1952"/>
                  </a:lnTo>
                  <a:lnTo>
                    <a:pt x="18700" y="1022"/>
                  </a:lnTo>
                  <a:lnTo>
                    <a:pt x="19681" y="51"/>
                  </a:lnTo>
                  <a:lnTo>
                    <a:pt x="20185" y="1232"/>
                  </a:lnTo>
                  <a:lnTo>
                    <a:pt x="20666" y="3075"/>
                  </a:lnTo>
                  <a:lnTo>
                    <a:pt x="21521" y="4027"/>
                  </a:lnTo>
                  <a:lnTo>
                    <a:pt x="21600" y="5606"/>
                  </a:lnTo>
                  <a:lnTo>
                    <a:pt x="20401" y="6063"/>
                  </a:lnTo>
                  <a:lnTo>
                    <a:pt x="19609" y="8059"/>
                  </a:lnTo>
                  <a:lnTo>
                    <a:pt x="19133" y="9771"/>
                  </a:lnTo>
                  <a:lnTo>
                    <a:pt x="18357" y="10530"/>
                  </a:lnTo>
                  <a:lnTo>
                    <a:pt x="18082" y="11771"/>
                  </a:lnTo>
                  <a:lnTo>
                    <a:pt x="17325" y="12313"/>
                  </a:lnTo>
                  <a:lnTo>
                    <a:pt x="16876" y="14007"/>
                  </a:lnTo>
                  <a:lnTo>
                    <a:pt x="16362" y="15686"/>
                  </a:lnTo>
                  <a:lnTo>
                    <a:pt x="15186" y="16888"/>
                  </a:lnTo>
                  <a:lnTo>
                    <a:pt x="14357" y="15325"/>
                  </a:lnTo>
                  <a:lnTo>
                    <a:pt x="13266" y="15566"/>
                  </a:lnTo>
                  <a:lnTo>
                    <a:pt x="12391" y="16650"/>
                  </a:lnTo>
                  <a:lnTo>
                    <a:pt x="11315" y="18111"/>
                  </a:lnTo>
                  <a:lnTo>
                    <a:pt x="10926" y="19955"/>
                  </a:lnTo>
                  <a:lnTo>
                    <a:pt x="9408" y="21030"/>
                  </a:lnTo>
                  <a:lnTo>
                    <a:pt x="8099" y="21368"/>
                  </a:lnTo>
                  <a:lnTo>
                    <a:pt x="6867" y="21600"/>
                  </a:lnTo>
                  <a:lnTo>
                    <a:pt x="5480" y="21188"/>
                  </a:lnTo>
                  <a:lnTo>
                    <a:pt x="4817" y="19467"/>
                  </a:lnTo>
                  <a:lnTo>
                    <a:pt x="4154" y="18232"/>
                  </a:lnTo>
                  <a:lnTo>
                    <a:pt x="3525" y="17091"/>
                  </a:lnTo>
                  <a:lnTo>
                    <a:pt x="2147" y="16922"/>
                  </a:lnTo>
                  <a:lnTo>
                    <a:pt x="0" y="16601"/>
                  </a:lnTo>
                  <a:lnTo>
                    <a:pt x="149" y="14219"/>
                  </a:lnTo>
                  <a:lnTo>
                    <a:pt x="136" y="12301"/>
                  </a:lnTo>
                  <a:lnTo>
                    <a:pt x="445" y="10844"/>
                  </a:lnTo>
                  <a:close/>
                  <a:moveTo>
                    <a:pt x="445" y="10844"/>
                  </a:moveTo>
                </a:path>
              </a:pathLst>
            </a:custGeom>
            <a:solidFill>
              <a:srgbClr val="002060">
                <a:lumMod val="25000"/>
                <a:lumOff val="75000"/>
              </a:srgbClr>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39" name="Freeform 10">
              <a:extLst>
                <a:ext uri="{FF2B5EF4-FFF2-40B4-BE49-F238E27FC236}">
                  <a16:creationId xmlns:a16="http://schemas.microsoft.com/office/drawing/2014/main" id="{A7D3DC34-F886-4A7D-A153-01E210CE976F}"/>
                </a:ext>
              </a:extLst>
            </p:cNvPr>
            <p:cNvSpPr>
              <a:spLocks/>
            </p:cNvSpPr>
            <p:nvPr/>
          </p:nvSpPr>
          <p:spPr bwMode="auto">
            <a:xfrm>
              <a:off x="3388982" y="468398"/>
              <a:ext cx="1360843" cy="123723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0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0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2147483646 w 21600"/>
                <a:gd name="T99" fmla="*/ 2147483646 h 21600"/>
                <a:gd name="T100" fmla="*/ 2147483646 w 21600"/>
                <a:gd name="T101" fmla="*/ 2147483646 h 21600"/>
                <a:gd name="T102" fmla="*/ 2147483646 w 21600"/>
                <a:gd name="T103" fmla="*/ 2147483646 h 21600"/>
                <a:gd name="T104" fmla="*/ 2147483646 w 21600"/>
                <a:gd name="T105" fmla="*/ 2147483646 h 21600"/>
                <a:gd name="T106" fmla="*/ 2147483646 w 21600"/>
                <a:gd name="T107" fmla="*/ 2147483646 h 21600"/>
                <a:gd name="T108" fmla="*/ 2147483646 w 21600"/>
                <a:gd name="T109" fmla="*/ 2147483646 h 21600"/>
                <a:gd name="T110" fmla="*/ 2147483646 w 21600"/>
                <a:gd name="T111" fmla="*/ 2147483646 h 21600"/>
                <a:gd name="T112" fmla="*/ 2147483646 w 21600"/>
                <a:gd name="T113" fmla="*/ 2147483646 h 21600"/>
                <a:gd name="T114" fmla="*/ 2147483646 w 21600"/>
                <a:gd name="T115" fmla="*/ 2147483646 h 21600"/>
                <a:gd name="T116" fmla="*/ 2147483646 w 21600"/>
                <a:gd name="T117" fmla="*/ 2147483646 h 216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1600" h="21600">
                  <a:moveTo>
                    <a:pt x="21600" y="17815"/>
                  </a:moveTo>
                  <a:lnTo>
                    <a:pt x="21521" y="15865"/>
                  </a:lnTo>
                  <a:lnTo>
                    <a:pt x="21482" y="12831"/>
                  </a:lnTo>
                  <a:lnTo>
                    <a:pt x="21350" y="9262"/>
                  </a:lnTo>
                  <a:lnTo>
                    <a:pt x="21232" y="6136"/>
                  </a:lnTo>
                  <a:lnTo>
                    <a:pt x="20681" y="4968"/>
                  </a:lnTo>
                  <a:lnTo>
                    <a:pt x="20980" y="4013"/>
                  </a:lnTo>
                  <a:lnTo>
                    <a:pt x="20896" y="2912"/>
                  </a:lnTo>
                  <a:lnTo>
                    <a:pt x="21035" y="2140"/>
                  </a:lnTo>
                  <a:lnTo>
                    <a:pt x="20090" y="1949"/>
                  </a:lnTo>
                  <a:lnTo>
                    <a:pt x="19186" y="1636"/>
                  </a:lnTo>
                  <a:lnTo>
                    <a:pt x="18422" y="910"/>
                  </a:lnTo>
                  <a:lnTo>
                    <a:pt x="17497" y="657"/>
                  </a:lnTo>
                  <a:lnTo>
                    <a:pt x="16420" y="665"/>
                  </a:lnTo>
                  <a:lnTo>
                    <a:pt x="15419" y="925"/>
                  </a:lnTo>
                  <a:lnTo>
                    <a:pt x="14655" y="1590"/>
                  </a:lnTo>
                  <a:lnTo>
                    <a:pt x="14453" y="2622"/>
                  </a:lnTo>
                  <a:lnTo>
                    <a:pt x="14495" y="3860"/>
                  </a:lnTo>
                  <a:lnTo>
                    <a:pt x="13807" y="4571"/>
                  </a:lnTo>
                  <a:lnTo>
                    <a:pt x="12299" y="3929"/>
                  </a:lnTo>
                  <a:lnTo>
                    <a:pt x="11145" y="3386"/>
                  </a:lnTo>
                  <a:lnTo>
                    <a:pt x="10179" y="3187"/>
                  </a:lnTo>
                  <a:lnTo>
                    <a:pt x="9116" y="2950"/>
                  </a:lnTo>
                  <a:lnTo>
                    <a:pt x="8546" y="1269"/>
                  </a:lnTo>
                  <a:lnTo>
                    <a:pt x="7197" y="818"/>
                  </a:lnTo>
                  <a:lnTo>
                    <a:pt x="6426" y="589"/>
                  </a:lnTo>
                  <a:lnTo>
                    <a:pt x="5077" y="627"/>
                  </a:lnTo>
                  <a:lnTo>
                    <a:pt x="3534" y="0"/>
                  </a:lnTo>
                  <a:lnTo>
                    <a:pt x="3548" y="1238"/>
                  </a:lnTo>
                  <a:lnTo>
                    <a:pt x="2673" y="1659"/>
                  </a:lnTo>
                  <a:lnTo>
                    <a:pt x="1727" y="2308"/>
                  </a:lnTo>
                  <a:lnTo>
                    <a:pt x="1665" y="3646"/>
                  </a:lnTo>
                  <a:lnTo>
                    <a:pt x="1345" y="4349"/>
                  </a:lnTo>
                  <a:lnTo>
                    <a:pt x="532" y="4533"/>
                  </a:lnTo>
                  <a:lnTo>
                    <a:pt x="838" y="5526"/>
                  </a:lnTo>
                  <a:lnTo>
                    <a:pt x="913" y="6838"/>
                  </a:lnTo>
                  <a:lnTo>
                    <a:pt x="928" y="8270"/>
                  </a:lnTo>
                  <a:lnTo>
                    <a:pt x="664" y="9485"/>
                  </a:lnTo>
                  <a:lnTo>
                    <a:pt x="670" y="10392"/>
                  </a:lnTo>
                  <a:lnTo>
                    <a:pt x="0" y="10783"/>
                  </a:lnTo>
                  <a:lnTo>
                    <a:pt x="692" y="11801"/>
                  </a:lnTo>
                  <a:lnTo>
                    <a:pt x="762" y="13340"/>
                  </a:lnTo>
                  <a:lnTo>
                    <a:pt x="1880" y="13598"/>
                  </a:lnTo>
                  <a:lnTo>
                    <a:pt x="2615" y="14005"/>
                  </a:lnTo>
                  <a:lnTo>
                    <a:pt x="3258" y="15132"/>
                  </a:lnTo>
                  <a:lnTo>
                    <a:pt x="4646" y="15450"/>
                  </a:lnTo>
                  <a:lnTo>
                    <a:pt x="5632" y="15830"/>
                  </a:lnTo>
                  <a:lnTo>
                    <a:pt x="6568" y="16503"/>
                  </a:lnTo>
                  <a:lnTo>
                    <a:pt x="7637" y="16093"/>
                  </a:lnTo>
                  <a:lnTo>
                    <a:pt x="8383" y="15412"/>
                  </a:lnTo>
                  <a:lnTo>
                    <a:pt x="9298" y="15481"/>
                  </a:lnTo>
                  <a:lnTo>
                    <a:pt x="11030" y="16331"/>
                  </a:lnTo>
                  <a:lnTo>
                    <a:pt x="14007" y="18018"/>
                  </a:lnTo>
                  <a:lnTo>
                    <a:pt x="17234" y="19820"/>
                  </a:lnTo>
                  <a:lnTo>
                    <a:pt x="20134" y="21600"/>
                  </a:lnTo>
                  <a:lnTo>
                    <a:pt x="20113" y="20795"/>
                  </a:lnTo>
                  <a:lnTo>
                    <a:pt x="21450" y="20725"/>
                  </a:lnTo>
                  <a:lnTo>
                    <a:pt x="21600" y="17815"/>
                  </a:lnTo>
                  <a:close/>
                  <a:moveTo>
                    <a:pt x="21600" y="17815"/>
                  </a:moveTo>
                </a:path>
              </a:pathLst>
            </a:custGeom>
            <a:solidFill>
              <a:srgbClr val="E6E6E6"/>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340" name="Freeform 11">
              <a:extLst>
                <a:ext uri="{FF2B5EF4-FFF2-40B4-BE49-F238E27FC236}">
                  <a16:creationId xmlns:a16="http://schemas.microsoft.com/office/drawing/2014/main" id="{09093E96-6EA1-4341-A2D9-4E669E7E96E2}"/>
                </a:ext>
              </a:extLst>
            </p:cNvPr>
            <p:cNvSpPr>
              <a:spLocks/>
            </p:cNvSpPr>
            <p:nvPr/>
          </p:nvSpPr>
          <p:spPr bwMode="auto">
            <a:xfrm>
              <a:off x="3568385" y="5039913"/>
              <a:ext cx="1204412" cy="1074235"/>
            </a:xfrm>
            <a:custGeom>
              <a:avLst/>
              <a:gdLst>
                <a:gd name="T0" fmla="*/ 86430832 w 21600"/>
                <a:gd name="T1" fmla="*/ 107000498 h 21600"/>
                <a:gd name="T2" fmla="*/ 87157641 w 21600"/>
                <a:gd name="T3" fmla="*/ 81180153 h 21600"/>
                <a:gd name="T4" fmla="*/ 86155871 w 21600"/>
                <a:gd name="T5" fmla="*/ 65339960 h 21600"/>
                <a:gd name="T6" fmla="*/ 87033270 w 21600"/>
                <a:gd name="T7" fmla="*/ 48400724 h 21600"/>
                <a:gd name="T8" fmla="*/ 95925153 w 21600"/>
                <a:gd name="T9" fmla="*/ 47166286 h 21600"/>
                <a:gd name="T10" fmla="*/ 95833472 w 21600"/>
                <a:gd name="T11" fmla="*/ 38535183 h 21600"/>
                <a:gd name="T12" fmla="*/ 96442383 w 21600"/>
                <a:gd name="T13" fmla="*/ 29924937 h 21600"/>
                <a:gd name="T14" fmla="*/ 96069187 w 21600"/>
                <a:gd name="T15" fmla="*/ 13246171 h 21600"/>
                <a:gd name="T16" fmla="*/ 105046197 w 21600"/>
                <a:gd name="T17" fmla="*/ 12376277 h 21600"/>
                <a:gd name="T18" fmla="*/ 114193458 w 21600"/>
                <a:gd name="T19" fmla="*/ 11641778 h 21600"/>
                <a:gd name="T20" fmla="*/ 120950794 w 21600"/>
                <a:gd name="T21" fmla="*/ 10032260 h 21600"/>
                <a:gd name="T22" fmla="*/ 125350895 w 21600"/>
                <a:gd name="T23" fmla="*/ 14756741 h 21600"/>
                <a:gd name="T24" fmla="*/ 130032593 w 21600"/>
                <a:gd name="T25" fmla="*/ 10907351 h 21600"/>
                <a:gd name="T26" fmla="*/ 141432300 w 21600"/>
                <a:gd name="T27" fmla="*/ 9626001 h 21600"/>
                <a:gd name="T28" fmla="*/ 137785144 w 21600"/>
                <a:gd name="T29" fmla="*/ 5406799 h 21600"/>
                <a:gd name="T30" fmla="*/ 129554608 w 21600"/>
                <a:gd name="T31" fmla="*/ 5271404 h 21600"/>
                <a:gd name="T32" fmla="*/ 119687091 w 21600"/>
                <a:gd name="T33" fmla="*/ 5682859 h 21600"/>
                <a:gd name="T34" fmla="*/ 107606375 w 21600"/>
                <a:gd name="T35" fmla="*/ 7193428 h 21600"/>
                <a:gd name="T36" fmla="*/ 94432289 w 21600"/>
                <a:gd name="T37" fmla="*/ 7610152 h 21600"/>
                <a:gd name="T38" fmla="*/ 78206849 w 21600"/>
                <a:gd name="T39" fmla="*/ 7438237 h 21600"/>
                <a:gd name="T40" fmla="*/ 68588157 w 21600"/>
                <a:gd name="T41" fmla="*/ 3542008 h 21600"/>
                <a:gd name="T42" fmla="*/ 48034634 w 21600"/>
                <a:gd name="T43" fmla="*/ 3542008 h 21600"/>
                <a:gd name="T44" fmla="*/ 23644040 w 21600"/>
                <a:gd name="T45" fmla="*/ 3979589 h 21600"/>
                <a:gd name="T46" fmla="*/ 16402246 w 21600"/>
                <a:gd name="T47" fmla="*/ 0 h 21600"/>
                <a:gd name="T48" fmla="*/ 0 w 21600"/>
                <a:gd name="T49" fmla="*/ 3755566 h 21600"/>
                <a:gd name="T50" fmla="*/ 0 w 21600"/>
                <a:gd name="T51" fmla="*/ 10954263 h 21600"/>
                <a:gd name="T52" fmla="*/ 4675143 w 21600"/>
                <a:gd name="T53" fmla="*/ 17553856 h 21600"/>
                <a:gd name="T54" fmla="*/ 9867517 w 21600"/>
                <a:gd name="T55" fmla="*/ 25117169 h 21600"/>
                <a:gd name="T56" fmla="*/ 15884934 w 21600"/>
                <a:gd name="T57" fmla="*/ 32935611 h 21600"/>
                <a:gd name="T58" fmla="*/ 19381500 w 21600"/>
                <a:gd name="T59" fmla="*/ 39764496 h 21600"/>
                <a:gd name="T60" fmla="*/ 23388743 w 21600"/>
                <a:gd name="T61" fmla="*/ 46223425 h 21600"/>
                <a:gd name="T62" fmla="*/ 28430527 w 21600"/>
                <a:gd name="T63" fmla="*/ 51265609 h 21600"/>
                <a:gd name="T64" fmla="*/ 29871037 w 21600"/>
                <a:gd name="T65" fmla="*/ 58094423 h 21600"/>
                <a:gd name="T66" fmla="*/ 30329359 w 21600"/>
                <a:gd name="T67" fmla="*/ 66647436 h 21600"/>
                <a:gd name="T68" fmla="*/ 33721136 w 21600"/>
                <a:gd name="T69" fmla="*/ 74163764 h 21600"/>
                <a:gd name="T70" fmla="*/ 35626522 w 21600"/>
                <a:gd name="T71" fmla="*/ 85118027 h 21600"/>
                <a:gd name="T72" fmla="*/ 37374764 w 21600"/>
                <a:gd name="T73" fmla="*/ 95327398 h 21600"/>
                <a:gd name="T74" fmla="*/ 40766541 w 21600"/>
                <a:gd name="T75" fmla="*/ 100598802 h 21600"/>
                <a:gd name="T76" fmla="*/ 45494038 w 21600"/>
                <a:gd name="T77" fmla="*/ 106312911 h 21600"/>
                <a:gd name="T78" fmla="*/ 51328176 w 21600"/>
                <a:gd name="T79" fmla="*/ 110453950 h 21600"/>
                <a:gd name="T80" fmla="*/ 54582391 w 21600"/>
                <a:gd name="T81" fmla="*/ 105703487 h 21600"/>
                <a:gd name="T82" fmla="*/ 60062915 w 21600"/>
                <a:gd name="T83" fmla="*/ 105427355 h 21600"/>
                <a:gd name="T84" fmla="*/ 60684935 w 21600"/>
                <a:gd name="T85" fmla="*/ 110636258 h 21600"/>
                <a:gd name="T86" fmla="*/ 68254207 w 21600"/>
                <a:gd name="T87" fmla="*/ 112464530 h 21600"/>
                <a:gd name="T88" fmla="*/ 77768110 w 21600"/>
                <a:gd name="T89" fmla="*/ 112511442 h 21600"/>
                <a:gd name="T90" fmla="*/ 86430832 w 21600"/>
                <a:gd name="T91" fmla="*/ 107000498 h 21600"/>
                <a:gd name="T92" fmla="*/ 86430832 w 21600"/>
                <a:gd name="T93" fmla="*/ 107000498 h 2160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1600" h="21600">
                  <a:moveTo>
                    <a:pt x="13200" y="20542"/>
                  </a:moveTo>
                  <a:lnTo>
                    <a:pt x="13311" y="15585"/>
                  </a:lnTo>
                  <a:lnTo>
                    <a:pt x="13158" y="12544"/>
                  </a:lnTo>
                  <a:lnTo>
                    <a:pt x="13292" y="9292"/>
                  </a:lnTo>
                  <a:lnTo>
                    <a:pt x="14650" y="9055"/>
                  </a:lnTo>
                  <a:lnTo>
                    <a:pt x="14636" y="7398"/>
                  </a:lnTo>
                  <a:lnTo>
                    <a:pt x="14729" y="5745"/>
                  </a:lnTo>
                  <a:lnTo>
                    <a:pt x="14672" y="2543"/>
                  </a:lnTo>
                  <a:lnTo>
                    <a:pt x="16043" y="2376"/>
                  </a:lnTo>
                  <a:lnTo>
                    <a:pt x="17440" y="2235"/>
                  </a:lnTo>
                  <a:lnTo>
                    <a:pt x="18472" y="1926"/>
                  </a:lnTo>
                  <a:lnTo>
                    <a:pt x="19144" y="2833"/>
                  </a:lnTo>
                  <a:lnTo>
                    <a:pt x="19859" y="2094"/>
                  </a:lnTo>
                  <a:lnTo>
                    <a:pt x="21600" y="1848"/>
                  </a:lnTo>
                  <a:lnTo>
                    <a:pt x="21043" y="1038"/>
                  </a:lnTo>
                  <a:lnTo>
                    <a:pt x="19786" y="1012"/>
                  </a:lnTo>
                  <a:lnTo>
                    <a:pt x="18279" y="1091"/>
                  </a:lnTo>
                  <a:lnTo>
                    <a:pt x="16434" y="1381"/>
                  </a:lnTo>
                  <a:lnTo>
                    <a:pt x="14422" y="1461"/>
                  </a:lnTo>
                  <a:lnTo>
                    <a:pt x="11944" y="1428"/>
                  </a:lnTo>
                  <a:lnTo>
                    <a:pt x="10475" y="680"/>
                  </a:lnTo>
                  <a:lnTo>
                    <a:pt x="7336" y="680"/>
                  </a:lnTo>
                  <a:lnTo>
                    <a:pt x="3611" y="764"/>
                  </a:lnTo>
                  <a:lnTo>
                    <a:pt x="2505" y="0"/>
                  </a:lnTo>
                  <a:lnTo>
                    <a:pt x="0" y="721"/>
                  </a:lnTo>
                  <a:lnTo>
                    <a:pt x="0" y="2103"/>
                  </a:lnTo>
                  <a:lnTo>
                    <a:pt x="714" y="3370"/>
                  </a:lnTo>
                  <a:lnTo>
                    <a:pt x="1507" y="4822"/>
                  </a:lnTo>
                  <a:lnTo>
                    <a:pt x="2426" y="6323"/>
                  </a:lnTo>
                  <a:lnTo>
                    <a:pt x="2960" y="7634"/>
                  </a:lnTo>
                  <a:lnTo>
                    <a:pt x="3572" y="8874"/>
                  </a:lnTo>
                  <a:lnTo>
                    <a:pt x="4342" y="9842"/>
                  </a:lnTo>
                  <a:lnTo>
                    <a:pt x="4562" y="11153"/>
                  </a:lnTo>
                  <a:lnTo>
                    <a:pt x="4632" y="12795"/>
                  </a:lnTo>
                  <a:lnTo>
                    <a:pt x="5150" y="14238"/>
                  </a:lnTo>
                  <a:lnTo>
                    <a:pt x="5441" y="16341"/>
                  </a:lnTo>
                  <a:lnTo>
                    <a:pt x="5708" y="18301"/>
                  </a:lnTo>
                  <a:lnTo>
                    <a:pt x="6226" y="19313"/>
                  </a:lnTo>
                  <a:lnTo>
                    <a:pt x="6948" y="20410"/>
                  </a:lnTo>
                  <a:lnTo>
                    <a:pt x="7839" y="21205"/>
                  </a:lnTo>
                  <a:lnTo>
                    <a:pt x="8336" y="20293"/>
                  </a:lnTo>
                  <a:lnTo>
                    <a:pt x="9173" y="20240"/>
                  </a:lnTo>
                  <a:lnTo>
                    <a:pt x="9268" y="21240"/>
                  </a:lnTo>
                  <a:lnTo>
                    <a:pt x="10424" y="21591"/>
                  </a:lnTo>
                  <a:lnTo>
                    <a:pt x="11877" y="21600"/>
                  </a:lnTo>
                  <a:lnTo>
                    <a:pt x="13200" y="20542"/>
                  </a:lnTo>
                  <a:close/>
                  <a:moveTo>
                    <a:pt x="13200" y="20542"/>
                  </a:moveTo>
                </a:path>
              </a:pathLst>
            </a:custGeom>
            <a:solidFill>
              <a:srgbClr val="002060">
                <a:lumMod val="25000"/>
                <a:lumOff val="75000"/>
              </a:srgbClr>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41" name="Freeform 12">
              <a:extLst>
                <a:ext uri="{FF2B5EF4-FFF2-40B4-BE49-F238E27FC236}">
                  <a16:creationId xmlns:a16="http://schemas.microsoft.com/office/drawing/2014/main" id="{088271AA-3EC2-446F-A7B6-69FDC024EF23}"/>
                </a:ext>
              </a:extLst>
            </p:cNvPr>
            <p:cNvSpPr>
              <a:spLocks/>
            </p:cNvSpPr>
            <p:nvPr/>
          </p:nvSpPr>
          <p:spPr bwMode="auto">
            <a:xfrm>
              <a:off x="1421010" y="1151008"/>
              <a:ext cx="1478987" cy="1376158"/>
            </a:xfrm>
            <a:custGeom>
              <a:avLst/>
              <a:gdLst>
                <a:gd name="T0" fmla="*/ 20329634 w 21600"/>
                <a:gd name="T1" fmla="*/ 118095181 h 21600"/>
                <a:gd name="T2" fmla="*/ 32108747 w 21600"/>
                <a:gd name="T3" fmla="*/ 116641939 h 21600"/>
                <a:gd name="T4" fmla="*/ 87390778 w 21600"/>
                <a:gd name="T5" fmla="*/ 117103578 h 21600"/>
                <a:gd name="T6" fmla="*/ 90629306 w 21600"/>
                <a:gd name="T7" fmla="*/ 110205071 h 21600"/>
                <a:gd name="T8" fmla="*/ 86442928 w 21600"/>
                <a:gd name="T9" fmla="*/ 101879024 h 21600"/>
                <a:gd name="T10" fmla="*/ 86808296 w 21600"/>
                <a:gd name="T11" fmla="*/ 76738347 h 21600"/>
                <a:gd name="T12" fmla="*/ 86067723 w 21600"/>
                <a:gd name="T13" fmla="*/ 52409812 h 21600"/>
                <a:gd name="T14" fmla="*/ 88210346 w 21600"/>
                <a:gd name="T15" fmla="*/ 25097870 h 21600"/>
                <a:gd name="T16" fmla="*/ 88713833 w 21600"/>
                <a:gd name="T17" fmla="*/ 0 h 21600"/>
                <a:gd name="T18" fmla="*/ 109902484 w 21600"/>
                <a:gd name="T19" fmla="*/ 111134 h 21600"/>
                <a:gd name="T20" fmla="*/ 162163200 w 21600"/>
                <a:gd name="T21" fmla="*/ 40254098 h 21600"/>
                <a:gd name="T22" fmla="*/ 177536272 w 21600"/>
                <a:gd name="T23" fmla="*/ 50717199 h 21600"/>
                <a:gd name="T24" fmla="*/ 182996420 w 21600"/>
                <a:gd name="T25" fmla="*/ 60710248 h 21600"/>
                <a:gd name="T26" fmla="*/ 191003808 w 21600"/>
                <a:gd name="T27" fmla="*/ 62539606 h 21600"/>
                <a:gd name="T28" fmla="*/ 196977378 w 21600"/>
                <a:gd name="T29" fmla="*/ 64907434 h 21600"/>
                <a:gd name="T30" fmla="*/ 202921238 w 21600"/>
                <a:gd name="T31" fmla="*/ 67848127 h 21600"/>
                <a:gd name="T32" fmla="*/ 201519187 w 21600"/>
                <a:gd name="T33" fmla="*/ 76259603 h 21600"/>
                <a:gd name="T34" fmla="*/ 213081087 w 21600"/>
                <a:gd name="T35" fmla="*/ 76516079 h 21600"/>
                <a:gd name="T36" fmla="*/ 212992254 w 21600"/>
                <a:gd name="T37" fmla="*/ 85714089 h 21600"/>
                <a:gd name="T38" fmla="*/ 213268689 w 21600"/>
                <a:gd name="T39" fmla="*/ 103939155 h 21600"/>
                <a:gd name="T40" fmla="*/ 209348910 w 21600"/>
                <a:gd name="T41" fmla="*/ 113744054 h 21600"/>
                <a:gd name="T42" fmla="*/ 202259661 w 21600"/>
                <a:gd name="T43" fmla="*/ 121899147 h 21600"/>
                <a:gd name="T44" fmla="*/ 174189137 w 21600"/>
                <a:gd name="T45" fmla="*/ 123113017 h 21600"/>
                <a:gd name="T46" fmla="*/ 169252448 w 21600"/>
                <a:gd name="T47" fmla="*/ 127190563 h 21600"/>
                <a:gd name="T48" fmla="*/ 159734304 w 21600"/>
                <a:gd name="T49" fmla="*/ 126318692 h 21600"/>
                <a:gd name="T50" fmla="*/ 148873429 w 21600"/>
                <a:gd name="T51" fmla="*/ 124797032 h 21600"/>
                <a:gd name="T52" fmla="*/ 141270758 w 21600"/>
                <a:gd name="T53" fmla="*/ 128173660 h 21600"/>
                <a:gd name="T54" fmla="*/ 132325357 w 21600"/>
                <a:gd name="T55" fmla="*/ 130396238 h 21600"/>
                <a:gd name="T56" fmla="*/ 128257423 w 21600"/>
                <a:gd name="T57" fmla="*/ 135414074 h 21600"/>
                <a:gd name="T58" fmla="*/ 121977806 w 21600"/>
                <a:gd name="T59" fmla="*/ 134431070 h 21600"/>
                <a:gd name="T60" fmla="*/ 118699830 w 21600"/>
                <a:gd name="T61" fmla="*/ 140440509 h 21600"/>
                <a:gd name="T62" fmla="*/ 113565602 w 21600"/>
                <a:gd name="T63" fmla="*/ 145210467 h 21600"/>
                <a:gd name="T64" fmla="*/ 105607499 w 21600"/>
                <a:gd name="T65" fmla="*/ 143979492 h 21600"/>
                <a:gd name="T66" fmla="*/ 99584643 w 21600"/>
                <a:gd name="T67" fmla="*/ 147270598 h 21600"/>
                <a:gd name="T68" fmla="*/ 98083823 w 21600"/>
                <a:gd name="T69" fmla="*/ 157066990 h 21600"/>
                <a:gd name="T70" fmla="*/ 93216194 w 21600"/>
                <a:gd name="T71" fmla="*/ 162084918 h 21600"/>
                <a:gd name="T72" fmla="*/ 87647539 w 21600"/>
                <a:gd name="T73" fmla="*/ 163794544 h 21600"/>
                <a:gd name="T74" fmla="*/ 86581146 w 21600"/>
                <a:gd name="T75" fmla="*/ 170564813 h 21600"/>
                <a:gd name="T76" fmla="*/ 85011266 w 21600"/>
                <a:gd name="T77" fmla="*/ 182532470 h 21600"/>
                <a:gd name="T78" fmla="*/ 75167301 w 21600"/>
                <a:gd name="T79" fmla="*/ 184643915 h 21600"/>
                <a:gd name="T80" fmla="*/ 73834409 w 21600"/>
                <a:gd name="T81" fmla="*/ 177480425 h 21600"/>
                <a:gd name="T82" fmla="*/ 66133067 w 21600"/>
                <a:gd name="T83" fmla="*/ 182421337 h 21600"/>
                <a:gd name="T84" fmla="*/ 56842073 w 21600"/>
                <a:gd name="T85" fmla="*/ 181395524 h 21600"/>
                <a:gd name="T86" fmla="*/ 47718907 w 21600"/>
                <a:gd name="T87" fmla="*/ 181805849 h 21600"/>
                <a:gd name="T88" fmla="*/ 44806199 w 21600"/>
                <a:gd name="T89" fmla="*/ 173736279 h 21600"/>
                <a:gd name="T90" fmla="*/ 43384374 w 21600"/>
                <a:gd name="T91" fmla="*/ 166906098 h 21600"/>
                <a:gd name="T92" fmla="*/ 42239085 w 21600"/>
                <a:gd name="T93" fmla="*/ 155135097 h 21600"/>
                <a:gd name="T94" fmla="*/ 34626576 w 21600"/>
                <a:gd name="T95" fmla="*/ 154057971 h 21600"/>
                <a:gd name="T96" fmla="*/ 31437432 w 21600"/>
                <a:gd name="T97" fmla="*/ 159580254 h 21600"/>
                <a:gd name="T98" fmla="*/ 24012427 w 21600"/>
                <a:gd name="T99" fmla="*/ 157930355 h 21600"/>
                <a:gd name="T100" fmla="*/ 17723072 w 21600"/>
                <a:gd name="T101" fmla="*/ 161965186 h 21600"/>
                <a:gd name="T102" fmla="*/ 15057189 w 21600"/>
                <a:gd name="T103" fmla="*/ 156819112 h 21600"/>
                <a:gd name="T104" fmla="*/ 9587204 w 21600"/>
                <a:gd name="T105" fmla="*/ 160648781 h 21600"/>
                <a:gd name="T106" fmla="*/ 9932798 w 21600"/>
                <a:gd name="T107" fmla="*/ 153810094 h 21600"/>
                <a:gd name="T108" fmla="*/ 9676037 w 21600"/>
                <a:gd name="T109" fmla="*/ 144184654 h 21600"/>
                <a:gd name="T110" fmla="*/ 2685558 w 21600"/>
                <a:gd name="T111" fmla="*/ 140312271 h 21600"/>
                <a:gd name="T112" fmla="*/ 3100310 w 21600"/>
                <a:gd name="T113" fmla="*/ 132900903 h 21600"/>
                <a:gd name="T114" fmla="*/ 0 w 21600"/>
                <a:gd name="T115" fmla="*/ 125053508 h 21600"/>
                <a:gd name="T116" fmla="*/ 8343145 w 21600"/>
                <a:gd name="T117" fmla="*/ 122865139 h 21600"/>
                <a:gd name="T118" fmla="*/ 9004722 w 21600"/>
                <a:gd name="T119" fmla="*/ 112196783 h 21600"/>
                <a:gd name="T120" fmla="*/ 20329634 w 21600"/>
                <a:gd name="T121" fmla="*/ 118095181 h 21600"/>
                <a:gd name="T122" fmla="*/ 20329634 w 21600"/>
                <a:gd name="T123" fmla="*/ 118095181 h 2160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1600" h="21600">
                  <a:moveTo>
                    <a:pt x="2059" y="13815"/>
                  </a:moveTo>
                  <a:lnTo>
                    <a:pt x="3252" y="13645"/>
                  </a:lnTo>
                  <a:lnTo>
                    <a:pt x="8851" y="13699"/>
                  </a:lnTo>
                  <a:lnTo>
                    <a:pt x="9179" y="12892"/>
                  </a:lnTo>
                  <a:lnTo>
                    <a:pt x="8755" y="11918"/>
                  </a:lnTo>
                  <a:lnTo>
                    <a:pt x="8792" y="8977"/>
                  </a:lnTo>
                  <a:lnTo>
                    <a:pt x="8717" y="6131"/>
                  </a:lnTo>
                  <a:lnTo>
                    <a:pt x="8934" y="2936"/>
                  </a:lnTo>
                  <a:lnTo>
                    <a:pt x="8985" y="0"/>
                  </a:lnTo>
                  <a:lnTo>
                    <a:pt x="11131" y="13"/>
                  </a:lnTo>
                  <a:lnTo>
                    <a:pt x="16424" y="4709"/>
                  </a:lnTo>
                  <a:lnTo>
                    <a:pt x="17981" y="5933"/>
                  </a:lnTo>
                  <a:lnTo>
                    <a:pt x="18534" y="7102"/>
                  </a:lnTo>
                  <a:lnTo>
                    <a:pt x="19345" y="7316"/>
                  </a:lnTo>
                  <a:lnTo>
                    <a:pt x="19950" y="7593"/>
                  </a:lnTo>
                  <a:lnTo>
                    <a:pt x="20552" y="7937"/>
                  </a:lnTo>
                  <a:lnTo>
                    <a:pt x="20410" y="8921"/>
                  </a:lnTo>
                  <a:lnTo>
                    <a:pt x="21581" y="8951"/>
                  </a:lnTo>
                  <a:lnTo>
                    <a:pt x="21572" y="10027"/>
                  </a:lnTo>
                  <a:lnTo>
                    <a:pt x="21600" y="12159"/>
                  </a:lnTo>
                  <a:lnTo>
                    <a:pt x="21203" y="13306"/>
                  </a:lnTo>
                  <a:lnTo>
                    <a:pt x="20485" y="14260"/>
                  </a:lnTo>
                  <a:lnTo>
                    <a:pt x="17642" y="14402"/>
                  </a:lnTo>
                  <a:lnTo>
                    <a:pt x="17142" y="14879"/>
                  </a:lnTo>
                  <a:lnTo>
                    <a:pt x="16178" y="14777"/>
                  </a:lnTo>
                  <a:lnTo>
                    <a:pt x="15078" y="14599"/>
                  </a:lnTo>
                  <a:lnTo>
                    <a:pt x="14308" y="14994"/>
                  </a:lnTo>
                  <a:lnTo>
                    <a:pt x="13402" y="15254"/>
                  </a:lnTo>
                  <a:lnTo>
                    <a:pt x="12990" y="15841"/>
                  </a:lnTo>
                  <a:lnTo>
                    <a:pt x="12354" y="15726"/>
                  </a:lnTo>
                  <a:lnTo>
                    <a:pt x="12022" y="16429"/>
                  </a:lnTo>
                  <a:lnTo>
                    <a:pt x="11502" y="16987"/>
                  </a:lnTo>
                  <a:lnTo>
                    <a:pt x="10696" y="16843"/>
                  </a:lnTo>
                  <a:lnTo>
                    <a:pt x="10086" y="17228"/>
                  </a:lnTo>
                  <a:lnTo>
                    <a:pt x="9934" y="18374"/>
                  </a:lnTo>
                  <a:lnTo>
                    <a:pt x="9441" y="18961"/>
                  </a:lnTo>
                  <a:lnTo>
                    <a:pt x="8877" y="19161"/>
                  </a:lnTo>
                  <a:lnTo>
                    <a:pt x="8769" y="19953"/>
                  </a:lnTo>
                  <a:lnTo>
                    <a:pt x="8610" y="21353"/>
                  </a:lnTo>
                  <a:lnTo>
                    <a:pt x="7613" y="21600"/>
                  </a:lnTo>
                  <a:lnTo>
                    <a:pt x="7478" y="20762"/>
                  </a:lnTo>
                  <a:lnTo>
                    <a:pt x="6698" y="21340"/>
                  </a:lnTo>
                  <a:lnTo>
                    <a:pt x="5757" y="21220"/>
                  </a:lnTo>
                  <a:lnTo>
                    <a:pt x="4833" y="21268"/>
                  </a:lnTo>
                  <a:lnTo>
                    <a:pt x="4538" y="20324"/>
                  </a:lnTo>
                  <a:lnTo>
                    <a:pt x="4394" y="19525"/>
                  </a:lnTo>
                  <a:lnTo>
                    <a:pt x="4278" y="18148"/>
                  </a:lnTo>
                  <a:lnTo>
                    <a:pt x="3507" y="18022"/>
                  </a:lnTo>
                  <a:lnTo>
                    <a:pt x="3184" y="18668"/>
                  </a:lnTo>
                  <a:lnTo>
                    <a:pt x="2432" y="18475"/>
                  </a:lnTo>
                  <a:lnTo>
                    <a:pt x="1795" y="18947"/>
                  </a:lnTo>
                  <a:lnTo>
                    <a:pt x="1525" y="18345"/>
                  </a:lnTo>
                  <a:lnTo>
                    <a:pt x="971" y="18793"/>
                  </a:lnTo>
                  <a:lnTo>
                    <a:pt x="1006" y="17993"/>
                  </a:lnTo>
                  <a:lnTo>
                    <a:pt x="980" y="16867"/>
                  </a:lnTo>
                  <a:lnTo>
                    <a:pt x="272" y="16414"/>
                  </a:lnTo>
                  <a:lnTo>
                    <a:pt x="314" y="15547"/>
                  </a:lnTo>
                  <a:lnTo>
                    <a:pt x="0" y="14629"/>
                  </a:lnTo>
                  <a:lnTo>
                    <a:pt x="845" y="14373"/>
                  </a:lnTo>
                  <a:lnTo>
                    <a:pt x="912" y="13125"/>
                  </a:lnTo>
                  <a:lnTo>
                    <a:pt x="2059" y="13815"/>
                  </a:lnTo>
                  <a:close/>
                  <a:moveTo>
                    <a:pt x="2059" y="13815"/>
                  </a:moveTo>
                </a:path>
              </a:pathLst>
            </a:custGeom>
            <a:solidFill>
              <a:srgbClr val="002060">
                <a:lumMod val="25000"/>
                <a:lumOff val="75000"/>
              </a:srgbClr>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42" name="Freeform 13">
              <a:extLst>
                <a:ext uri="{FF2B5EF4-FFF2-40B4-BE49-F238E27FC236}">
                  <a16:creationId xmlns:a16="http://schemas.microsoft.com/office/drawing/2014/main" id="{97FDB8FB-5722-426F-8F16-DE251AE5E340}"/>
                </a:ext>
              </a:extLst>
            </p:cNvPr>
            <p:cNvSpPr>
              <a:spLocks/>
            </p:cNvSpPr>
            <p:nvPr/>
          </p:nvSpPr>
          <p:spPr bwMode="auto">
            <a:xfrm>
              <a:off x="5215837" y="4472165"/>
              <a:ext cx="949527" cy="1488833"/>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0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1600" h="21600">
                  <a:moveTo>
                    <a:pt x="3828" y="21600"/>
                  </a:moveTo>
                  <a:lnTo>
                    <a:pt x="2828" y="21446"/>
                  </a:lnTo>
                  <a:lnTo>
                    <a:pt x="2613" y="20293"/>
                  </a:lnTo>
                  <a:lnTo>
                    <a:pt x="2666" y="19197"/>
                  </a:lnTo>
                  <a:lnTo>
                    <a:pt x="2720" y="18021"/>
                  </a:lnTo>
                  <a:lnTo>
                    <a:pt x="1986" y="17210"/>
                  </a:lnTo>
                  <a:lnTo>
                    <a:pt x="1682" y="15502"/>
                  </a:lnTo>
                  <a:lnTo>
                    <a:pt x="3758" y="14280"/>
                  </a:lnTo>
                  <a:lnTo>
                    <a:pt x="4205" y="13184"/>
                  </a:lnTo>
                  <a:lnTo>
                    <a:pt x="5404" y="12259"/>
                  </a:lnTo>
                  <a:lnTo>
                    <a:pt x="4939" y="11483"/>
                  </a:lnTo>
                  <a:lnTo>
                    <a:pt x="5208" y="10706"/>
                  </a:lnTo>
                  <a:lnTo>
                    <a:pt x="5440" y="9790"/>
                  </a:lnTo>
                  <a:lnTo>
                    <a:pt x="5369" y="7997"/>
                  </a:lnTo>
                  <a:lnTo>
                    <a:pt x="3472" y="7581"/>
                  </a:lnTo>
                  <a:lnTo>
                    <a:pt x="2184" y="7278"/>
                  </a:lnTo>
                  <a:lnTo>
                    <a:pt x="251" y="6988"/>
                  </a:lnTo>
                  <a:lnTo>
                    <a:pt x="233" y="6348"/>
                  </a:lnTo>
                  <a:lnTo>
                    <a:pt x="0" y="5686"/>
                  </a:lnTo>
                  <a:lnTo>
                    <a:pt x="1342" y="5492"/>
                  </a:lnTo>
                  <a:lnTo>
                    <a:pt x="3579" y="5024"/>
                  </a:lnTo>
                  <a:lnTo>
                    <a:pt x="6174" y="4556"/>
                  </a:lnTo>
                  <a:lnTo>
                    <a:pt x="7087" y="5035"/>
                  </a:lnTo>
                  <a:lnTo>
                    <a:pt x="8805" y="5035"/>
                  </a:lnTo>
                  <a:lnTo>
                    <a:pt x="9001" y="5983"/>
                  </a:lnTo>
                  <a:lnTo>
                    <a:pt x="8321" y="6839"/>
                  </a:lnTo>
                  <a:lnTo>
                    <a:pt x="8733" y="7479"/>
                  </a:lnTo>
                  <a:lnTo>
                    <a:pt x="9431" y="7970"/>
                  </a:lnTo>
                  <a:lnTo>
                    <a:pt x="9592" y="8735"/>
                  </a:lnTo>
                  <a:lnTo>
                    <a:pt x="10505" y="8335"/>
                  </a:lnTo>
                  <a:lnTo>
                    <a:pt x="10469" y="7444"/>
                  </a:lnTo>
                  <a:lnTo>
                    <a:pt x="11489" y="7205"/>
                  </a:lnTo>
                  <a:lnTo>
                    <a:pt x="11489" y="6154"/>
                  </a:lnTo>
                  <a:lnTo>
                    <a:pt x="11650" y="5469"/>
                  </a:lnTo>
                  <a:lnTo>
                    <a:pt x="10887" y="4838"/>
                  </a:lnTo>
                  <a:lnTo>
                    <a:pt x="10200" y="4133"/>
                  </a:lnTo>
                  <a:lnTo>
                    <a:pt x="9198" y="3494"/>
                  </a:lnTo>
                  <a:lnTo>
                    <a:pt x="9001" y="2478"/>
                  </a:lnTo>
                  <a:lnTo>
                    <a:pt x="9145" y="1644"/>
                  </a:lnTo>
                  <a:lnTo>
                    <a:pt x="10469" y="1347"/>
                  </a:lnTo>
                  <a:lnTo>
                    <a:pt x="12169" y="1096"/>
                  </a:lnTo>
                  <a:lnTo>
                    <a:pt x="13350" y="1347"/>
                  </a:lnTo>
                  <a:lnTo>
                    <a:pt x="15301" y="1370"/>
                  </a:lnTo>
                  <a:lnTo>
                    <a:pt x="16017" y="902"/>
                  </a:lnTo>
                  <a:lnTo>
                    <a:pt x="17305" y="856"/>
                  </a:lnTo>
                  <a:lnTo>
                    <a:pt x="19435" y="651"/>
                  </a:lnTo>
                  <a:lnTo>
                    <a:pt x="20473" y="263"/>
                  </a:lnTo>
                  <a:lnTo>
                    <a:pt x="21421" y="0"/>
                  </a:lnTo>
                  <a:lnTo>
                    <a:pt x="21475" y="913"/>
                  </a:lnTo>
                  <a:lnTo>
                    <a:pt x="21600" y="2249"/>
                  </a:lnTo>
                  <a:lnTo>
                    <a:pt x="21511" y="3608"/>
                  </a:lnTo>
                  <a:lnTo>
                    <a:pt x="21511" y="4967"/>
                  </a:lnTo>
                  <a:lnTo>
                    <a:pt x="21511" y="6200"/>
                  </a:lnTo>
                  <a:lnTo>
                    <a:pt x="20669" y="7068"/>
                  </a:lnTo>
                  <a:lnTo>
                    <a:pt x="19524" y="7821"/>
                  </a:lnTo>
                  <a:lnTo>
                    <a:pt x="17913" y="8575"/>
                  </a:lnTo>
                  <a:lnTo>
                    <a:pt x="16428" y="8815"/>
                  </a:lnTo>
                  <a:lnTo>
                    <a:pt x="14997" y="9157"/>
                  </a:lnTo>
                  <a:lnTo>
                    <a:pt x="13493" y="9708"/>
                  </a:lnTo>
                  <a:lnTo>
                    <a:pt x="12294" y="10678"/>
                  </a:lnTo>
                  <a:lnTo>
                    <a:pt x="10719" y="11158"/>
                  </a:lnTo>
                  <a:lnTo>
                    <a:pt x="9771" y="11946"/>
                  </a:lnTo>
                  <a:lnTo>
                    <a:pt x="8661" y="12368"/>
                  </a:lnTo>
                  <a:lnTo>
                    <a:pt x="9288" y="13267"/>
                  </a:lnTo>
                  <a:lnTo>
                    <a:pt x="9574" y="14557"/>
                  </a:lnTo>
                  <a:lnTo>
                    <a:pt x="9789" y="16259"/>
                  </a:lnTo>
                  <a:lnTo>
                    <a:pt x="9664" y="17754"/>
                  </a:lnTo>
                  <a:lnTo>
                    <a:pt x="8644" y="18618"/>
                  </a:lnTo>
                  <a:lnTo>
                    <a:pt x="6872" y="18880"/>
                  </a:lnTo>
                  <a:lnTo>
                    <a:pt x="5530" y="19177"/>
                  </a:lnTo>
                  <a:lnTo>
                    <a:pt x="4170" y="19634"/>
                  </a:lnTo>
                  <a:lnTo>
                    <a:pt x="3597" y="20775"/>
                  </a:lnTo>
                  <a:lnTo>
                    <a:pt x="3828" y="21600"/>
                  </a:lnTo>
                  <a:close/>
                  <a:moveTo>
                    <a:pt x="3828" y="21600"/>
                  </a:moveTo>
                </a:path>
              </a:pathLst>
            </a:custGeom>
            <a:solidFill>
              <a:srgbClr val="002060">
                <a:lumMod val="25000"/>
                <a:lumOff val="75000"/>
              </a:srgbClr>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43" name="Freeform 14">
              <a:extLst>
                <a:ext uri="{FF2B5EF4-FFF2-40B4-BE49-F238E27FC236}">
                  <a16:creationId xmlns:a16="http://schemas.microsoft.com/office/drawing/2014/main" id="{A2A25BCE-0AD0-4DCB-8C5A-F6D828B0F465}"/>
                </a:ext>
              </a:extLst>
            </p:cNvPr>
            <p:cNvSpPr>
              <a:spLocks/>
            </p:cNvSpPr>
            <p:nvPr/>
          </p:nvSpPr>
          <p:spPr bwMode="auto">
            <a:xfrm>
              <a:off x="1705431" y="2472470"/>
              <a:ext cx="544775" cy="601659"/>
            </a:xfrm>
            <a:custGeom>
              <a:avLst/>
              <a:gdLst>
                <a:gd name="T0" fmla="*/ 4113955 w 21600"/>
                <a:gd name="T1" fmla="*/ 35293855 h 21600"/>
                <a:gd name="T2" fmla="*/ 4142064 w 21600"/>
                <a:gd name="T3" fmla="*/ 31530807 h 21600"/>
                <a:gd name="T4" fmla="*/ 4553346 w 21600"/>
                <a:gd name="T5" fmla="*/ 27440985 h 21600"/>
                <a:gd name="T6" fmla="*/ 3320891 w 21600"/>
                <a:gd name="T7" fmla="*/ 24865832 h 21600"/>
                <a:gd name="T8" fmla="*/ 0 w 21600"/>
                <a:gd name="T9" fmla="*/ 23607683 h 21600"/>
                <a:gd name="T10" fmla="*/ 723376 w 21600"/>
                <a:gd name="T11" fmla="*/ 21130555 h 21600"/>
                <a:gd name="T12" fmla="*/ 411245 w 21600"/>
                <a:gd name="T13" fmla="*/ 17135482 h 21600"/>
                <a:gd name="T14" fmla="*/ 1239153 w 21600"/>
                <a:gd name="T15" fmla="*/ 13761339 h 21600"/>
                <a:gd name="T16" fmla="*/ 4020184 w 21600"/>
                <a:gd name="T17" fmla="*/ 13037494 h 21600"/>
                <a:gd name="T18" fmla="*/ 3319573 w 21600"/>
                <a:gd name="T19" fmla="*/ 9107785 h 21600"/>
                <a:gd name="T20" fmla="*/ 2367077 w 21600"/>
                <a:gd name="T21" fmla="*/ 6336543 h 21600"/>
                <a:gd name="T22" fmla="*/ 2237144 w 21600"/>
                <a:gd name="T23" fmla="*/ 2089841 h 21600"/>
                <a:gd name="T24" fmla="*/ 5657186 w 21600"/>
                <a:gd name="T25" fmla="*/ 1661767 h 21600"/>
                <a:gd name="T26" fmla="*/ 8836066 w 21600"/>
                <a:gd name="T27" fmla="*/ 2151930 h 21600"/>
                <a:gd name="T28" fmla="*/ 12410161 w 21600"/>
                <a:gd name="T29" fmla="*/ 0 h 21600"/>
                <a:gd name="T30" fmla="*/ 12774521 w 21600"/>
                <a:gd name="T31" fmla="*/ 3382308 h 21600"/>
                <a:gd name="T32" fmla="*/ 15288988 w 21600"/>
                <a:gd name="T33" fmla="*/ 2230390 h 21600"/>
                <a:gd name="T34" fmla="*/ 17345289 w 21600"/>
                <a:gd name="T35" fmla="*/ 3962371 h 21600"/>
                <a:gd name="T36" fmla="*/ 20734513 w 21600"/>
                <a:gd name="T37" fmla="*/ 6236902 h 21600"/>
                <a:gd name="T38" fmla="*/ 23727205 w 21600"/>
                <a:gd name="T39" fmla="*/ 5254879 h 21600"/>
                <a:gd name="T40" fmla="*/ 26532319 w 21600"/>
                <a:gd name="T41" fmla="*/ 5668239 h 21600"/>
                <a:gd name="T42" fmla="*/ 28098353 w 21600"/>
                <a:gd name="T43" fmla="*/ 8073455 h 21600"/>
                <a:gd name="T44" fmla="*/ 28935594 w 21600"/>
                <a:gd name="T45" fmla="*/ 12295662 h 21600"/>
                <a:gd name="T46" fmla="*/ 28569880 w 21600"/>
                <a:gd name="T47" fmla="*/ 15677970 h 21600"/>
                <a:gd name="T48" fmla="*/ 26648892 w 21600"/>
                <a:gd name="T49" fmla="*/ 19370763 h 21600"/>
                <a:gd name="T50" fmla="*/ 25192734 w 21600"/>
                <a:gd name="T51" fmla="*/ 24261274 h 21600"/>
                <a:gd name="T52" fmla="*/ 26017933 w 21600"/>
                <a:gd name="T53" fmla="*/ 27130500 h 21600"/>
                <a:gd name="T54" fmla="*/ 27748707 w 21600"/>
                <a:gd name="T55" fmla="*/ 29378878 h 21600"/>
                <a:gd name="T56" fmla="*/ 27625472 w 21600"/>
                <a:gd name="T57" fmla="*/ 32705646 h 21600"/>
                <a:gd name="T58" fmla="*/ 22020515 w 21600"/>
                <a:gd name="T59" fmla="*/ 31499763 h 21600"/>
                <a:gd name="T60" fmla="*/ 17065293 w 21600"/>
                <a:gd name="T61" fmla="*/ 31292234 h 21600"/>
                <a:gd name="T62" fmla="*/ 13231334 w 21600"/>
                <a:gd name="T63" fmla="*/ 31576566 h 21600"/>
                <a:gd name="T64" fmla="*/ 9256718 w 21600"/>
                <a:gd name="T65" fmla="*/ 33024255 h 21600"/>
                <a:gd name="T66" fmla="*/ 4113955 w 21600"/>
                <a:gd name="T67" fmla="*/ 35293855 h 21600"/>
                <a:gd name="T68" fmla="*/ 4113955 w 21600"/>
                <a:gd name="T69" fmla="*/ 35293855 h 2160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1600" h="21600">
                  <a:moveTo>
                    <a:pt x="3071" y="21600"/>
                  </a:moveTo>
                  <a:lnTo>
                    <a:pt x="3092" y="19297"/>
                  </a:lnTo>
                  <a:lnTo>
                    <a:pt x="3399" y="16794"/>
                  </a:lnTo>
                  <a:lnTo>
                    <a:pt x="2479" y="15218"/>
                  </a:lnTo>
                  <a:lnTo>
                    <a:pt x="0" y="14448"/>
                  </a:lnTo>
                  <a:lnTo>
                    <a:pt x="540" y="12932"/>
                  </a:lnTo>
                  <a:lnTo>
                    <a:pt x="307" y="10487"/>
                  </a:lnTo>
                  <a:lnTo>
                    <a:pt x="925" y="8422"/>
                  </a:lnTo>
                  <a:lnTo>
                    <a:pt x="3001" y="7979"/>
                  </a:lnTo>
                  <a:lnTo>
                    <a:pt x="2478" y="5574"/>
                  </a:lnTo>
                  <a:lnTo>
                    <a:pt x="1767" y="3878"/>
                  </a:lnTo>
                  <a:lnTo>
                    <a:pt x="1670" y="1279"/>
                  </a:lnTo>
                  <a:lnTo>
                    <a:pt x="4223" y="1017"/>
                  </a:lnTo>
                  <a:lnTo>
                    <a:pt x="6596" y="1317"/>
                  </a:lnTo>
                  <a:lnTo>
                    <a:pt x="9264" y="0"/>
                  </a:lnTo>
                  <a:lnTo>
                    <a:pt x="9536" y="2070"/>
                  </a:lnTo>
                  <a:lnTo>
                    <a:pt x="11413" y="1365"/>
                  </a:lnTo>
                  <a:lnTo>
                    <a:pt x="12948" y="2425"/>
                  </a:lnTo>
                  <a:lnTo>
                    <a:pt x="15478" y="3817"/>
                  </a:lnTo>
                  <a:lnTo>
                    <a:pt x="17712" y="3216"/>
                  </a:lnTo>
                  <a:lnTo>
                    <a:pt x="19806" y="3469"/>
                  </a:lnTo>
                  <a:lnTo>
                    <a:pt x="20975" y="4941"/>
                  </a:lnTo>
                  <a:lnTo>
                    <a:pt x="21600" y="7525"/>
                  </a:lnTo>
                  <a:lnTo>
                    <a:pt x="21327" y="9595"/>
                  </a:lnTo>
                  <a:lnTo>
                    <a:pt x="19893" y="11855"/>
                  </a:lnTo>
                  <a:lnTo>
                    <a:pt x="18806" y="14848"/>
                  </a:lnTo>
                  <a:lnTo>
                    <a:pt x="19422" y="16604"/>
                  </a:lnTo>
                  <a:lnTo>
                    <a:pt x="20714" y="17980"/>
                  </a:lnTo>
                  <a:lnTo>
                    <a:pt x="20622" y="20016"/>
                  </a:lnTo>
                  <a:lnTo>
                    <a:pt x="16438" y="19278"/>
                  </a:lnTo>
                  <a:lnTo>
                    <a:pt x="12739" y="19151"/>
                  </a:lnTo>
                  <a:lnTo>
                    <a:pt x="9877" y="19325"/>
                  </a:lnTo>
                  <a:lnTo>
                    <a:pt x="6910" y="20211"/>
                  </a:lnTo>
                  <a:lnTo>
                    <a:pt x="3071" y="21600"/>
                  </a:lnTo>
                  <a:close/>
                  <a:moveTo>
                    <a:pt x="3071" y="21600"/>
                  </a:moveTo>
                </a:path>
              </a:pathLst>
            </a:custGeom>
            <a:solidFill>
              <a:srgbClr val="002060">
                <a:lumMod val="25000"/>
                <a:lumOff val="75000"/>
              </a:srgbClr>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44" name="Freeform 15">
              <a:extLst>
                <a:ext uri="{FF2B5EF4-FFF2-40B4-BE49-F238E27FC236}">
                  <a16:creationId xmlns:a16="http://schemas.microsoft.com/office/drawing/2014/main" id="{4DF140F6-E73E-4E09-B4E2-44E3A481796F}"/>
                </a:ext>
              </a:extLst>
            </p:cNvPr>
            <p:cNvSpPr>
              <a:spLocks/>
            </p:cNvSpPr>
            <p:nvPr/>
          </p:nvSpPr>
          <p:spPr bwMode="auto">
            <a:xfrm>
              <a:off x="4767328" y="4928333"/>
              <a:ext cx="692455" cy="611504"/>
            </a:xfrm>
            <a:custGeom>
              <a:avLst/>
              <a:gdLst>
                <a:gd name="T0" fmla="*/ 22227890 w 21600"/>
                <a:gd name="T1" fmla="*/ 35624538 h 21600"/>
                <a:gd name="T2" fmla="*/ 21901069 w 21600"/>
                <a:gd name="T3" fmla="*/ 32647107 h 21600"/>
                <a:gd name="T4" fmla="*/ 15265179 w 21600"/>
                <a:gd name="T5" fmla="*/ 31602303 h 21600"/>
                <a:gd name="T6" fmla="*/ 14375621 w 21600"/>
                <a:gd name="T7" fmla="*/ 28937108 h 21600"/>
                <a:gd name="T8" fmla="*/ 14494672 w 21600"/>
                <a:gd name="T9" fmla="*/ 25984985 h 21600"/>
                <a:gd name="T10" fmla="*/ 11828183 w 21600"/>
                <a:gd name="T11" fmla="*/ 23868384 h 21600"/>
                <a:gd name="T12" fmla="*/ 7057943 w 21600"/>
                <a:gd name="T13" fmla="*/ 21935756 h 21600"/>
                <a:gd name="T14" fmla="*/ 4415273 w 21600"/>
                <a:gd name="T15" fmla="*/ 18619054 h 21600"/>
                <a:gd name="T16" fmla="*/ 2311522 w 21600"/>
                <a:gd name="T17" fmla="*/ 15719271 h 21600"/>
                <a:gd name="T18" fmla="*/ 0 w 21600"/>
                <a:gd name="T19" fmla="*/ 12245628 h 21600"/>
                <a:gd name="T20" fmla="*/ 4326555 w 21600"/>
                <a:gd name="T21" fmla="*/ 12218595 h 21600"/>
                <a:gd name="T22" fmla="*/ 10369421 w 21600"/>
                <a:gd name="T23" fmla="*/ 11852332 h 21600"/>
                <a:gd name="T24" fmla="*/ 13628933 w 21600"/>
                <a:gd name="T25" fmla="*/ 9300242 h 21600"/>
                <a:gd name="T26" fmla="*/ 15910168 w 21600"/>
                <a:gd name="T27" fmla="*/ 6609781 h 21600"/>
                <a:gd name="T28" fmla="*/ 18990011 w 21600"/>
                <a:gd name="T29" fmla="*/ 5146373 h 21600"/>
                <a:gd name="T30" fmla="*/ 22191091 w 21600"/>
                <a:gd name="T31" fmla="*/ 4859443 h 21600"/>
                <a:gd name="T32" fmla="*/ 22219237 w 21600"/>
                <a:gd name="T33" fmla="*/ 1672689 h 21600"/>
                <a:gd name="T34" fmla="*/ 25242833 w 21600"/>
                <a:gd name="T35" fmla="*/ 0 h 21600"/>
                <a:gd name="T36" fmla="*/ 31108215 w 21600"/>
                <a:gd name="T37" fmla="*/ 366263 h 21600"/>
                <a:gd name="T38" fmla="*/ 33863423 w 21600"/>
                <a:gd name="T39" fmla="*/ 1880286 h 21600"/>
                <a:gd name="T40" fmla="*/ 38129405 w 21600"/>
                <a:gd name="T41" fmla="*/ 2717494 h 21600"/>
                <a:gd name="T42" fmla="*/ 41417017 w 21600"/>
                <a:gd name="T43" fmla="*/ 3996928 h 21600"/>
                <a:gd name="T44" fmla="*/ 46749995 w 21600"/>
                <a:gd name="T45" fmla="*/ 5956548 h 21600"/>
                <a:gd name="T46" fmla="*/ 46453460 w 21600"/>
                <a:gd name="T47" fmla="*/ 11317256 h 21600"/>
                <a:gd name="T48" fmla="*/ 45890769 w 21600"/>
                <a:gd name="T49" fmla="*/ 15418825 h 21600"/>
                <a:gd name="T50" fmla="*/ 45358318 w 21600"/>
                <a:gd name="T51" fmla="*/ 19677375 h 21600"/>
                <a:gd name="T52" fmla="*/ 46395028 w 21600"/>
                <a:gd name="T53" fmla="*/ 22945105 h 21600"/>
                <a:gd name="T54" fmla="*/ 43193948 w 21600"/>
                <a:gd name="T55" fmla="*/ 26994375 h 21600"/>
                <a:gd name="T56" fmla="*/ 42486199 w 21600"/>
                <a:gd name="T57" fmla="*/ 31116157 h 21600"/>
                <a:gd name="T58" fmla="*/ 39137968 w 21600"/>
                <a:gd name="T59" fmla="*/ 34132413 h 21600"/>
                <a:gd name="T60" fmla="*/ 35144748 w 21600"/>
                <a:gd name="T61" fmla="*/ 36458336 h 21600"/>
                <a:gd name="T62" fmla="*/ 30227357 w 21600"/>
                <a:gd name="T63" fmla="*/ 35955346 h 21600"/>
                <a:gd name="T64" fmla="*/ 26069633 w 21600"/>
                <a:gd name="T65" fmla="*/ 35327461 h 21600"/>
                <a:gd name="T66" fmla="*/ 22227890 w 21600"/>
                <a:gd name="T67" fmla="*/ 35624538 h 21600"/>
                <a:gd name="T68" fmla="*/ 22227890 w 21600"/>
                <a:gd name="T69" fmla="*/ 35624538 h 2160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1600" h="21600">
                  <a:moveTo>
                    <a:pt x="10270" y="21106"/>
                  </a:moveTo>
                  <a:lnTo>
                    <a:pt x="10119" y="19342"/>
                  </a:lnTo>
                  <a:lnTo>
                    <a:pt x="7053" y="18723"/>
                  </a:lnTo>
                  <a:lnTo>
                    <a:pt x="6642" y="17144"/>
                  </a:lnTo>
                  <a:lnTo>
                    <a:pt x="6697" y="15395"/>
                  </a:lnTo>
                  <a:lnTo>
                    <a:pt x="5465" y="14141"/>
                  </a:lnTo>
                  <a:lnTo>
                    <a:pt x="3261" y="12996"/>
                  </a:lnTo>
                  <a:lnTo>
                    <a:pt x="2040" y="11031"/>
                  </a:lnTo>
                  <a:lnTo>
                    <a:pt x="1068" y="9313"/>
                  </a:lnTo>
                  <a:lnTo>
                    <a:pt x="0" y="7255"/>
                  </a:lnTo>
                  <a:lnTo>
                    <a:pt x="1999" y="7239"/>
                  </a:lnTo>
                  <a:lnTo>
                    <a:pt x="4791" y="7022"/>
                  </a:lnTo>
                  <a:lnTo>
                    <a:pt x="6297" y="5510"/>
                  </a:lnTo>
                  <a:lnTo>
                    <a:pt x="7351" y="3916"/>
                  </a:lnTo>
                  <a:lnTo>
                    <a:pt x="8774" y="3049"/>
                  </a:lnTo>
                  <a:lnTo>
                    <a:pt x="10253" y="2879"/>
                  </a:lnTo>
                  <a:lnTo>
                    <a:pt x="10266" y="991"/>
                  </a:lnTo>
                  <a:lnTo>
                    <a:pt x="11663" y="0"/>
                  </a:lnTo>
                  <a:lnTo>
                    <a:pt x="14373" y="217"/>
                  </a:lnTo>
                  <a:lnTo>
                    <a:pt x="15646" y="1114"/>
                  </a:lnTo>
                  <a:lnTo>
                    <a:pt x="17617" y="1610"/>
                  </a:lnTo>
                  <a:lnTo>
                    <a:pt x="19136" y="2368"/>
                  </a:lnTo>
                  <a:lnTo>
                    <a:pt x="21600" y="3529"/>
                  </a:lnTo>
                  <a:lnTo>
                    <a:pt x="21463" y="6705"/>
                  </a:lnTo>
                  <a:lnTo>
                    <a:pt x="21203" y="9135"/>
                  </a:lnTo>
                  <a:lnTo>
                    <a:pt x="20957" y="11658"/>
                  </a:lnTo>
                  <a:lnTo>
                    <a:pt x="21436" y="13594"/>
                  </a:lnTo>
                  <a:lnTo>
                    <a:pt x="19957" y="15993"/>
                  </a:lnTo>
                  <a:lnTo>
                    <a:pt x="19630" y="18435"/>
                  </a:lnTo>
                  <a:lnTo>
                    <a:pt x="18083" y="20222"/>
                  </a:lnTo>
                  <a:lnTo>
                    <a:pt x="16238" y="21600"/>
                  </a:lnTo>
                  <a:lnTo>
                    <a:pt x="13966" y="21302"/>
                  </a:lnTo>
                  <a:lnTo>
                    <a:pt x="12045" y="20930"/>
                  </a:lnTo>
                  <a:lnTo>
                    <a:pt x="10270" y="21106"/>
                  </a:lnTo>
                  <a:close/>
                  <a:moveTo>
                    <a:pt x="10270" y="21106"/>
                  </a:moveTo>
                </a:path>
              </a:pathLst>
            </a:custGeom>
            <a:solidFill>
              <a:srgbClr val="002060">
                <a:lumMod val="25000"/>
                <a:lumOff val="75000"/>
              </a:srgbClr>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45" name="Freeform 16">
              <a:extLst>
                <a:ext uri="{FF2B5EF4-FFF2-40B4-BE49-F238E27FC236}">
                  <a16:creationId xmlns:a16="http://schemas.microsoft.com/office/drawing/2014/main" id="{2FC0D0F6-E360-4CB2-B55D-4320022BE9F4}"/>
                </a:ext>
              </a:extLst>
            </p:cNvPr>
            <p:cNvSpPr>
              <a:spLocks/>
            </p:cNvSpPr>
            <p:nvPr/>
          </p:nvSpPr>
          <p:spPr bwMode="auto">
            <a:xfrm>
              <a:off x="1891398" y="104122"/>
              <a:ext cx="1710899" cy="1625573"/>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1600" h="21600">
                  <a:moveTo>
                    <a:pt x="9577" y="18964"/>
                  </a:moveTo>
                  <a:lnTo>
                    <a:pt x="3746" y="14143"/>
                  </a:lnTo>
                  <a:lnTo>
                    <a:pt x="0" y="10934"/>
                  </a:lnTo>
                  <a:lnTo>
                    <a:pt x="287" y="10311"/>
                  </a:lnTo>
                  <a:lnTo>
                    <a:pt x="443" y="9338"/>
                  </a:lnTo>
                  <a:lnTo>
                    <a:pt x="1072" y="8864"/>
                  </a:lnTo>
                  <a:lnTo>
                    <a:pt x="1842" y="8341"/>
                  </a:lnTo>
                  <a:lnTo>
                    <a:pt x="2907" y="8089"/>
                  </a:lnTo>
                  <a:lnTo>
                    <a:pt x="3933" y="7934"/>
                  </a:lnTo>
                  <a:lnTo>
                    <a:pt x="4578" y="7304"/>
                  </a:lnTo>
                  <a:lnTo>
                    <a:pt x="5300" y="7059"/>
                  </a:lnTo>
                  <a:lnTo>
                    <a:pt x="6000" y="6830"/>
                  </a:lnTo>
                  <a:lnTo>
                    <a:pt x="6000" y="5980"/>
                  </a:lnTo>
                  <a:lnTo>
                    <a:pt x="6987" y="5686"/>
                  </a:lnTo>
                  <a:lnTo>
                    <a:pt x="8604" y="5583"/>
                  </a:lnTo>
                  <a:lnTo>
                    <a:pt x="8930" y="4938"/>
                  </a:lnTo>
                  <a:lnTo>
                    <a:pt x="8573" y="4455"/>
                  </a:lnTo>
                  <a:lnTo>
                    <a:pt x="8650" y="3605"/>
                  </a:lnTo>
                  <a:lnTo>
                    <a:pt x="8720" y="2701"/>
                  </a:lnTo>
                  <a:lnTo>
                    <a:pt x="8184" y="1973"/>
                  </a:lnTo>
                  <a:lnTo>
                    <a:pt x="8922" y="1704"/>
                  </a:lnTo>
                  <a:lnTo>
                    <a:pt x="9529" y="1377"/>
                  </a:lnTo>
                  <a:lnTo>
                    <a:pt x="10345" y="1148"/>
                  </a:lnTo>
                  <a:lnTo>
                    <a:pt x="11013" y="796"/>
                  </a:lnTo>
                  <a:lnTo>
                    <a:pt x="11720" y="559"/>
                  </a:lnTo>
                  <a:lnTo>
                    <a:pt x="12887" y="580"/>
                  </a:lnTo>
                  <a:lnTo>
                    <a:pt x="13859" y="409"/>
                  </a:lnTo>
                  <a:lnTo>
                    <a:pt x="14667" y="221"/>
                  </a:lnTo>
                  <a:lnTo>
                    <a:pt x="15615" y="368"/>
                  </a:lnTo>
                  <a:lnTo>
                    <a:pt x="16665" y="605"/>
                  </a:lnTo>
                  <a:lnTo>
                    <a:pt x="17255" y="0"/>
                  </a:lnTo>
                  <a:lnTo>
                    <a:pt x="18087" y="221"/>
                  </a:lnTo>
                  <a:lnTo>
                    <a:pt x="18678" y="466"/>
                  </a:lnTo>
                  <a:lnTo>
                    <a:pt x="19338" y="556"/>
                  </a:lnTo>
                  <a:lnTo>
                    <a:pt x="18856" y="1112"/>
                  </a:lnTo>
                  <a:lnTo>
                    <a:pt x="18740" y="2256"/>
                  </a:lnTo>
                  <a:lnTo>
                    <a:pt x="18569" y="3016"/>
                  </a:lnTo>
                  <a:lnTo>
                    <a:pt x="17854" y="3654"/>
                  </a:lnTo>
                  <a:lnTo>
                    <a:pt x="17877" y="4431"/>
                  </a:lnTo>
                  <a:lnTo>
                    <a:pt x="18479" y="4912"/>
                  </a:lnTo>
                  <a:lnTo>
                    <a:pt x="18792" y="5538"/>
                  </a:lnTo>
                  <a:lnTo>
                    <a:pt x="19398" y="6241"/>
                  </a:lnTo>
                  <a:lnTo>
                    <a:pt x="19447" y="6952"/>
                  </a:lnTo>
                  <a:lnTo>
                    <a:pt x="19447" y="8176"/>
                  </a:lnTo>
                  <a:lnTo>
                    <a:pt x="19564" y="9081"/>
                  </a:lnTo>
                  <a:lnTo>
                    <a:pt x="19801" y="10557"/>
                  </a:lnTo>
                  <a:lnTo>
                    <a:pt x="19540" y="11603"/>
                  </a:lnTo>
                  <a:lnTo>
                    <a:pt x="19478" y="12633"/>
                  </a:lnTo>
                  <a:lnTo>
                    <a:pt x="19020" y="13222"/>
                  </a:lnTo>
                  <a:lnTo>
                    <a:pt x="19486" y="13900"/>
                  </a:lnTo>
                  <a:lnTo>
                    <a:pt x="19626" y="14954"/>
                  </a:lnTo>
                  <a:lnTo>
                    <a:pt x="20372" y="15110"/>
                  </a:lnTo>
                  <a:lnTo>
                    <a:pt x="20978" y="15355"/>
                  </a:lnTo>
                  <a:lnTo>
                    <a:pt x="21600" y="16303"/>
                  </a:lnTo>
                  <a:lnTo>
                    <a:pt x="20450" y="17080"/>
                  </a:lnTo>
                  <a:lnTo>
                    <a:pt x="18569" y="18248"/>
                  </a:lnTo>
                  <a:lnTo>
                    <a:pt x="17504" y="18910"/>
                  </a:lnTo>
                  <a:lnTo>
                    <a:pt x="16595" y="19532"/>
                  </a:lnTo>
                  <a:lnTo>
                    <a:pt x="15615" y="20333"/>
                  </a:lnTo>
                  <a:lnTo>
                    <a:pt x="14807" y="21044"/>
                  </a:lnTo>
                  <a:lnTo>
                    <a:pt x="13750" y="21354"/>
                  </a:lnTo>
                  <a:lnTo>
                    <a:pt x="12759" y="21495"/>
                  </a:lnTo>
                  <a:lnTo>
                    <a:pt x="11659" y="21600"/>
                  </a:lnTo>
                  <a:lnTo>
                    <a:pt x="11659" y="20627"/>
                  </a:lnTo>
                  <a:lnTo>
                    <a:pt x="10851" y="20210"/>
                  </a:lnTo>
                  <a:lnTo>
                    <a:pt x="10128" y="19973"/>
                  </a:lnTo>
                  <a:lnTo>
                    <a:pt x="9577" y="18964"/>
                  </a:lnTo>
                  <a:close/>
                  <a:moveTo>
                    <a:pt x="9577" y="18964"/>
                  </a:moveTo>
                </a:path>
              </a:pathLst>
            </a:custGeom>
            <a:solidFill>
              <a:srgbClr val="E6E6E6"/>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346" name="Freeform 17">
              <a:extLst>
                <a:ext uri="{FF2B5EF4-FFF2-40B4-BE49-F238E27FC236}">
                  <a16:creationId xmlns:a16="http://schemas.microsoft.com/office/drawing/2014/main" id="{0CDE38E4-9FAB-4E7C-ACF1-34E15C4F63E9}"/>
                </a:ext>
              </a:extLst>
            </p:cNvPr>
            <p:cNvSpPr>
              <a:spLocks/>
            </p:cNvSpPr>
            <p:nvPr/>
          </p:nvSpPr>
          <p:spPr bwMode="auto">
            <a:xfrm>
              <a:off x="5500258" y="3048969"/>
              <a:ext cx="802941" cy="867483"/>
            </a:xfrm>
            <a:custGeom>
              <a:avLst/>
              <a:gdLst>
                <a:gd name="T0" fmla="*/ 33213282 w 21600"/>
                <a:gd name="T1" fmla="*/ 60982176 h 21600"/>
                <a:gd name="T2" fmla="*/ 20749205 w 21600"/>
                <a:gd name="T3" fmla="*/ 53091519 h 21600"/>
                <a:gd name="T4" fmla="*/ 10211633 w 21600"/>
                <a:gd name="T5" fmla="*/ 46467792 h 21600"/>
                <a:gd name="T6" fmla="*/ 0 w 21600"/>
                <a:gd name="T7" fmla="*/ 46029630 h 21600"/>
                <a:gd name="T8" fmla="*/ 7301537 w 21600"/>
                <a:gd name="T9" fmla="*/ 35275471 h 21600"/>
                <a:gd name="T10" fmla="*/ 10639421 w 21600"/>
                <a:gd name="T11" fmla="*/ 29803275 h 21600"/>
                <a:gd name="T12" fmla="*/ 14428399 w 21600"/>
                <a:gd name="T13" fmla="*/ 24405797 h 21600"/>
                <a:gd name="T14" fmla="*/ 13974446 w 21600"/>
                <a:gd name="T15" fmla="*/ 18322168 h 21600"/>
                <a:gd name="T16" fmla="*/ 10357124 w 21600"/>
                <a:gd name="T17" fmla="*/ 13739936 h 21600"/>
                <a:gd name="T18" fmla="*/ 10467712 w 21600"/>
                <a:gd name="T19" fmla="*/ 8576867 h 21600"/>
                <a:gd name="T20" fmla="*/ 6475037 w 21600"/>
                <a:gd name="T21" fmla="*/ 4371660 h 21600"/>
                <a:gd name="T22" fmla="*/ 9859530 w 21600"/>
                <a:gd name="T23" fmla="*/ 438163 h 21600"/>
                <a:gd name="T24" fmla="*/ 19759788 w 21600"/>
                <a:gd name="T25" fmla="*/ 0 h 21600"/>
                <a:gd name="T26" fmla="*/ 28382453 w 21600"/>
                <a:gd name="T27" fmla="*/ 2618893 h 21600"/>
                <a:gd name="T28" fmla="*/ 34645052 w 21600"/>
                <a:gd name="T29" fmla="*/ 7133227 h 21600"/>
                <a:gd name="T30" fmla="*/ 40587538 w 21600"/>
                <a:gd name="T31" fmla="*/ 8834997 h 21600"/>
                <a:gd name="T32" fmla="*/ 45787948 w 21600"/>
                <a:gd name="T33" fmla="*/ 8797639 h 21600"/>
                <a:gd name="T34" fmla="*/ 50161857 w 21600"/>
                <a:gd name="T35" fmla="*/ 4928717 h 21600"/>
                <a:gd name="T36" fmla="*/ 54637670 w 21600"/>
                <a:gd name="T37" fmla="*/ 3811164 h 21600"/>
                <a:gd name="T38" fmla="*/ 58831131 w 21600"/>
                <a:gd name="T39" fmla="*/ 5003435 h 21600"/>
                <a:gd name="T40" fmla="*/ 62858764 w 21600"/>
                <a:gd name="T41" fmla="*/ 4592431 h 21600"/>
                <a:gd name="T42" fmla="*/ 61825652 w 21600"/>
                <a:gd name="T43" fmla="*/ 9059207 h 21600"/>
                <a:gd name="T44" fmla="*/ 57451742 w 21600"/>
                <a:gd name="T45" fmla="*/ 14381910 h 21600"/>
                <a:gd name="T46" fmla="*/ 57143281 w 21600"/>
                <a:gd name="T47" fmla="*/ 22493397 h 21600"/>
                <a:gd name="T48" fmla="*/ 57245131 w 21600"/>
                <a:gd name="T49" fmla="*/ 37761889 h 21600"/>
                <a:gd name="T50" fmla="*/ 57416839 w 21600"/>
                <a:gd name="T51" fmla="*/ 43937196 h 21600"/>
                <a:gd name="T52" fmla="*/ 61482288 w 21600"/>
                <a:gd name="T53" fmla="*/ 49817014 h 21600"/>
                <a:gd name="T54" fmla="*/ 58726369 w 21600"/>
                <a:gd name="T55" fmla="*/ 53984863 h 21600"/>
                <a:gd name="T56" fmla="*/ 55662043 w 21600"/>
                <a:gd name="T57" fmla="*/ 57191411 h 21600"/>
                <a:gd name="T58" fmla="*/ 51907969 w 21600"/>
                <a:gd name="T59" fmla="*/ 57266129 h 21600"/>
                <a:gd name="T60" fmla="*/ 50738104 w 21600"/>
                <a:gd name="T61" fmla="*/ 62959095 h 21600"/>
                <a:gd name="T62" fmla="*/ 48535128 w 21600"/>
                <a:gd name="T63" fmla="*/ 67575306 h 21600"/>
                <a:gd name="T64" fmla="*/ 44676291 w 21600"/>
                <a:gd name="T65" fmla="*/ 73370207 h 21600"/>
                <a:gd name="T66" fmla="*/ 40028823 w 21600"/>
                <a:gd name="T67" fmla="*/ 69946268 h 21600"/>
                <a:gd name="T68" fmla="*/ 34313341 w 21600"/>
                <a:gd name="T69" fmla="*/ 66152064 h 21600"/>
                <a:gd name="T70" fmla="*/ 33213282 w 21600"/>
                <a:gd name="T71" fmla="*/ 60982176 h 21600"/>
                <a:gd name="T72" fmla="*/ 33213282 w 21600"/>
                <a:gd name="T73" fmla="*/ 60982176 h 2160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1600" h="21600">
                  <a:moveTo>
                    <a:pt x="11413" y="17953"/>
                  </a:moveTo>
                  <a:lnTo>
                    <a:pt x="7130" y="15630"/>
                  </a:lnTo>
                  <a:lnTo>
                    <a:pt x="3509" y="13680"/>
                  </a:lnTo>
                  <a:lnTo>
                    <a:pt x="0" y="13551"/>
                  </a:lnTo>
                  <a:lnTo>
                    <a:pt x="2509" y="10385"/>
                  </a:lnTo>
                  <a:lnTo>
                    <a:pt x="3656" y="8774"/>
                  </a:lnTo>
                  <a:lnTo>
                    <a:pt x="4958" y="7185"/>
                  </a:lnTo>
                  <a:lnTo>
                    <a:pt x="4802" y="5394"/>
                  </a:lnTo>
                  <a:lnTo>
                    <a:pt x="3559" y="4045"/>
                  </a:lnTo>
                  <a:lnTo>
                    <a:pt x="3597" y="2525"/>
                  </a:lnTo>
                  <a:lnTo>
                    <a:pt x="2225" y="1287"/>
                  </a:lnTo>
                  <a:lnTo>
                    <a:pt x="3388" y="129"/>
                  </a:lnTo>
                  <a:lnTo>
                    <a:pt x="6790" y="0"/>
                  </a:lnTo>
                  <a:lnTo>
                    <a:pt x="9753" y="771"/>
                  </a:lnTo>
                  <a:lnTo>
                    <a:pt x="11905" y="2100"/>
                  </a:lnTo>
                  <a:lnTo>
                    <a:pt x="13947" y="2601"/>
                  </a:lnTo>
                  <a:lnTo>
                    <a:pt x="15734" y="2590"/>
                  </a:lnTo>
                  <a:lnTo>
                    <a:pt x="17237" y="1451"/>
                  </a:lnTo>
                  <a:lnTo>
                    <a:pt x="18775" y="1122"/>
                  </a:lnTo>
                  <a:lnTo>
                    <a:pt x="20216" y="1473"/>
                  </a:lnTo>
                  <a:lnTo>
                    <a:pt x="21600" y="1352"/>
                  </a:lnTo>
                  <a:lnTo>
                    <a:pt x="21245" y="2667"/>
                  </a:lnTo>
                  <a:lnTo>
                    <a:pt x="19742" y="4234"/>
                  </a:lnTo>
                  <a:lnTo>
                    <a:pt x="19636" y="6622"/>
                  </a:lnTo>
                  <a:lnTo>
                    <a:pt x="19671" y="11117"/>
                  </a:lnTo>
                  <a:lnTo>
                    <a:pt x="19730" y="12935"/>
                  </a:lnTo>
                  <a:lnTo>
                    <a:pt x="21127" y="14666"/>
                  </a:lnTo>
                  <a:lnTo>
                    <a:pt x="20180" y="15893"/>
                  </a:lnTo>
                  <a:lnTo>
                    <a:pt x="19127" y="16837"/>
                  </a:lnTo>
                  <a:lnTo>
                    <a:pt x="17837" y="16859"/>
                  </a:lnTo>
                  <a:lnTo>
                    <a:pt x="17435" y="18535"/>
                  </a:lnTo>
                  <a:lnTo>
                    <a:pt x="16678" y="19894"/>
                  </a:lnTo>
                  <a:lnTo>
                    <a:pt x="15352" y="21600"/>
                  </a:lnTo>
                  <a:lnTo>
                    <a:pt x="13755" y="20592"/>
                  </a:lnTo>
                  <a:lnTo>
                    <a:pt x="11791" y="19475"/>
                  </a:lnTo>
                  <a:lnTo>
                    <a:pt x="11413" y="17953"/>
                  </a:lnTo>
                  <a:close/>
                  <a:moveTo>
                    <a:pt x="11413" y="17953"/>
                  </a:moveTo>
                </a:path>
              </a:pathLst>
            </a:custGeom>
            <a:solidFill>
              <a:srgbClr val="002060">
                <a:lumMod val="25000"/>
                <a:lumOff val="75000"/>
              </a:srgbClr>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47" name="Freeform 18">
              <a:extLst>
                <a:ext uri="{FF2B5EF4-FFF2-40B4-BE49-F238E27FC236}">
                  <a16:creationId xmlns:a16="http://schemas.microsoft.com/office/drawing/2014/main" id="{ADD6A2D2-32F9-40CC-A8B2-72CDA5FFFC71}"/>
                </a:ext>
              </a:extLst>
            </p:cNvPr>
            <p:cNvSpPr>
              <a:spLocks/>
            </p:cNvSpPr>
            <p:nvPr/>
          </p:nvSpPr>
          <p:spPr bwMode="auto">
            <a:xfrm>
              <a:off x="3265368" y="3264472"/>
              <a:ext cx="526178" cy="578687"/>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0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0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1600" h="21600">
                  <a:moveTo>
                    <a:pt x="8768" y="21573"/>
                  </a:moveTo>
                  <a:lnTo>
                    <a:pt x="6954" y="19512"/>
                  </a:lnTo>
                  <a:lnTo>
                    <a:pt x="4796" y="17550"/>
                  </a:lnTo>
                  <a:lnTo>
                    <a:pt x="3182" y="16000"/>
                  </a:lnTo>
                  <a:lnTo>
                    <a:pt x="1876" y="14417"/>
                  </a:lnTo>
                  <a:lnTo>
                    <a:pt x="588" y="12702"/>
                  </a:lnTo>
                  <a:lnTo>
                    <a:pt x="0" y="10447"/>
                  </a:lnTo>
                  <a:lnTo>
                    <a:pt x="1904" y="9540"/>
                  </a:lnTo>
                  <a:lnTo>
                    <a:pt x="2013" y="7297"/>
                  </a:lnTo>
                  <a:lnTo>
                    <a:pt x="3518" y="4890"/>
                  </a:lnTo>
                  <a:lnTo>
                    <a:pt x="9466" y="4849"/>
                  </a:lnTo>
                  <a:lnTo>
                    <a:pt x="9677" y="64"/>
                  </a:lnTo>
                  <a:lnTo>
                    <a:pt x="12623" y="265"/>
                  </a:lnTo>
                  <a:lnTo>
                    <a:pt x="16490" y="0"/>
                  </a:lnTo>
                  <a:lnTo>
                    <a:pt x="16962" y="3312"/>
                  </a:lnTo>
                  <a:lnTo>
                    <a:pt x="18626" y="3448"/>
                  </a:lnTo>
                  <a:lnTo>
                    <a:pt x="20947" y="3646"/>
                  </a:lnTo>
                  <a:lnTo>
                    <a:pt x="21582" y="5839"/>
                  </a:lnTo>
                  <a:lnTo>
                    <a:pt x="19387" y="6878"/>
                  </a:lnTo>
                  <a:lnTo>
                    <a:pt x="19714" y="9334"/>
                  </a:lnTo>
                  <a:lnTo>
                    <a:pt x="21600" y="10835"/>
                  </a:lnTo>
                  <a:lnTo>
                    <a:pt x="21455" y="14555"/>
                  </a:lnTo>
                  <a:lnTo>
                    <a:pt x="20095" y="16748"/>
                  </a:lnTo>
                  <a:lnTo>
                    <a:pt x="18553" y="15676"/>
                  </a:lnTo>
                  <a:lnTo>
                    <a:pt x="16286" y="16253"/>
                  </a:lnTo>
                  <a:lnTo>
                    <a:pt x="14809" y="14696"/>
                  </a:lnTo>
                  <a:lnTo>
                    <a:pt x="13561" y="16323"/>
                  </a:lnTo>
                  <a:lnTo>
                    <a:pt x="10610" y="16220"/>
                  </a:lnTo>
                  <a:lnTo>
                    <a:pt x="11244" y="18133"/>
                  </a:lnTo>
                  <a:lnTo>
                    <a:pt x="12314" y="21600"/>
                  </a:lnTo>
                  <a:lnTo>
                    <a:pt x="8768" y="21573"/>
                  </a:lnTo>
                  <a:close/>
                  <a:moveTo>
                    <a:pt x="8768" y="21573"/>
                  </a:moveTo>
                </a:path>
              </a:pathLst>
            </a:custGeom>
            <a:solidFill>
              <a:srgbClr val="E6E6E6"/>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348" name="Freeform 19">
              <a:extLst>
                <a:ext uri="{FF2B5EF4-FFF2-40B4-BE49-F238E27FC236}">
                  <a16:creationId xmlns:a16="http://schemas.microsoft.com/office/drawing/2014/main" id="{188152E8-612D-4544-BA5A-8BFCC12F895D}"/>
                </a:ext>
              </a:extLst>
            </p:cNvPr>
            <p:cNvSpPr>
              <a:spLocks/>
            </p:cNvSpPr>
            <p:nvPr/>
          </p:nvSpPr>
          <p:spPr bwMode="auto">
            <a:xfrm>
              <a:off x="4010331" y="5521240"/>
              <a:ext cx="1371783" cy="111689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0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0 w 21600"/>
                <a:gd name="T65" fmla="*/ 2147483646 h 2160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1600" h="21600">
                  <a:moveTo>
                    <a:pt x="0" y="11119"/>
                  </a:moveTo>
                  <a:lnTo>
                    <a:pt x="312" y="10102"/>
                  </a:lnTo>
                  <a:lnTo>
                    <a:pt x="1054" y="10076"/>
                  </a:lnTo>
                  <a:lnTo>
                    <a:pt x="1238" y="10952"/>
                  </a:lnTo>
                  <a:lnTo>
                    <a:pt x="1925" y="11436"/>
                  </a:lnTo>
                  <a:lnTo>
                    <a:pt x="3395" y="11278"/>
                  </a:lnTo>
                  <a:lnTo>
                    <a:pt x="4491" y="10300"/>
                  </a:lnTo>
                  <a:lnTo>
                    <a:pt x="4507" y="7589"/>
                  </a:lnTo>
                  <a:lnTo>
                    <a:pt x="4592" y="4115"/>
                  </a:lnTo>
                  <a:lnTo>
                    <a:pt x="5295" y="5046"/>
                  </a:lnTo>
                  <a:lnTo>
                    <a:pt x="5708" y="5874"/>
                  </a:lnTo>
                  <a:lnTo>
                    <a:pt x="5685" y="7021"/>
                  </a:lnTo>
                  <a:lnTo>
                    <a:pt x="5895" y="7911"/>
                  </a:lnTo>
                  <a:lnTo>
                    <a:pt x="7133" y="7968"/>
                  </a:lnTo>
                  <a:lnTo>
                    <a:pt x="7601" y="6978"/>
                  </a:lnTo>
                  <a:lnTo>
                    <a:pt x="8185" y="6275"/>
                  </a:lnTo>
                  <a:lnTo>
                    <a:pt x="8687" y="5113"/>
                  </a:lnTo>
                  <a:lnTo>
                    <a:pt x="9459" y="5400"/>
                  </a:lnTo>
                  <a:lnTo>
                    <a:pt x="10615" y="6003"/>
                  </a:lnTo>
                  <a:lnTo>
                    <a:pt x="12152" y="5888"/>
                  </a:lnTo>
                  <a:lnTo>
                    <a:pt x="12514" y="4568"/>
                  </a:lnTo>
                  <a:lnTo>
                    <a:pt x="13519" y="3908"/>
                  </a:lnTo>
                  <a:lnTo>
                    <a:pt x="14127" y="2158"/>
                  </a:lnTo>
                  <a:lnTo>
                    <a:pt x="15097" y="1641"/>
                  </a:lnTo>
                  <a:lnTo>
                    <a:pt x="15611" y="709"/>
                  </a:lnTo>
                  <a:lnTo>
                    <a:pt x="16475" y="436"/>
                  </a:lnTo>
                  <a:lnTo>
                    <a:pt x="17165" y="63"/>
                  </a:lnTo>
                  <a:lnTo>
                    <a:pt x="18651" y="0"/>
                  </a:lnTo>
                  <a:lnTo>
                    <a:pt x="20460" y="224"/>
                  </a:lnTo>
                  <a:lnTo>
                    <a:pt x="20245" y="1455"/>
                  </a:lnTo>
                  <a:lnTo>
                    <a:pt x="20390" y="2800"/>
                  </a:lnTo>
                  <a:lnTo>
                    <a:pt x="20829" y="3621"/>
                  </a:lnTo>
                  <a:lnTo>
                    <a:pt x="20905" y="5205"/>
                  </a:lnTo>
                  <a:lnTo>
                    <a:pt x="20988" y="6815"/>
                  </a:lnTo>
                  <a:lnTo>
                    <a:pt x="20864" y="8356"/>
                  </a:lnTo>
                  <a:lnTo>
                    <a:pt x="21600" y="8585"/>
                  </a:lnTo>
                  <a:lnTo>
                    <a:pt x="21226" y="9590"/>
                  </a:lnTo>
                  <a:lnTo>
                    <a:pt x="20981" y="11196"/>
                  </a:lnTo>
                  <a:lnTo>
                    <a:pt x="19625" y="12398"/>
                  </a:lnTo>
                  <a:lnTo>
                    <a:pt x="18773" y="13933"/>
                  </a:lnTo>
                  <a:lnTo>
                    <a:pt x="18048" y="15095"/>
                  </a:lnTo>
                  <a:lnTo>
                    <a:pt x="17148" y="16243"/>
                  </a:lnTo>
                  <a:lnTo>
                    <a:pt x="16249" y="17219"/>
                  </a:lnTo>
                  <a:lnTo>
                    <a:pt x="15022" y="18329"/>
                  </a:lnTo>
                  <a:lnTo>
                    <a:pt x="14052" y="19089"/>
                  </a:lnTo>
                  <a:lnTo>
                    <a:pt x="12954" y="19878"/>
                  </a:lnTo>
                  <a:lnTo>
                    <a:pt x="11926" y="20036"/>
                  </a:lnTo>
                  <a:lnTo>
                    <a:pt x="10839" y="20323"/>
                  </a:lnTo>
                  <a:lnTo>
                    <a:pt x="9542" y="20294"/>
                  </a:lnTo>
                  <a:lnTo>
                    <a:pt x="8010" y="20323"/>
                  </a:lnTo>
                  <a:lnTo>
                    <a:pt x="7274" y="20495"/>
                  </a:lnTo>
                  <a:lnTo>
                    <a:pt x="6363" y="20926"/>
                  </a:lnTo>
                  <a:lnTo>
                    <a:pt x="5323" y="21098"/>
                  </a:lnTo>
                  <a:lnTo>
                    <a:pt x="4458" y="21600"/>
                  </a:lnTo>
                  <a:lnTo>
                    <a:pt x="3757" y="21198"/>
                  </a:lnTo>
                  <a:lnTo>
                    <a:pt x="3197" y="20352"/>
                  </a:lnTo>
                  <a:lnTo>
                    <a:pt x="2566" y="21155"/>
                  </a:lnTo>
                  <a:lnTo>
                    <a:pt x="2601" y="19964"/>
                  </a:lnTo>
                  <a:lnTo>
                    <a:pt x="2122" y="18845"/>
                  </a:lnTo>
                  <a:lnTo>
                    <a:pt x="1736" y="18013"/>
                  </a:lnTo>
                  <a:lnTo>
                    <a:pt x="2390" y="17439"/>
                  </a:lnTo>
                  <a:lnTo>
                    <a:pt x="1762" y="15775"/>
                  </a:lnTo>
                  <a:lnTo>
                    <a:pt x="1072" y="14197"/>
                  </a:lnTo>
                  <a:lnTo>
                    <a:pt x="593" y="12590"/>
                  </a:lnTo>
                  <a:lnTo>
                    <a:pt x="0" y="11119"/>
                  </a:lnTo>
                  <a:close/>
                  <a:moveTo>
                    <a:pt x="0" y="11119"/>
                  </a:moveTo>
                </a:path>
              </a:pathLst>
            </a:custGeom>
            <a:solidFill>
              <a:srgbClr val="FFCA08"/>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349" name="Freeform 20">
              <a:extLst>
                <a:ext uri="{FF2B5EF4-FFF2-40B4-BE49-F238E27FC236}">
                  <a16:creationId xmlns:a16="http://schemas.microsoft.com/office/drawing/2014/main" id="{0457E8F8-1D65-4225-BF1D-0A45C24B0B72}"/>
                </a:ext>
              </a:extLst>
            </p:cNvPr>
            <p:cNvSpPr>
              <a:spLocks/>
            </p:cNvSpPr>
            <p:nvPr/>
          </p:nvSpPr>
          <p:spPr bwMode="auto">
            <a:xfrm>
              <a:off x="1079705" y="938786"/>
              <a:ext cx="1091738" cy="1146434"/>
            </a:xfrm>
            <a:custGeom>
              <a:avLst/>
              <a:gdLst>
                <a:gd name="T0" fmla="*/ 0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0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0 w 21600"/>
                <a:gd name="T87" fmla="*/ 2147483646 h 21600"/>
                <a:gd name="T88" fmla="*/ 0 w 21600"/>
                <a:gd name="T89" fmla="*/ 2147483646 h 2160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600" h="21600">
                  <a:moveTo>
                    <a:pt x="0" y="18821"/>
                  </a:moveTo>
                  <a:lnTo>
                    <a:pt x="651" y="17190"/>
                  </a:lnTo>
                  <a:lnTo>
                    <a:pt x="1326" y="15535"/>
                  </a:lnTo>
                  <a:lnTo>
                    <a:pt x="1205" y="13811"/>
                  </a:lnTo>
                  <a:lnTo>
                    <a:pt x="1085" y="12295"/>
                  </a:lnTo>
                  <a:lnTo>
                    <a:pt x="1326" y="11215"/>
                  </a:lnTo>
                  <a:lnTo>
                    <a:pt x="506" y="10112"/>
                  </a:lnTo>
                  <a:lnTo>
                    <a:pt x="940" y="9353"/>
                  </a:lnTo>
                  <a:lnTo>
                    <a:pt x="2097" y="9353"/>
                  </a:lnTo>
                  <a:lnTo>
                    <a:pt x="3592" y="9422"/>
                  </a:lnTo>
                  <a:lnTo>
                    <a:pt x="4918" y="9583"/>
                  </a:lnTo>
                  <a:lnTo>
                    <a:pt x="7232" y="9744"/>
                  </a:lnTo>
                  <a:lnTo>
                    <a:pt x="7116" y="7655"/>
                  </a:lnTo>
                  <a:lnTo>
                    <a:pt x="8268" y="6527"/>
                  </a:lnTo>
                  <a:lnTo>
                    <a:pt x="9714" y="6083"/>
                  </a:lnTo>
                  <a:lnTo>
                    <a:pt x="10052" y="3976"/>
                  </a:lnTo>
                  <a:lnTo>
                    <a:pt x="10486" y="1770"/>
                  </a:lnTo>
                  <a:lnTo>
                    <a:pt x="11981" y="1838"/>
                  </a:lnTo>
                  <a:lnTo>
                    <a:pt x="13355" y="1861"/>
                  </a:lnTo>
                  <a:lnTo>
                    <a:pt x="15741" y="1838"/>
                  </a:lnTo>
                  <a:lnTo>
                    <a:pt x="16344" y="0"/>
                  </a:lnTo>
                  <a:lnTo>
                    <a:pt x="17915" y="1188"/>
                  </a:lnTo>
                  <a:lnTo>
                    <a:pt x="18919" y="2020"/>
                  </a:lnTo>
                  <a:lnTo>
                    <a:pt x="21600" y="4018"/>
                  </a:lnTo>
                  <a:lnTo>
                    <a:pt x="18928" y="4027"/>
                  </a:lnTo>
                  <a:lnTo>
                    <a:pt x="18884" y="5841"/>
                  </a:lnTo>
                  <a:lnTo>
                    <a:pt x="18740" y="10155"/>
                  </a:lnTo>
                  <a:lnTo>
                    <a:pt x="18700" y="13009"/>
                  </a:lnTo>
                  <a:lnTo>
                    <a:pt x="18696" y="16893"/>
                  </a:lnTo>
                  <a:lnTo>
                    <a:pt x="18682" y="18580"/>
                  </a:lnTo>
                  <a:lnTo>
                    <a:pt x="19190" y="19495"/>
                  </a:lnTo>
                  <a:lnTo>
                    <a:pt x="18573" y="20528"/>
                  </a:lnTo>
                  <a:lnTo>
                    <a:pt x="10988" y="20515"/>
                  </a:lnTo>
                  <a:lnTo>
                    <a:pt x="9603" y="20554"/>
                  </a:lnTo>
                  <a:lnTo>
                    <a:pt x="8053" y="19979"/>
                  </a:lnTo>
                  <a:lnTo>
                    <a:pt x="8094" y="21198"/>
                  </a:lnTo>
                  <a:lnTo>
                    <a:pt x="7025" y="21600"/>
                  </a:lnTo>
                  <a:lnTo>
                    <a:pt x="6353" y="20685"/>
                  </a:lnTo>
                  <a:lnTo>
                    <a:pt x="5489" y="20031"/>
                  </a:lnTo>
                  <a:lnTo>
                    <a:pt x="5284" y="19060"/>
                  </a:lnTo>
                  <a:lnTo>
                    <a:pt x="4367" y="18215"/>
                  </a:lnTo>
                  <a:lnTo>
                    <a:pt x="2838" y="18040"/>
                  </a:lnTo>
                  <a:lnTo>
                    <a:pt x="972" y="18069"/>
                  </a:lnTo>
                  <a:lnTo>
                    <a:pt x="0" y="18821"/>
                  </a:lnTo>
                  <a:close/>
                  <a:moveTo>
                    <a:pt x="0" y="18821"/>
                  </a:moveTo>
                </a:path>
              </a:pathLst>
            </a:custGeom>
            <a:solidFill>
              <a:srgbClr val="FFC000"/>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350" name="Freeform 21">
              <a:extLst>
                <a:ext uri="{FF2B5EF4-FFF2-40B4-BE49-F238E27FC236}">
                  <a16:creationId xmlns:a16="http://schemas.microsoft.com/office/drawing/2014/main" id="{5EC72A56-D120-41AC-9B03-E2656FD62925}"/>
                </a:ext>
              </a:extLst>
            </p:cNvPr>
            <p:cNvSpPr>
              <a:spLocks/>
            </p:cNvSpPr>
            <p:nvPr/>
          </p:nvSpPr>
          <p:spPr bwMode="auto">
            <a:xfrm>
              <a:off x="4689659" y="602952"/>
              <a:ext cx="960467" cy="889361"/>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0 w 21600"/>
                <a:gd name="T11" fmla="*/ 2147483646 h 21600"/>
                <a:gd name="T12" fmla="*/ 2147483646 w 21600"/>
                <a:gd name="T13" fmla="*/ 2147483646 h 21600"/>
                <a:gd name="T14" fmla="*/ 2147483646 w 21600"/>
                <a:gd name="T15" fmla="*/ 2147483646 h 21600"/>
                <a:gd name="T16" fmla="*/ 2147483646 w 21600"/>
                <a:gd name="T17" fmla="*/ 0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1600" h="21600">
                  <a:moveTo>
                    <a:pt x="1140" y="21437"/>
                  </a:moveTo>
                  <a:lnTo>
                    <a:pt x="946" y="15198"/>
                  </a:lnTo>
                  <a:lnTo>
                    <a:pt x="886" y="10664"/>
                  </a:lnTo>
                  <a:lnTo>
                    <a:pt x="648" y="7014"/>
                  </a:lnTo>
                  <a:lnTo>
                    <a:pt x="655" y="5178"/>
                  </a:lnTo>
                  <a:lnTo>
                    <a:pt x="0" y="3926"/>
                  </a:lnTo>
                  <a:lnTo>
                    <a:pt x="391" y="2640"/>
                  </a:lnTo>
                  <a:lnTo>
                    <a:pt x="328" y="1286"/>
                  </a:lnTo>
                  <a:lnTo>
                    <a:pt x="417" y="0"/>
                  </a:lnTo>
                  <a:lnTo>
                    <a:pt x="1340" y="627"/>
                  </a:lnTo>
                  <a:lnTo>
                    <a:pt x="2650" y="338"/>
                  </a:lnTo>
                  <a:lnTo>
                    <a:pt x="4139" y="772"/>
                  </a:lnTo>
                  <a:lnTo>
                    <a:pt x="5672" y="1335"/>
                  </a:lnTo>
                  <a:lnTo>
                    <a:pt x="6937" y="1415"/>
                  </a:lnTo>
                  <a:lnTo>
                    <a:pt x="8262" y="1817"/>
                  </a:lnTo>
                  <a:lnTo>
                    <a:pt x="9513" y="852"/>
                  </a:lnTo>
                  <a:lnTo>
                    <a:pt x="11131" y="225"/>
                  </a:lnTo>
                  <a:lnTo>
                    <a:pt x="12262" y="48"/>
                  </a:lnTo>
                  <a:lnTo>
                    <a:pt x="13394" y="177"/>
                  </a:lnTo>
                  <a:lnTo>
                    <a:pt x="14510" y="1013"/>
                  </a:lnTo>
                  <a:lnTo>
                    <a:pt x="15910" y="756"/>
                  </a:lnTo>
                  <a:lnTo>
                    <a:pt x="16996" y="563"/>
                  </a:lnTo>
                  <a:lnTo>
                    <a:pt x="18024" y="1528"/>
                  </a:lnTo>
                  <a:lnTo>
                    <a:pt x="18887" y="4052"/>
                  </a:lnTo>
                  <a:lnTo>
                    <a:pt x="18649" y="5837"/>
                  </a:lnTo>
                  <a:lnTo>
                    <a:pt x="18262" y="8394"/>
                  </a:lnTo>
                  <a:lnTo>
                    <a:pt x="16996" y="7397"/>
                  </a:lnTo>
                  <a:lnTo>
                    <a:pt x="16014" y="5740"/>
                  </a:lnTo>
                  <a:lnTo>
                    <a:pt x="15329" y="4808"/>
                  </a:lnTo>
                  <a:lnTo>
                    <a:pt x="14674" y="3168"/>
                  </a:lnTo>
                  <a:lnTo>
                    <a:pt x="14346" y="4390"/>
                  </a:lnTo>
                  <a:lnTo>
                    <a:pt x="15016" y="5917"/>
                  </a:lnTo>
                  <a:lnTo>
                    <a:pt x="15776" y="6946"/>
                  </a:lnTo>
                  <a:lnTo>
                    <a:pt x="16728" y="8699"/>
                  </a:lnTo>
                  <a:lnTo>
                    <a:pt x="17741" y="10018"/>
                  </a:lnTo>
                  <a:lnTo>
                    <a:pt x="18589" y="11867"/>
                  </a:lnTo>
                  <a:lnTo>
                    <a:pt x="19650" y="13544"/>
                  </a:lnTo>
                  <a:lnTo>
                    <a:pt x="20275" y="14798"/>
                  </a:lnTo>
                  <a:lnTo>
                    <a:pt x="21540" y="16229"/>
                  </a:lnTo>
                  <a:lnTo>
                    <a:pt x="21362" y="17660"/>
                  </a:lnTo>
                  <a:lnTo>
                    <a:pt x="21600" y="19027"/>
                  </a:lnTo>
                  <a:lnTo>
                    <a:pt x="20409" y="19349"/>
                  </a:lnTo>
                  <a:lnTo>
                    <a:pt x="19962" y="20346"/>
                  </a:lnTo>
                  <a:lnTo>
                    <a:pt x="18980" y="20507"/>
                  </a:lnTo>
                  <a:lnTo>
                    <a:pt x="18102" y="21600"/>
                  </a:lnTo>
                  <a:lnTo>
                    <a:pt x="17030" y="21262"/>
                  </a:lnTo>
                  <a:lnTo>
                    <a:pt x="7114" y="21246"/>
                  </a:lnTo>
                  <a:lnTo>
                    <a:pt x="1140" y="21437"/>
                  </a:lnTo>
                  <a:close/>
                  <a:moveTo>
                    <a:pt x="1140" y="21437"/>
                  </a:moveTo>
                </a:path>
              </a:pathLst>
            </a:custGeom>
            <a:solidFill>
              <a:srgbClr val="E6E6E6"/>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351" name="Freeform 22">
              <a:extLst>
                <a:ext uri="{FF2B5EF4-FFF2-40B4-BE49-F238E27FC236}">
                  <a16:creationId xmlns:a16="http://schemas.microsoft.com/office/drawing/2014/main" id="{5AA034F0-DC47-47EE-83AC-569A6FDFF5A3}"/>
                </a:ext>
              </a:extLst>
            </p:cNvPr>
            <p:cNvSpPr>
              <a:spLocks/>
            </p:cNvSpPr>
            <p:nvPr/>
          </p:nvSpPr>
          <p:spPr bwMode="auto">
            <a:xfrm>
              <a:off x="4476343" y="4252286"/>
              <a:ext cx="1067671" cy="882798"/>
            </a:xfrm>
            <a:custGeom>
              <a:avLst/>
              <a:gdLst>
                <a:gd name="T0" fmla="*/ 272723 w 21600"/>
                <a:gd name="T1" fmla="*/ 63478032 h 21600"/>
                <a:gd name="T2" fmla="*/ 550539 w 21600"/>
                <a:gd name="T3" fmla="*/ 51211622 h 21600"/>
                <a:gd name="T4" fmla="*/ 0 w 21600"/>
                <a:gd name="T5" fmla="*/ 35423874 h 21600"/>
                <a:gd name="T6" fmla="*/ 11108911 w 21600"/>
                <a:gd name="T7" fmla="*/ 35919889 h 21600"/>
                <a:gd name="T8" fmla="*/ 18703553 w 21600"/>
                <a:gd name="T9" fmla="*/ 35269073 h 21600"/>
                <a:gd name="T10" fmla="*/ 19259257 w 21600"/>
                <a:gd name="T11" fmla="*/ 29338177 h 21600"/>
                <a:gd name="T12" fmla="*/ 19922989 w 21600"/>
                <a:gd name="T13" fmla="*/ 20297500 h 21600"/>
                <a:gd name="T14" fmla="*/ 24558994 w 21600"/>
                <a:gd name="T15" fmla="*/ 24413309 h 21600"/>
                <a:gd name="T16" fmla="*/ 32328590 w 21600"/>
                <a:gd name="T17" fmla="*/ 22204103 h 21600"/>
                <a:gd name="T18" fmla="*/ 32663002 w 21600"/>
                <a:gd name="T19" fmla="*/ 26939057 h 21600"/>
                <a:gd name="T20" fmla="*/ 37957646 w 21600"/>
                <a:gd name="T21" fmla="*/ 26559112 h 21600"/>
                <a:gd name="T22" fmla="*/ 43339731 w 21600"/>
                <a:gd name="T23" fmla="*/ 27466685 h 21600"/>
                <a:gd name="T24" fmla="*/ 48907098 w 21600"/>
                <a:gd name="T25" fmla="*/ 25742997 h 21600"/>
                <a:gd name="T26" fmla="*/ 52570640 w 21600"/>
                <a:gd name="T27" fmla="*/ 30154292 h 21600"/>
                <a:gd name="T28" fmla="*/ 57386692 w 21600"/>
                <a:gd name="T29" fmla="*/ 31874482 h 21600"/>
                <a:gd name="T30" fmla="*/ 64317602 w 21600"/>
                <a:gd name="T31" fmla="*/ 35082659 h 21600"/>
                <a:gd name="T32" fmla="*/ 67343093 w 21600"/>
                <a:gd name="T33" fmla="*/ 39912570 h 21600"/>
                <a:gd name="T34" fmla="*/ 74330528 w 21600"/>
                <a:gd name="T35" fmla="*/ 40637229 h 21600"/>
                <a:gd name="T36" fmla="*/ 74423134 w 21600"/>
                <a:gd name="T37" fmla="*/ 31494537 h 21600"/>
                <a:gd name="T38" fmla="*/ 68716894 w 21600"/>
                <a:gd name="T39" fmla="*/ 33151383 h 21600"/>
                <a:gd name="T40" fmla="*/ 60057183 w 21600"/>
                <a:gd name="T41" fmla="*/ 26108825 h 21600"/>
                <a:gd name="T42" fmla="*/ 62259411 w 21600"/>
                <a:gd name="T43" fmla="*/ 20315115 h 21600"/>
                <a:gd name="T44" fmla="*/ 64749785 w 21600"/>
                <a:gd name="T45" fmla="*/ 13279556 h 21600"/>
                <a:gd name="T46" fmla="*/ 61430984 w 21600"/>
                <a:gd name="T47" fmla="*/ 7707431 h 21600"/>
                <a:gd name="T48" fmla="*/ 67322506 w 21600"/>
                <a:gd name="T49" fmla="*/ 1231232 h 21600"/>
                <a:gd name="T50" fmla="*/ 74078392 w 21600"/>
                <a:gd name="T51" fmla="*/ 211087 h 21600"/>
                <a:gd name="T52" fmla="*/ 83751741 w 21600"/>
                <a:gd name="T53" fmla="*/ 0 h 21600"/>
                <a:gd name="T54" fmla="*/ 89879977 w 21600"/>
                <a:gd name="T55" fmla="*/ 2824793 h 21600"/>
                <a:gd name="T56" fmla="*/ 96342553 w 21600"/>
                <a:gd name="T57" fmla="*/ 4302223 h 21600"/>
                <a:gd name="T58" fmla="*/ 101945929 w 21600"/>
                <a:gd name="T59" fmla="*/ 7767216 h 21600"/>
                <a:gd name="T60" fmla="*/ 108012332 w 21600"/>
                <a:gd name="T61" fmla="*/ 9603477 h 21600"/>
                <a:gd name="T62" fmla="*/ 108681228 w 21600"/>
                <a:gd name="T63" fmla="*/ 14243415 h 21600"/>
                <a:gd name="T64" fmla="*/ 111140757 w 21600"/>
                <a:gd name="T65" fmla="*/ 18426068 h 21600"/>
                <a:gd name="T66" fmla="*/ 108362238 w 21600"/>
                <a:gd name="T67" fmla="*/ 23474064 h 21600"/>
                <a:gd name="T68" fmla="*/ 107405197 w 21600"/>
                <a:gd name="T69" fmla="*/ 29123590 h 21600"/>
                <a:gd name="T70" fmla="*/ 109545664 w 21600"/>
                <a:gd name="T71" fmla="*/ 33380085 h 21600"/>
                <a:gd name="T72" fmla="*/ 104806796 w 21600"/>
                <a:gd name="T73" fmla="*/ 35339475 h 21600"/>
                <a:gd name="T74" fmla="*/ 105213226 w 21600"/>
                <a:gd name="T75" fmla="*/ 40992500 h 21600"/>
                <a:gd name="T76" fmla="*/ 100294240 w 21600"/>
                <a:gd name="T77" fmla="*/ 42195559 h 21600"/>
                <a:gd name="T78" fmla="*/ 105305904 w 21600"/>
                <a:gd name="T79" fmla="*/ 46300811 h 21600"/>
                <a:gd name="T80" fmla="*/ 93811005 w 21600"/>
                <a:gd name="T81" fmla="*/ 48425559 h 21600"/>
                <a:gd name="T82" fmla="*/ 84873478 w 21600"/>
                <a:gd name="T83" fmla="*/ 50947748 h 21600"/>
                <a:gd name="T84" fmla="*/ 77489798 w 21600"/>
                <a:gd name="T85" fmla="*/ 52945868 h 21600"/>
                <a:gd name="T86" fmla="*/ 78035244 w 21600"/>
                <a:gd name="T87" fmla="*/ 58859208 h 21600"/>
                <a:gd name="T88" fmla="*/ 69514405 w 21600"/>
                <a:gd name="T89" fmla="*/ 58707966 h 21600"/>
                <a:gd name="T90" fmla="*/ 64682859 w 21600"/>
                <a:gd name="T91" fmla="*/ 60857328 h 21600"/>
                <a:gd name="T92" fmla="*/ 64636592 w 21600"/>
                <a:gd name="T93" fmla="*/ 65300236 h 21600"/>
                <a:gd name="T94" fmla="*/ 57582232 w 21600"/>
                <a:gd name="T95" fmla="*/ 66696826 h 21600"/>
                <a:gd name="T96" fmla="*/ 52297917 w 21600"/>
                <a:gd name="T97" fmla="*/ 71178464 h 21600"/>
                <a:gd name="T98" fmla="*/ 46596770 w 21600"/>
                <a:gd name="T99" fmla="*/ 75983702 h 21600"/>
                <a:gd name="T100" fmla="*/ 30610047 w 21600"/>
                <a:gd name="T101" fmla="*/ 75832459 h 21600"/>
                <a:gd name="T102" fmla="*/ 27553640 w 21600"/>
                <a:gd name="T103" fmla="*/ 72254895 h 21600"/>
                <a:gd name="T104" fmla="*/ 11829310 w 21600"/>
                <a:gd name="T105" fmla="*/ 72367467 h 21600"/>
                <a:gd name="T106" fmla="*/ 5495277 w 21600"/>
                <a:gd name="T107" fmla="*/ 67337026 h 21600"/>
                <a:gd name="T108" fmla="*/ 272723 w 21600"/>
                <a:gd name="T109" fmla="*/ 63478032 h 21600"/>
                <a:gd name="T110" fmla="*/ 272723 w 21600"/>
                <a:gd name="T111" fmla="*/ 63478032 h 216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1600" h="21600">
                  <a:moveTo>
                    <a:pt x="53" y="18045"/>
                  </a:moveTo>
                  <a:lnTo>
                    <a:pt x="107" y="14558"/>
                  </a:lnTo>
                  <a:lnTo>
                    <a:pt x="0" y="10070"/>
                  </a:lnTo>
                  <a:lnTo>
                    <a:pt x="2159" y="10211"/>
                  </a:lnTo>
                  <a:lnTo>
                    <a:pt x="3635" y="10026"/>
                  </a:lnTo>
                  <a:lnTo>
                    <a:pt x="3743" y="8340"/>
                  </a:lnTo>
                  <a:lnTo>
                    <a:pt x="3872" y="5770"/>
                  </a:lnTo>
                  <a:lnTo>
                    <a:pt x="4773" y="6940"/>
                  </a:lnTo>
                  <a:lnTo>
                    <a:pt x="6283" y="6312"/>
                  </a:lnTo>
                  <a:lnTo>
                    <a:pt x="6348" y="7658"/>
                  </a:lnTo>
                  <a:lnTo>
                    <a:pt x="7377" y="7550"/>
                  </a:lnTo>
                  <a:lnTo>
                    <a:pt x="8423" y="7808"/>
                  </a:lnTo>
                  <a:lnTo>
                    <a:pt x="9505" y="7318"/>
                  </a:lnTo>
                  <a:lnTo>
                    <a:pt x="10217" y="8572"/>
                  </a:lnTo>
                  <a:lnTo>
                    <a:pt x="11153" y="9061"/>
                  </a:lnTo>
                  <a:lnTo>
                    <a:pt x="12500" y="9973"/>
                  </a:lnTo>
                  <a:lnTo>
                    <a:pt x="13088" y="11346"/>
                  </a:lnTo>
                  <a:lnTo>
                    <a:pt x="14446" y="11552"/>
                  </a:lnTo>
                  <a:lnTo>
                    <a:pt x="14464" y="8953"/>
                  </a:lnTo>
                  <a:lnTo>
                    <a:pt x="13355" y="9424"/>
                  </a:lnTo>
                  <a:lnTo>
                    <a:pt x="11672" y="7422"/>
                  </a:lnTo>
                  <a:lnTo>
                    <a:pt x="12100" y="5775"/>
                  </a:lnTo>
                  <a:lnTo>
                    <a:pt x="12584" y="3775"/>
                  </a:lnTo>
                  <a:lnTo>
                    <a:pt x="11939" y="2191"/>
                  </a:lnTo>
                  <a:lnTo>
                    <a:pt x="13084" y="350"/>
                  </a:lnTo>
                  <a:lnTo>
                    <a:pt x="14397" y="60"/>
                  </a:lnTo>
                  <a:lnTo>
                    <a:pt x="16277" y="0"/>
                  </a:lnTo>
                  <a:lnTo>
                    <a:pt x="17468" y="803"/>
                  </a:lnTo>
                  <a:lnTo>
                    <a:pt x="18724" y="1223"/>
                  </a:lnTo>
                  <a:lnTo>
                    <a:pt x="19813" y="2208"/>
                  </a:lnTo>
                  <a:lnTo>
                    <a:pt x="20992" y="2730"/>
                  </a:lnTo>
                  <a:lnTo>
                    <a:pt x="21122" y="4049"/>
                  </a:lnTo>
                  <a:lnTo>
                    <a:pt x="21600" y="5238"/>
                  </a:lnTo>
                  <a:lnTo>
                    <a:pt x="21060" y="6673"/>
                  </a:lnTo>
                  <a:lnTo>
                    <a:pt x="20874" y="8279"/>
                  </a:lnTo>
                  <a:lnTo>
                    <a:pt x="21290" y="9489"/>
                  </a:lnTo>
                  <a:lnTo>
                    <a:pt x="20369" y="10046"/>
                  </a:lnTo>
                  <a:lnTo>
                    <a:pt x="20448" y="11653"/>
                  </a:lnTo>
                  <a:lnTo>
                    <a:pt x="19492" y="11995"/>
                  </a:lnTo>
                  <a:lnTo>
                    <a:pt x="20466" y="13162"/>
                  </a:lnTo>
                  <a:lnTo>
                    <a:pt x="18232" y="13766"/>
                  </a:lnTo>
                  <a:lnTo>
                    <a:pt x="16495" y="14483"/>
                  </a:lnTo>
                  <a:lnTo>
                    <a:pt x="15060" y="15051"/>
                  </a:lnTo>
                  <a:lnTo>
                    <a:pt x="15166" y="16732"/>
                  </a:lnTo>
                  <a:lnTo>
                    <a:pt x="13510" y="16689"/>
                  </a:lnTo>
                  <a:lnTo>
                    <a:pt x="12571" y="17300"/>
                  </a:lnTo>
                  <a:lnTo>
                    <a:pt x="12562" y="18563"/>
                  </a:lnTo>
                  <a:lnTo>
                    <a:pt x="11191" y="18960"/>
                  </a:lnTo>
                  <a:lnTo>
                    <a:pt x="10164" y="20234"/>
                  </a:lnTo>
                  <a:lnTo>
                    <a:pt x="9056" y="21600"/>
                  </a:lnTo>
                  <a:lnTo>
                    <a:pt x="5949" y="21557"/>
                  </a:lnTo>
                  <a:lnTo>
                    <a:pt x="5355" y="20540"/>
                  </a:lnTo>
                  <a:lnTo>
                    <a:pt x="2299" y="20572"/>
                  </a:lnTo>
                  <a:lnTo>
                    <a:pt x="1068" y="19142"/>
                  </a:lnTo>
                  <a:lnTo>
                    <a:pt x="53" y="18045"/>
                  </a:lnTo>
                  <a:close/>
                  <a:moveTo>
                    <a:pt x="53" y="18045"/>
                  </a:moveTo>
                </a:path>
              </a:pathLst>
            </a:custGeom>
            <a:solidFill>
              <a:srgbClr val="002060">
                <a:lumMod val="25000"/>
                <a:lumOff val="75000"/>
              </a:srgbClr>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52" name="Freeform 23">
              <a:extLst>
                <a:ext uri="{FF2B5EF4-FFF2-40B4-BE49-F238E27FC236}">
                  <a16:creationId xmlns:a16="http://schemas.microsoft.com/office/drawing/2014/main" id="{A9EF48DB-ED9C-4D83-A511-287734632524}"/>
                </a:ext>
              </a:extLst>
            </p:cNvPr>
            <p:cNvSpPr>
              <a:spLocks/>
            </p:cNvSpPr>
            <p:nvPr/>
          </p:nvSpPr>
          <p:spPr bwMode="auto">
            <a:xfrm>
              <a:off x="2180194" y="2447310"/>
              <a:ext cx="390531" cy="589625"/>
            </a:xfrm>
            <a:custGeom>
              <a:avLst/>
              <a:gdLst>
                <a:gd name="T0" fmla="*/ 1303180 w 21600"/>
                <a:gd name="T1" fmla="*/ 33109960 h 21600"/>
                <a:gd name="T2" fmla="*/ 1723825 w 21600"/>
                <a:gd name="T3" fmla="*/ 30475194 h 21600"/>
                <a:gd name="T4" fmla="*/ 357280 w 21600"/>
                <a:gd name="T5" fmla="*/ 27873348 h 21600"/>
                <a:gd name="T6" fmla="*/ 0 w 21600"/>
                <a:gd name="T7" fmla="*/ 24827389 h 21600"/>
                <a:gd name="T8" fmla="*/ 777925 w 21600"/>
                <a:gd name="T9" fmla="*/ 21654310 h 21600"/>
                <a:gd name="T10" fmla="*/ 1975787 w 21600"/>
                <a:gd name="T11" fmla="*/ 17782954 h 21600"/>
                <a:gd name="T12" fmla="*/ 2564380 w 21600"/>
                <a:gd name="T13" fmla="*/ 14704036 h 21600"/>
                <a:gd name="T14" fmla="*/ 2123086 w 21600"/>
                <a:gd name="T15" fmla="*/ 11530996 h 21600"/>
                <a:gd name="T16" fmla="*/ 2060456 w 21600"/>
                <a:gd name="T17" fmla="*/ 8993483 h 21600"/>
                <a:gd name="T18" fmla="*/ 1880071 w 21600"/>
                <a:gd name="T19" fmla="*/ 6047946 h 21600"/>
                <a:gd name="T20" fmla="*/ 1745156 w 21600"/>
                <a:gd name="T21" fmla="*/ 3027102 h 21600"/>
                <a:gd name="T22" fmla="*/ 2375756 w 21600"/>
                <a:gd name="T23" fmla="*/ 444112 h 21600"/>
                <a:gd name="T24" fmla="*/ 4393524 w 21600"/>
                <a:gd name="T25" fmla="*/ 254203 h 21600"/>
                <a:gd name="T26" fmla="*/ 7294535 w 21600"/>
                <a:gd name="T27" fmla="*/ 475487 h 21600"/>
                <a:gd name="T28" fmla="*/ 9354991 w 21600"/>
                <a:gd name="T29" fmla="*/ 381324 h 21600"/>
                <a:gd name="T30" fmla="*/ 11646052 w 21600"/>
                <a:gd name="T31" fmla="*/ 0 h 21600"/>
                <a:gd name="T32" fmla="*/ 11498726 w 21600"/>
                <a:gd name="T33" fmla="*/ 3237413 h 21600"/>
                <a:gd name="T34" fmla="*/ 13201902 w 21600"/>
                <a:gd name="T35" fmla="*/ 5045197 h 21600"/>
                <a:gd name="T36" fmla="*/ 12444626 w 21600"/>
                <a:gd name="T37" fmla="*/ 8758097 h 21600"/>
                <a:gd name="T38" fmla="*/ 13054577 w 21600"/>
                <a:gd name="T39" fmla="*/ 11868388 h 21600"/>
                <a:gd name="T40" fmla="*/ 13327870 w 21600"/>
                <a:gd name="T41" fmla="*/ 15516915 h 21600"/>
                <a:gd name="T42" fmla="*/ 13323069 w 21600"/>
                <a:gd name="T43" fmla="*/ 19948531 h 21600"/>
                <a:gd name="T44" fmla="*/ 13574322 w 21600"/>
                <a:gd name="T45" fmla="*/ 24044300 h 21600"/>
                <a:gd name="T46" fmla="*/ 14869946 w 21600"/>
                <a:gd name="T47" fmla="*/ 26219306 h 21600"/>
                <a:gd name="T48" fmla="*/ 13264532 w 21600"/>
                <a:gd name="T49" fmla="*/ 28946729 h 21600"/>
                <a:gd name="T50" fmla="*/ 11057459 w 21600"/>
                <a:gd name="T51" fmla="*/ 29993409 h 21600"/>
                <a:gd name="T52" fmla="*/ 8745041 w 21600"/>
                <a:gd name="T53" fmla="*/ 31484202 h 21600"/>
                <a:gd name="T54" fmla="*/ 6747922 w 21600"/>
                <a:gd name="T55" fmla="*/ 32341053 h 21600"/>
                <a:gd name="T56" fmla="*/ 4456862 w 21600"/>
                <a:gd name="T57" fmla="*/ 33896179 h 21600"/>
                <a:gd name="T58" fmla="*/ 1303180 w 21600"/>
                <a:gd name="T59" fmla="*/ 33109960 h 21600"/>
                <a:gd name="T60" fmla="*/ 1303180 w 21600"/>
                <a:gd name="T61" fmla="*/ 33109960 h 2160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1600" h="21600">
                  <a:moveTo>
                    <a:pt x="1893" y="21099"/>
                  </a:moveTo>
                  <a:lnTo>
                    <a:pt x="2504" y="19420"/>
                  </a:lnTo>
                  <a:lnTo>
                    <a:pt x="519" y="17762"/>
                  </a:lnTo>
                  <a:lnTo>
                    <a:pt x="0" y="15821"/>
                  </a:lnTo>
                  <a:lnTo>
                    <a:pt x="1130" y="13799"/>
                  </a:lnTo>
                  <a:lnTo>
                    <a:pt x="2870" y="11332"/>
                  </a:lnTo>
                  <a:lnTo>
                    <a:pt x="3725" y="9370"/>
                  </a:lnTo>
                  <a:lnTo>
                    <a:pt x="3084" y="7348"/>
                  </a:lnTo>
                  <a:lnTo>
                    <a:pt x="2993" y="5731"/>
                  </a:lnTo>
                  <a:lnTo>
                    <a:pt x="2731" y="3854"/>
                  </a:lnTo>
                  <a:lnTo>
                    <a:pt x="2535" y="1929"/>
                  </a:lnTo>
                  <a:lnTo>
                    <a:pt x="3451" y="283"/>
                  </a:lnTo>
                  <a:lnTo>
                    <a:pt x="6382" y="162"/>
                  </a:lnTo>
                  <a:lnTo>
                    <a:pt x="10596" y="303"/>
                  </a:lnTo>
                  <a:lnTo>
                    <a:pt x="13589" y="243"/>
                  </a:lnTo>
                  <a:lnTo>
                    <a:pt x="16917" y="0"/>
                  </a:lnTo>
                  <a:lnTo>
                    <a:pt x="16703" y="2063"/>
                  </a:lnTo>
                  <a:lnTo>
                    <a:pt x="19177" y="3215"/>
                  </a:lnTo>
                  <a:lnTo>
                    <a:pt x="18077" y="5581"/>
                  </a:lnTo>
                  <a:lnTo>
                    <a:pt x="18963" y="7563"/>
                  </a:lnTo>
                  <a:lnTo>
                    <a:pt x="19360" y="9888"/>
                  </a:lnTo>
                  <a:lnTo>
                    <a:pt x="19353" y="12712"/>
                  </a:lnTo>
                  <a:lnTo>
                    <a:pt x="19718" y="15322"/>
                  </a:lnTo>
                  <a:lnTo>
                    <a:pt x="21600" y="16708"/>
                  </a:lnTo>
                  <a:lnTo>
                    <a:pt x="19268" y="18446"/>
                  </a:lnTo>
                  <a:lnTo>
                    <a:pt x="16062" y="19113"/>
                  </a:lnTo>
                  <a:lnTo>
                    <a:pt x="12703" y="20063"/>
                  </a:lnTo>
                  <a:lnTo>
                    <a:pt x="9802" y="20609"/>
                  </a:lnTo>
                  <a:lnTo>
                    <a:pt x="6474" y="21600"/>
                  </a:lnTo>
                  <a:lnTo>
                    <a:pt x="1893" y="21099"/>
                  </a:lnTo>
                  <a:close/>
                  <a:moveTo>
                    <a:pt x="1893" y="21099"/>
                  </a:moveTo>
                </a:path>
              </a:pathLst>
            </a:custGeom>
            <a:solidFill>
              <a:srgbClr val="002060">
                <a:lumMod val="25000"/>
                <a:lumOff val="75000"/>
              </a:srgbClr>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53" name="Freeform 24">
              <a:extLst>
                <a:ext uri="{FF2B5EF4-FFF2-40B4-BE49-F238E27FC236}">
                  <a16:creationId xmlns:a16="http://schemas.microsoft.com/office/drawing/2014/main" id="{66C3BC39-A62B-404B-82CE-328BE68BFB0A}"/>
                </a:ext>
              </a:extLst>
            </p:cNvPr>
            <p:cNvSpPr>
              <a:spLocks/>
            </p:cNvSpPr>
            <p:nvPr/>
          </p:nvSpPr>
          <p:spPr bwMode="auto">
            <a:xfrm>
              <a:off x="3265368" y="2271187"/>
              <a:ext cx="681515" cy="106657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0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2147483646 w 21600"/>
                <a:gd name="T99" fmla="*/ 2147483646 h 21600"/>
                <a:gd name="T100" fmla="*/ 0 w 21600"/>
                <a:gd name="T101" fmla="*/ 2147483646 h 21600"/>
                <a:gd name="T102" fmla="*/ 2147483646 w 21600"/>
                <a:gd name="T103" fmla="*/ 2147483646 h 21600"/>
                <a:gd name="T104" fmla="*/ 2147483646 w 21600"/>
                <a:gd name="T105" fmla="*/ 2147483646 h 216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1600" h="21600">
                  <a:moveTo>
                    <a:pt x="107" y="15541"/>
                  </a:moveTo>
                  <a:lnTo>
                    <a:pt x="277" y="14619"/>
                  </a:lnTo>
                  <a:lnTo>
                    <a:pt x="680" y="13710"/>
                  </a:lnTo>
                  <a:lnTo>
                    <a:pt x="1912" y="12788"/>
                  </a:lnTo>
                  <a:lnTo>
                    <a:pt x="3626" y="11455"/>
                  </a:lnTo>
                  <a:lnTo>
                    <a:pt x="5761" y="11402"/>
                  </a:lnTo>
                  <a:lnTo>
                    <a:pt x="6733" y="12489"/>
                  </a:lnTo>
                  <a:lnTo>
                    <a:pt x="8581" y="11947"/>
                  </a:lnTo>
                  <a:lnTo>
                    <a:pt x="9600" y="10360"/>
                  </a:lnTo>
                  <a:lnTo>
                    <a:pt x="10450" y="8781"/>
                  </a:lnTo>
                  <a:lnTo>
                    <a:pt x="11287" y="8407"/>
                  </a:lnTo>
                  <a:lnTo>
                    <a:pt x="12085" y="7444"/>
                  </a:lnTo>
                  <a:lnTo>
                    <a:pt x="13444" y="6657"/>
                  </a:lnTo>
                  <a:lnTo>
                    <a:pt x="13857" y="5670"/>
                  </a:lnTo>
                  <a:lnTo>
                    <a:pt x="14600" y="4639"/>
                  </a:lnTo>
                  <a:lnTo>
                    <a:pt x="15280" y="3717"/>
                  </a:lnTo>
                  <a:lnTo>
                    <a:pt x="16873" y="3364"/>
                  </a:lnTo>
                  <a:lnTo>
                    <a:pt x="16915" y="2116"/>
                  </a:lnTo>
                  <a:lnTo>
                    <a:pt x="15705" y="1370"/>
                  </a:lnTo>
                  <a:lnTo>
                    <a:pt x="15386" y="0"/>
                  </a:lnTo>
                  <a:lnTo>
                    <a:pt x="16618" y="882"/>
                  </a:lnTo>
                  <a:lnTo>
                    <a:pt x="18423" y="1424"/>
                  </a:lnTo>
                  <a:lnTo>
                    <a:pt x="18965" y="3079"/>
                  </a:lnTo>
                  <a:lnTo>
                    <a:pt x="19008" y="4395"/>
                  </a:lnTo>
                  <a:lnTo>
                    <a:pt x="20048" y="5955"/>
                  </a:lnTo>
                  <a:lnTo>
                    <a:pt x="16119" y="6158"/>
                  </a:lnTo>
                  <a:lnTo>
                    <a:pt x="16141" y="7243"/>
                  </a:lnTo>
                  <a:lnTo>
                    <a:pt x="18209" y="8314"/>
                  </a:lnTo>
                  <a:lnTo>
                    <a:pt x="19156" y="9210"/>
                  </a:lnTo>
                  <a:lnTo>
                    <a:pt x="19836" y="10526"/>
                  </a:lnTo>
                  <a:lnTo>
                    <a:pt x="18902" y="11882"/>
                  </a:lnTo>
                  <a:lnTo>
                    <a:pt x="18031" y="12650"/>
                  </a:lnTo>
                  <a:lnTo>
                    <a:pt x="16906" y="13450"/>
                  </a:lnTo>
                  <a:lnTo>
                    <a:pt x="17724" y="15348"/>
                  </a:lnTo>
                  <a:lnTo>
                    <a:pt x="18541" y="16583"/>
                  </a:lnTo>
                  <a:lnTo>
                    <a:pt x="19220" y="17668"/>
                  </a:lnTo>
                  <a:lnTo>
                    <a:pt x="21600" y="18793"/>
                  </a:lnTo>
                  <a:lnTo>
                    <a:pt x="21471" y="21600"/>
                  </a:lnTo>
                  <a:lnTo>
                    <a:pt x="19605" y="21365"/>
                  </a:lnTo>
                  <a:lnTo>
                    <a:pt x="17797" y="21057"/>
                  </a:lnTo>
                  <a:lnTo>
                    <a:pt x="16757" y="20420"/>
                  </a:lnTo>
                  <a:lnTo>
                    <a:pt x="15121" y="20393"/>
                  </a:lnTo>
                  <a:lnTo>
                    <a:pt x="12636" y="20366"/>
                  </a:lnTo>
                  <a:lnTo>
                    <a:pt x="10322" y="20244"/>
                  </a:lnTo>
                  <a:lnTo>
                    <a:pt x="7527" y="20311"/>
                  </a:lnTo>
                  <a:lnTo>
                    <a:pt x="5076" y="20230"/>
                  </a:lnTo>
                  <a:lnTo>
                    <a:pt x="3207" y="20149"/>
                  </a:lnTo>
                  <a:lnTo>
                    <a:pt x="3101" y="19104"/>
                  </a:lnTo>
                  <a:lnTo>
                    <a:pt x="2803" y="18101"/>
                  </a:lnTo>
                  <a:lnTo>
                    <a:pt x="1593" y="17422"/>
                  </a:lnTo>
                  <a:lnTo>
                    <a:pt x="0" y="16690"/>
                  </a:lnTo>
                  <a:lnTo>
                    <a:pt x="107" y="15541"/>
                  </a:lnTo>
                  <a:close/>
                  <a:moveTo>
                    <a:pt x="107" y="15541"/>
                  </a:moveTo>
                </a:path>
              </a:pathLst>
            </a:custGeom>
            <a:solidFill>
              <a:srgbClr val="FFCA08"/>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354" name="Freeform 25">
              <a:extLst>
                <a:ext uri="{FF2B5EF4-FFF2-40B4-BE49-F238E27FC236}">
                  <a16:creationId xmlns:a16="http://schemas.microsoft.com/office/drawing/2014/main" id="{A9F2217C-0CB1-45AC-9EED-001C3F431776}"/>
                </a:ext>
              </a:extLst>
            </p:cNvPr>
            <p:cNvSpPr>
              <a:spLocks/>
            </p:cNvSpPr>
            <p:nvPr/>
          </p:nvSpPr>
          <p:spPr bwMode="auto">
            <a:xfrm>
              <a:off x="3472120" y="3156174"/>
              <a:ext cx="704488" cy="785438"/>
            </a:xfrm>
            <a:custGeom>
              <a:avLst/>
              <a:gdLst>
                <a:gd name="T0" fmla="*/ 0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1403466259 h 21600"/>
                <a:gd name="T50" fmla="*/ 2147483646 w 21600"/>
                <a:gd name="T51" fmla="*/ 333415910 h 21600"/>
                <a:gd name="T52" fmla="*/ 2147483646 w 21600"/>
                <a:gd name="T53" fmla="*/ 0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2147483646 w 21600"/>
                <a:gd name="T95" fmla="*/ 2147483646 h 21600"/>
                <a:gd name="T96" fmla="*/ 0 w 21600"/>
                <a:gd name="T97" fmla="*/ 2147483646 h 21600"/>
                <a:gd name="T98" fmla="*/ 0 w 21600"/>
                <a:gd name="T99" fmla="*/ 2147483646 h 2160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1600" h="21600">
                  <a:moveTo>
                    <a:pt x="0" y="18622"/>
                  </a:moveTo>
                  <a:lnTo>
                    <a:pt x="2490" y="18740"/>
                  </a:lnTo>
                  <a:lnTo>
                    <a:pt x="2311" y="17263"/>
                  </a:lnTo>
                  <a:lnTo>
                    <a:pt x="1611" y="15012"/>
                  </a:lnTo>
                  <a:lnTo>
                    <a:pt x="3783" y="14825"/>
                  </a:lnTo>
                  <a:lnTo>
                    <a:pt x="4590" y="13732"/>
                  </a:lnTo>
                  <a:lnTo>
                    <a:pt x="5825" y="14888"/>
                  </a:lnTo>
                  <a:lnTo>
                    <a:pt x="7177" y="14361"/>
                  </a:lnTo>
                  <a:lnTo>
                    <a:pt x="8794" y="14912"/>
                  </a:lnTo>
                  <a:lnTo>
                    <a:pt x="8988" y="13694"/>
                  </a:lnTo>
                  <a:lnTo>
                    <a:pt x="9558" y="11062"/>
                  </a:lnTo>
                  <a:lnTo>
                    <a:pt x="8259" y="10150"/>
                  </a:lnTo>
                  <a:lnTo>
                    <a:pt x="8050" y="8115"/>
                  </a:lnTo>
                  <a:lnTo>
                    <a:pt x="9686" y="7332"/>
                  </a:lnTo>
                  <a:lnTo>
                    <a:pt x="9233" y="5646"/>
                  </a:lnTo>
                  <a:lnTo>
                    <a:pt x="7710" y="5757"/>
                  </a:lnTo>
                  <a:lnTo>
                    <a:pt x="6186" y="5511"/>
                  </a:lnTo>
                  <a:lnTo>
                    <a:pt x="5913" y="3120"/>
                  </a:lnTo>
                  <a:lnTo>
                    <a:pt x="9538" y="3188"/>
                  </a:lnTo>
                  <a:lnTo>
                    <a:pt x="10853" y="4277"/>
                  </a:lnTo>
                  <a:lnTo>
                    <a:pt x="12445" y="4597"/>
                  </a:lnTo>
                  <a:lnTo>
                    <a:pt x="14139" y="4885"/>
                  </a:lnTo>
                  <a:lnTo>
                    <a:pt x="14326" y="3576"/>
                  </a:lnTo>
                  <a:lnTo>
                    <a:pt x="15671" y="2087"/>
                  </a:lnTo>
                  <a:lnTo>
                    <a:pt x="15749" y="181"/>
                  </a:lnTo>
                  <a:lnTo>
                    <a:pt x="18904" y="43"/>
                  </a:lnTo>
                  <a:lnTo>
                    <a:pt x="21600" y="0"/>
                  </a:lnTo>
                  <a:lnTo>
                    <a:pt x="20866" y="2309"/>
                  </a:lnTo>
                  <a:lnTo>
                    <a:pt x="19809" y="3933"/>
                  </a:lnTo>
                  <a:lnTo>
                    <a:pt x="19590" y="6259"/>
                  </a:lnTo>
                  <a:lnTo>
                    <a:pt x="19398" y="7969"/>
                  </a:lnTo>
                  <a:lnTo>
                    <a:pt x="18807" y="9618"/>
                  </a:lnTo>
                  <a:lnTo>
                    <a:pt x="18821" y="10984"/>
                  </a:lnTo>
                  <a:lnTo>
                    <a:pt x="17641" y="11800"/>
                  </a:lnTo>
                  <a:lnTo>
                    <a:pt x="16323" y="12871"/>
                  </a:lnTo>
                  <a:lnTo>
                    <a:pt x="14827" y="14655"/>
                  </a:lnTo>
                  <a:lnTo>
                    <a:pt x="14731" y="16648"/>
                  </a:lnTo>
                  <a:lnTo>
                    <a:pt x="14607" y="18260"/>
                  </a:lnTo>
                  <a:lnTo>
                    <a:pt x="14099" y="19442"/>
                  </a:lnTo>
                  <a:lnTo>
                    <a:pt x="12754" y="19577"/>
                  </a:lnTo>
                  <a:lnTo>
                    <a:pt x="11519" y="20598"/>
                  </a:lnTo>
                  <a:lnTo>
                    <a:pt x="9803" y="21398"/>
                  </a:lnTo>
                  <a:lnTo>
                    <a:pt x="9625" y="20118"/>
                  </a:lnTo>
                  <a:lnTo>
                    <a:pt x="7991" y="20545"/>
                  </a:lnTo>
                  <a:lnTo>
                    <a:pt x="6372" y="20726"/>
                  </a:lnTo>
                  <a:lnTo>
                    <a:pt x="4628" y="20517"/>
                  </a:lnTo>
                  <a:lnTo>
                    <a:pt x="3187" y="21600"/>
                  </a:lnTo>
                  <a:lnTo>
                    <a:pt x="1820" y="20296"/>
                  </a:lnTo>
                  <a:lnTo>
                    <a:pt x="0" y="18622"/>
                  </a:lnTo>
                  <a:close/>
                  <a:moveTo>
                    <a:pt x="0" y="18622"/>
                  </a:moveTo>
                </a:path>
              </a:pathLst>
            </a:custGeom>
            <a:solidFill>
              <a:srgbClr val="97BAFF"/>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55" name="Freeform 27">
              <a:extLst>
                <a:ext uri="{FF2B5EF4-FFF2-40B4-BE49-F238E27FC236}">
                  <a16:creationId xmlns:a16="http://schemas.microsoft.com/office/drawing/2014/main" id="{852D4DC3-FFE6-49DA-B4A0-9D6B97B64584}"/>
                </a:ext>
              </a:extLst>
            </p:cNvPr>
            <p:cNvSpPr>
              <a:spLocks/>
            </p:cNvSpPr>
            <p:nvPr/>
          </p:nvSpPr>
          <p:spPr bwMode="auto">
            <a:xfrm>
              <a:off x="4298034" y="5128521"/>
              <a:ext cx="797471" cy="811693"/>
            </a:xfrm>
            <a:custGeom>
              <a:avLst/>
              <a:gdLst>
                <a:gd name="T0" fmla="*/ 0 w 21600"/>
                <a:gd name="T1" fmla="*/ 49054632 h 21600"/>
                <a:gd name="T2" fmla="*/ 467898 w 21600"/>
                <a:gd name="T3" fmla="*/ 28912333 h 21600"/>
                <a:gd name="T4" fmla="*/ 6473253 w 21600"/>
                <a:gd name="T5" fmla="*/ 28403807 h 21600"/>
                <a:gd name="T6" fmla="*/ 6613895 w 21600"/>
                <a:gd name="T7" fmla="*/ 20879811 h 21600"/>
                <a:gd name="T8" fmla="*/ 6748805 w 21600"/>
                <a:gd name="T9" fmla="*/ 14893335 h 21600"/>
                <a:gd name="T10" fmla="*/ 6883715 w 21600"/>
                <a:gd name="T11" fmla="*/ 7797591 h 21600"/>
                <a:gd name="T12" fmla="*/ 6702888 w 21600"/>
                <a:gd name="T13" fmla="*/ 2170981 h 21600"/>
                <a:gd name="T14" fmla="*/ 14654468 w 21600"/>
                <a:gd name="T15" fmla="*/ 2099597 h 21600"/>
                <a:gd name="T16" fmla="*/ 23421346 w 21600"/>
                <a:gd name="T17" fmla="*/ 499637 h 21600"/>
                <a:gd name="T18" fmla="*/ 26045065 w 21600"/>
                <a:gd name="T19" fmla="*/ 3003654 h 21600"/>
                <a:gd name="T20" fmla="*/ 29403662 w 21600"/>
                <a:gd name="T21" fmla="*/ 0 h 21600"/>
                <a:gd name="T22" fmla="*/ 36451058 w 21600"/>
                <a:gd name="T23" fmla="*/ 0 h 21600"/>
                <a:gd name="T24" fmla="*/ 40139803 w 21600"/>
                <a:gd name="T25" fmla="*/ 5590945 h 21600"/>
                <a:gd name="T26" fmla="*/ 42680262 w 21600"/>
                <a:gd name="T27" fmla="*/ 9430271 h 21600"/>
                <a:gd name="T28" fmla="*/ 46366168 w 21600"/>
                <a:gd name="T29" fmla="*/ 13688906 h 21600"/>
                <a:gd name="T30" fmla="*/ 49842476 w 21600"/>
                <a:gd name="T31" fmla="*/ 15505965 h 21600"/>
                <a:gd name="T32" fmla="*/ 53786681 w 21600"/>
                <a:gd name="T33" fmla="*/ 18908096 h 21600"/>
                <a:gd name="T34" fmla="*/ 53482411 w 21600"/>
                <a:gd name="T35" fmla="*/ 24499095 h 21600"/>
                <a:gd name="T36" fmla="*/ 57125187 w 21600"/>
                <a:gd name="T37" fmla="*/ 26119832 h 21600"/>
                <a:gd name="T38" fmla="*/ 61603351 w 21600"/>
                <a:gd name="T39" fmla="*/ 27211267 h 21600"/>
                <a:gd name="T40" fmla="*/ 62005241 w 21600"/>
                <a:gd name="T41" fmla="*/ 31612671 h 21600"/>
                <a:gd name="T42" fmla="*/ 58615033 w 21600"/>
                <a:gd name="T43" fmla="*/ 33667605 h 21600"/>
                <a:gd name="T44" fmla="*/ 55399972 w 21600"/>
                <a:gd name="T45" fmla="*/ 35160516 h 21600"/>
                <a:gd name="T46" fmla="*/ 52282476 w 21600"/>
                <a:gd name="T47" fmla="*/ 38610255 h 21600"/>
                <a:gd name="T48" fmla="*/ 47901931 w 21600"/>
                <a:gd name="T49" fmla="*/ 40492753 h 21600"/>
                <a:gd name="T50" fmla="*/ 45766200 w 21600"/>
                <a:gd name="T51" fmla="*/ 45857711 h 21600"/>
                <a:gd name="T52" fmla="*/ 39617309 w 21600"/>
                <a:gd name="T53" fmla="*/ 50464270 h 21600"/>
                <a:gd name="T54" fmla="*/ 38044256 w 21600"/>
                <a:gd name="T55" fmla="*/ 55591298 h 21600"/>
                <a:gd name="T56" fmla="*/ 30586399 w 21600"/>
                <a:gd name="T57" fmla="*/ 56218816 h 21600"/>
                <a:gd name="T58" fmla="*/ 24116039 w 21600"/>
                <a:gd name="T59" fmla="*/ 53253826 h 21600"/>
                <a:gd name="T60" fmla="*/ 20590922 w 21600"/>
                <a:gd name="T61" fmla="*/ 53149721 h 21600"/>
                <a:gd name="T62" fmla="*/ 18466657 w 21600"/>
                <a:gd name="T63" fmla="*/ 56322866 h 21600"/>
                <a:gd name="T64" fmla="*/ 16138582 w 21600"/>
                <a:gd name="T65" fmla="*/ 59564450 h 21600"/>
                <a:gd name="T66" fmla="*/ 12989529 w 21600"/>
                <a:gd name="T67" fmla="*/ 63992575 h 21600"/>
                <a:gd name="T68" fmla="*/ 6315358 w 21600"/>
                <a:gd name="T69" fmla="*/ 64236449 h 21600"/>
                <a:gd name="T70" fmla="*/ 5356578 w 21600"/>
                <a:gd name="T71" fmla="*/ 60052143 h 21600"/>
                <a:gd name="T72" fmla="*/ 5152767 w 21600"/>
                <a:gd name="T73" fmla="*/ 55067885 h 21600"/>
                <a:gd name="T74" fmla="*/ 3028502 w 21600"/>
                <a:gd name="T75" fmla="*/ 51998790 h 21600"/>
                <a:gd name="T76" fmla="*/ 0 w 21600"/>
                <a:gd name="T77" fmla="*/ 49054632 h 21600"/>
                <a:gd name="T78" fmla="*/ 0 w 21600"/>
                <a:gd name="T79" fmla="*/ 49054632 h 2160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1600" h="21600">
                  <a:moveTo>
                    <a:pt x="0" y="16495"/>
                  </a:moveTo>
                  <a:lnTo>
                    <a:pt x="163" y="9722"/>
                  </a:lnTo>
                  <a:lnTo>
                    <a:pt x="2255" y="9551"/>
                  </a:lnTo>
                  <a:lnTo>
                    <a:pt x="2304" y="7021"/>
                  </a:lnTo>
                  <a:lnTo>
                    <a:pt x="2351" y="5008"/>
                  </a:lnTo>
                  <a:lnTo>
                    <a:pt x="2398" y="2622"/>
                  </a:lnTo>
                  <a:lnTo>
                    <a:pt x="2335" y="730"/>
                  </a:lnTo>
                  <a:lnTo>
                    <a:pt x="5105" y="706"/>
                  </a:lnTo>
                  <a:lnTo>
                    <a:pt x="8159" y="168"/>
                  </a:lnTo>
                  <a:lnTo>
                    <a:pt x="9073" y="1010"/>
                  </a:lnTo>
                  <a:lnTo>
                    <a:pt x="10243" y="0"/>
                  </a:lnTo>
                  <a:lnTo>
                    <a:pt x="12698" y="0"/>
                  </a:lnTo>
                  <a:lnTo>
                    <a:pt x="13983" y="1880"/>
                  </a:lnTo>
                  <a:lnTo>
                    <a:pt x="14868" y="3171"/>
                  </a:lnTo>
                  <a:lnTo>
                    <a:pt x="16152" y="4603"/>
                  </a:lnTo>
                  <a:lnTo>
                    <a:pt x="17363" y="5214"/>
                  </a:lnTo>
                  <a:lnTo>
                    <a:pt x="18737" y="6358"/>
                  </a:lnTo>
                  <a:lnTo>
                    <a:pt x="18631" y="8238"/>
                  </a:lnTo>
                  <a:lnTo>
                    <a:pt x="19900" y="8783"/>
                  </a:lnTo>
                  <a:lnTo>
                    <a:pt x="21460" y="9150"/>
                  </a:lnTo>
                  <a:lnTo>
                    <a:pt x="21600" y="10630"/>
                  </a:lnTo>
                  <a:lnTo>
                    <a:pt x="20419" y="11321"/>
                  </a:lnTo>
                  <a:lnTo>
                    <a:pt x="19299" y="11823"/>
                  </a:lnTo>
                  <a:lnTo>
                    <a:pt x="18213" y="12983"/>
                  </a:lnTo>
                  <a:lnTo>
                    <a:pt x="16687" y="13616"/>
                  </a:lnTo>
                  <a:lnTo>
                    <a:pt x="15943" y="15420"/>
                  </a:lnTo>
                  <a:lnTo>
                    <a:pt x="13801" y="16969"/>
                  </a:lnTo>
                  <a:lnTo>
                    <a:pt x="13253" y="18693"/>
                  </a:lnTo>
                  <a:lnTo>
                    <a:pt x="10655" y="18904"/>
                  </a:lnTo>
                  <a:lnTo>
                    <a:pt x="8401" y="17907"/>
                  </a:lnTo>
                  <a:lnTo>
                    <a:pt x="7173" y="17872"/>
                  </a:lnTo>
                  <a:lnTo>
                    <a:pt x="6433" y="18939"/>
                  </a:lnTo>
                  <a:lnTo>
                    <a:pt x="5622" y="20029"/>
                  </a:lnTo>
                  <a:lnTo>
                    <a:pt x="4525" y="21518"/>
                  </a:lnTo>
                  <a:lnTo>
                    <a:pt x="2200" y="21600"/>
                  </a:lnTo>
                  <a:lnTo>
                    <a:pt x="1866" y="20193"/>
                  </a:lnTo>
                  <a:lnTo>
                    <a:pt x="1795" y="18517"/>
                  </a:lnTo>
                  <a:lnTo>
                    <a:pt x="1055" y="17485"/>
                  </a:lnTo>
                  <a:lnTo>
                    <a:pt x="0" y="16495"/>
                  </a:lnTo>
                  <a:close/>
                  <a:moveTo>
                    <a:pt x="0" y="16495"/>
                  </a:moveTo>
                </a:path>
              </a:pathLst>
            </a:custGeom>
            <a:solidFill>
              <a:srgbClr val="002060">
                <a:lumMod val="25000"/>
                <a:lumOff val="75000"/>
              </a:srgbClr>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56" name="Freeform 28">
              <a:extLst>
                <a:ext uri="{FF2B5EF4-FFF2-40B4-BE49-F238E27FC236}">
                  <a16:creationId xmlns:a16="http://schemas.microsoft.com/office/drawing/2014/main" id="{01764FD3-F4BF-4540-8799-2FD9C1633DDD}"/>
                </a:ext>
              </a:extLst>
            </p:cNvPr>
            <p:cNvSpPr>
              <a:spLocks/>
            </p:cNvSpPr>
            <p:nvPr/>
          </p:nvSpPr>
          <p:spPr bwMode="auto">
            <a:xfrm>
              <a:off x="1996415" y="2081938"/>
              <a:ext cx="699018" cy="523990"/>
            </a:xfrm>
            <a:custGeom>
              <a:avLst/>
              <a:gdLst>
                <a:gd name="T0" fmla="*/ 0 w 21600"/>
                <a:gd name="T1" fmla="*/ 22185407 h 21600"/>
                <a:gd name="T2" fmla="*/ 507300 w 21600"/>
                <a:gd name="T3" fmla="*/ 19497281 h 21600"/>
                <a:gd name="T4" fmla="*/ 1343204 w 21600"/>
                <a:gd name="T5" fmla="*/ 14882002 h 21600"/>
                <a:gd name="T6" fmla="*/ 4713306 w 21600"/>
                <a:gd name="T7" fmla="*/ 14165666 h 21600"/>
                <a:gd name="T8" fmla="*/ 7298225 w 21600"/>
                <a:gd name="T9" fmla="*/ 12071153 h 21600"/>
                <a:gd name="T10" fmla="*/ 7748182 w 21600"/>
                <a:gd name="T11" fmla="*/ 8288702 h 21600"/>
                <a:gd name="T12" fmla="*/ 10714680 w 21600"/>
                <a:gd name="T13" fmla="*/ 6937809 h 21600"/>
                <a:gd name="T14" fmla="*/ 14133295 w 21600"/>
                <a:gd name="T15" fmla="*/ 7613273 h 21600"/>
                <a:gd name="T16" fmla="*/ 16969657 w 21600"/>
                <a:gd name="T17" fmla="*/ 5831093 h 21600"/>
                <a:gd name="T18" fmla="*/ 18359167 w 21600"/>
                <a:gd name="T19" fmla="*/ 3492474 h 21600"/>
                <a:gd name="T20" fmla="*/ 21506521 w 21600"/>
                <a:gd name="T21" fmla="*/ 3020279 h 21600"/>
                <a:gd name="T22" fmla="*/ 24468604 w 21600"/>
                <a:gd name="T23" fmla="*/ 835327 h 21600"/>
                <a:gd name="T24" fmla="*/ 28520240 w 21600"/>
                <a:gd name="T25" fmla="*/ 48335 h 21600"/>
                <a:gd name="T26" fmla="*/ 32199128 w 21600"/>
                <a:gd name="T27" fmla="*/ 0 h 21600"/>
                <a:gd name="T28" fmla="*/ 37000678 w 21600"/>
                <a:gd name="T29" fmla="*/ 439983 h 21600"/>
                <a:gd name="T30" fmla="*/ 36634550 w 21600"/>
                <a:gd name="T31" fmla="*/ 4067500 h 21600"/>
                <a:gd name="T32" fmla="*/ 39170956 w 21600"/>
                <a:gd name="T33" fmla="*/ 6544965 h 21600"/>
                <a:gd name="T34" fmla="*/ 41674299 w 21600"/>
                <a:gd name="T35" fmla="*/ 8203191 h 21600"/>
                <a:gd name="T36" fmla="*/ 42369031 w 21600"/>
                <a:gd name="T37" fmla="*/ 10315024 h 21600"/>
                <a:gd name="T38" fmla="*/ 45875890 w 21600"/>
                <a:gd name="T39" fmla="*/ 11597726 h 21600"/>
                <a:gd name="T40" fmla="*/ 47640357 w 21600"/>
                <a:gd name="T41" fmla="*/ 14050407 h 21600"/>
                <a:gd name="T42" fmla="*/ 47013957 w 21600"/>
                <a:gd name="T43" fmla="*/ 17343308 h 21600"/>
                <a:gd name="T44" fmla="*/ 42481508 w 21600"/>
                <a:gd name="T45" fmla="*/ 17791951 h 21600"/>
                <a:gd name="T46" fmla="*/ 39528254 w 21600"/>
                <a:gd name="T47" fmla="*/ 19404341 h 21600"/>
                <a:gd name="T48" fmla="*/ 33681296 w 21600"/>
                <a:gd name="T49" fmla="*/ 19158968 h 21600"/>
                <a:gd name="T50" fmla="*/ 27986500 w 21600"/>
                <a:gd name="T51" fmla="*/ 19181252 h 21600"/>
                <a:gd name="T52" fmla="*/ 22558597 w 21600"/>
                <a:gd name="T53" fmla="*/ 19181252 h 21600"/>
                <a:gd name="T54" fmla="*/ 16623395 w 21600"/>
                <a:gd name="T55" fmla="*/ 19225891 h 21600"/>
                <a:gd name="T56" fmla="*/ 15489742 w 21600"/>
                <a:gd name="T57" fmla="*/ 21863183 h 21600"/>
                <a:gd name="T58" fmla="*/ 16116095 w 21600"/>
                <a:gd name="T59" fmla="*/ 26769741 h 21600"/>
                <a:gd name="T60" fmla="*/ 12565136 w 21600"/>
                <a:gd name="T61" fmla="*/ 24753347 h 21600"/>
                <a:gd name="T62" fmla="*/ 7505569 w 21600"/>
                <a:gd name="T63" fmla="*/ 25447364 h 21600"/>
                <a:gd name="T64" fmla="*/ 3301723 w 21600"/>
                <a:gd name="T65" fmla="*/ 24081614 h 21600"/>
                <a:gd name="T66" fmla="*/ 0 w 21600"/>
                <a:gd name="T67" fmla="*/ 22185407 h 21600"/>
                <a:gd name="T68" fmla="*/ 0 w 21600"/>
                <a:gd name="T69" fmla="*/ 22185407 h 2160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1600" h="21600">
                  <a:moveTo>
                    <a:pt x="0" y="17901"/>
                  </a:moveTo>
                  <a:lnTo>
                    <a:pt x="230" y="15732"/>
                  </a:lnTo>
                  <a:lnTo>
                    <a:pt x="609" y="12008"/>
                  </a:lnTo>
                  <a:lnTo>
                    <a:pt x="2137" y="11430"/>
                  </a:lnTo>
                  <a:lnTo>
                    <a:pt x="3309" y="9740"/>
                  </a:lnTo>
                  <a:lnTo>
                    <a:pt x="3513" y="6688"/>
                  </a:lnTo>
                  <a:lnTo>
                    <a:pt x="4858" y="5598"/>
                  </a:lnTo>
                  <a:lnTo>
                    <a:pt x="6408" y="6143"/>
                  </a:lnTo>
                  <a:lnTo>
                    <a:pt x="7694" y="4705"/>
                  </a:lnTo>
                  <a:lnTo>
                    <a:pt x="8324" y="2818"/>
                  </a:lnTo>
                  <a:lnTo>
                    <a:pt x="9751" y="2437"/>
                  </a:lnTo>
                  <a:lnTo>
                    <a:pt x="11094" y="674"/>
                  </a:lnTo>
                  <a:lnTo>
                    <a:pt x="12931" y="39"/>
                  </a:lnTo>
                  <a:lnTo>
                    <a:pt x="14599" y="0"/>
                  </a:lnTo>
                  <a:lnTo>
                    <a:pt x="16776" y="355"/>
                  </a:lnTo>
                  <a:lnTo>
                    <a:pt x="16610" y="3282"/>
                  </a:lnTo>
                  <a:lnTo>
                    <a:pt x="17760" y="5281"/>
                  </a:lnTo>
                  <a:lnTo>
                    <a:pt x="18895" y="6619"/>
                  </a:lnTo>
                  <a:lnTo>
                    <a:pt x="19210" y="8323"/>
                  </a:lnTo>
                  <a:lnTo>
                    <a:pt x="20800" y="9358"/>
                  </a:lnTo>
                  <a:lnTo>
                    <a:pt x="21600" y="11337"/>
                  </a:lnTo>
                  <a:lnTo>
                    <a:pt x="21316" y="13994"/>
                  </a:lnTo>
                  <a:lnTo>
                    <a:pt x="19261" y="14356"/>
                  </a:lnTo>
                  <a:lnTo>
                    <a:pt x="17922" y="15657"/>
                  </a:lnTo>
                  <a:lnTo>
                    <a:pt x="15271" y="15459"/>
                  </a:lnTo>
                  <a:lnTo>
                    <a:pt x="12689" y="15477"/>
                  </a:lnTo>
                  <a:lnTo>
                    <a:pt x="10228" y="15477"/>
                  </a:lnTo>
                  <a:lnTo>
                    <a:pt x="7537" y="15513"/>
                  </a:lnTo>
                  <a:lnTo>
                    <a:pt x="7023" y="17641"/>
                  </a:lnTo>
                  <a:lnTo>
                    <a:pt x="7307" y="21600"/>
                  </a:lnTo>
                  <a:lnTo>
                    <a:pt x="5697" y="19973"/>
                  </a:lnTo>
                  <a:lnTo>
                    <a:pt x="3403" y="20533"/>
                  </a:lnTo>
                  <a:lnTo>
                    <a:pt x="1497" y="19431"/>
                  </a:lnTo>
                  <a:lnTo>
                    <a:pt x="0" y="17901"/>
                  </a:lnTo>
                  <a:close/>
                  <a:moveTo>
                    <a:pt x="0" y="17901"/>
                  </a:moveTo>
                </a:path>
              </a:pathLst>
            </a:custGeom>
            <a:solidFill>
              <a:srgbClr val="002060">
                <a:lumMod val="25000"/>
                <a:lumOff val="75000"/>
              </a:srgbClr>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57" name="Freeform 29">
              <a:extLst>
                <a:ext uri="{FF2B5EF4-FFF2-40B4-BE49-F238E27FC236}">
                  <a16:creationId xmlns:a16="http://schemas.microsoft.com/office/drawing/2014/main" id="{9B3030E3-259B-4D52-9035-6F2FDA7407C9}"/>
                </a:ext>
              </a:extLst>
            </p:cNvPr>
            <p:cNvSpPr>
              <a:spLocks/>
            </p:cNvSpPr>
            <p:nvPr/>
          </p:nvSpPr>
          <p:spPr bwMode="auto">
            <a:xfrm>
              <a:off x="5195052" y="3105853"/>
              <a:ext cx="490079" cy="510863"/>
            </a:xfrm>
            <a:custGeom>
              <a:avLst/>
              <a:gdLst>
                <a:gd name="T0" fmla="*/ 0 w 21600"/>
                <a:gd name="T1" fmla="*/ 25445260 h 21600"/>
                <a:gd name="T2" fmla="*/ 22752 w 21600"/>
                <a:gd name="T3" fmla="*/ 22582676 h 21600"/>
                <a:gd name="T4" fmla="*/ 521448 w 21600"/>
                <a:gd name="T5" fmla="*/ 18843637 h 21600"/>
                <a:gd name="T6" fmla="*/ 1427767 w 21600"/>
                <a:gd name="T7" fmla="*/ 15602890 h 21600"/>
                <a:gd name="T8" fmla="*/ 4012320 w 21600"/>
                <a:gd name="T9" fmla="*/ 12905225 h 21600"/>
                <a:gd name="T10" fmla="*/ 5847710 w 21600"/>
                <a:gd name="T11" fmla="*/ 10822478 h 21600"/>
                <a:gd name="T12" fmla="*/ 6913424 w 21600"/>
                <a:gd name="T13" fmla="*/ 8621937 h 21600"/>
                <a:gd name="T14" fmla="*/ 4985841 w 21600"/>
                <a:gd name="T15" fmla="*/ 7628855 h 21600"/>
                <a:gd name="T16" fmla="*/ 4955484 w 21600"/>
                <a:gd name="T17" fmla="*/ 2537449 h 21600"/>
                <a:gd name="T18" fmla="*/ 7721064 w 21600"/>
                <a:gd name="T19" fmla="*/ 1353535 h 21600"/>
                <a:gd name="T20" fmla="*/ 11642344 w 21600"/>
                <a:gd name="T21" fmla="*/ 1660994 h 21600"/>
                <a:gd name="T22" fmla="*/ 15693682 w 21600"/>
                <a:gd name="T23" fmla="*/ 1375913 h 21600"/>
                <a:gd name="T24" fmla="*/ 18906989 w 21600"/>
                <a:gd name="T25" fmla="*/ 0 h 21600"/>
                <a:gd name="T26" fmla="*/ 21568490 w 21600"/>
                <a:gd name="T27" fmla="*/ 2748325 h 21600"/>
                <a:gd name="T28" fmla="*/ 21320228 w 21600"/>
                <a:gd name="T29" fmla="*/ 5613277 h 21600"/>
                <a:gd name="T30" fmla="*/ 23292261 w 21600"/>
                <a:gd name="T31" fmla="*/ 7790239 h 21600"/>
                <a:gd name="T32" fmla="*/ 23416919 w 21600"/>
                <a:gd name="T33" fmla="*/ 11881527 h 21600"/>
                <a:gd name="T34" fmla="*/ 21343013 w 21600"/>
                <a:gd name="T35" fmla="*/ 15015052 h 21600"/>
                <a:gd name="T36" fmla="*/ 19007808 w 21600"/>
                <a:gd name="T37" fmla="*/ 19131052 h 21600"/>
                <a:gd name="T38" fmla="*/ 15042110 w 21600"/>
                <a:gd name="T39" fmla="*/ 24407422 h 21600"/>
                <a:gd name="T40" fmla="*/ 9942444 w 21600"/>
                <a:gd name="T41" fmla="*/ 23958589 h 21600"/>
                <a:gd name="T42" fmla="*/ 4547861 w 21600"/>
                <a:gd name="T43" fmla="*/ 24005713 h 21600"/>
                <a:gd name="T44" fmla="*/ 2168238 w 21600"/>
                <a:gd name="T45" fmla="*/ 24879800 h 21600"/>
                <a:gd name="T46" fmla="*/ 0 w 21600"/>
                <a:gd name="T47" fmla="*/ 25445260 h 21600"/>
                <a:gd name="T48" fmla="*/ 0 w 21600"/>
                <a:gd name="T49" fmla="*/ 25445260 h 2160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1600" h="21600">
                  <a:moveTo>
                    <a:pt x="0" y="21600"/>
                  </a:moveTo>
                  <a:lnTo>
                    <a:pt x="21" y="19170"/>
                  </a:lnTo>
                  <a:lnTo>
                    <a:pt x="481" y="15996"/>
                  </a:lnTo>
                  <a:lnTo>
                    <a:pt x="1317" y="13245"/>
                  </a:lnTo>
                  <a:lnTo>
                    <a:pt x="3701" y="10955"/>
                  </a:lnTo>
                  <a:lnTo>
                    <a:pt x="5394" y="9187"/>
                  </a:lnTo>
                  <a:lnTo>
                    <a:pt x="6377" y="7319"/>
                  </a:lnTo>
                  <a:lnTo>
                    <a:pt x="4599" y="6476"/>
                  </a:lnTo>
                  <a:lnTo>
                    <a:pt x="4571" y="2154"/>
                  </a:lnTo>
                  <a:lnTo>
                    <a:pt x="7122" y="1149"/>
                  </a:lnTo>
                  <a:lnTo>
                    <a:pt x="10739" y="1410"/>
                  </a:lnTo>
                  <a:lnTo>
                    <a:pt x="14476" y="1168"/>
                  </a:lnTo>
                  <a:lnTo>
                    <a:pt x="17440" y="0"/>
                  </a:lnTo>
                  <a:lnTo>
                    <a:pt x="19895" y="2333"/>
                  </a:lnTo>
                  <a:lnTo>
                    <a:pt x="19666" y="4765"/>
                  </a:lnTo>
                  <a:lnTo>
                    <a:pt x="21485" y="6613"/>
                  </a:lnTo>
                  <a:lnTo>
                    <a:pt x="21600" y="10086"/>
                  </a:lnTo>
                  <a:lnTo>
                    <a:pt x="19687" y="12746"/>
                  </a:lnTo>
                  <a:lnTo>
                    <a:pt x="17533" y="16240"/>
                  </a:lnTo>
                  <a:lnTo>
                    <a:pt x="13875" y="20719"/>
                  </a:lnTo>
                  <a:lnTo>
                    <a:pt x="9171" y="20338"/>
                  </a:lnTo>
                  <a:lnTo>
                    <a:pt x="4195" y="20378"/>
                  </a:lnTo>
                  <a:lnTo>
                    <a:pt x="2000" y="21120"/>
                  </a:lnTo>
                  <a:lnTo>
                    <a:pt x="0" y="21600"/>
                  </a:lnTo>
                  <a:close/>
                  <a:moveTo>
                    <a:pt x="0" y="21600"/>
                  </a:moveTo>
                </a:path>
              </a:pathLst>
            </a:custGeom>
            <a:solidFill>
              <a:srgbClr val="002060">
                <a:lumMod val="25000"/>
                <a:lumOff val="75000"/>
              </a:srgbClr>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58" name="Freeform 30">
              <a:extLst>
                <a:ext uri="{FF2B5EF4-FFF2-40B4-BE49-F238E27FC236}">
                  <a16:creationId xmlns:a16="http://schemas.microsoft.com/office/drawing/2014/main" id="{7D08E97B-D998-4670-85CD-7AFC65FE4731}"/>
                </a:ext>
              </a:extLst>
            </p:cNvPr>
            <p:cNvSpPr>
              <a:spLocks/>
            </p:cNvSpPr>
            <p:nvPr/>
          </p:nvSpPr>
          <p:spPr bwMode="auto">
            <a:xfrm>
              <a:off x="5437904" y="4355116"/>
              <a:ext cx="288796" cy="724179"/>
            </a:xfrm>
            <a:custGeom>
              <a:avLst/>
              <a:gdLst>
                <a:gd name="T0" fmla="*/ 157777646 w 21600"/>
                <a:gd name="T1" fmla="*/ 1696050589 h 21600"/>
                <a:gd name="T2" fmla="*/ 138968573 w 21600"/>
                <a:gd name="T3" fmla="*/ 1515802112 h 21600"/>
                <a:gd name="T4" fmla="*/ 102803949 w 21600"/>
                <a:gd name="T5" fmla="*/ 1253896859 h 21600"/>
                <a:gd name="T6" fmla="*/ 95813303 w 21600"/>
                <a:gd name="T7" fmla="*/ 1019174269 h 21600"/>
                <a:gd name="T8" fmla="*/ 99962354 w 21600"/>
                <a:gd name="T9" fmla="*/ 807598156 h 21600"/>
                <a:gd name="T10" fmla="*/ 118720242 w 21600"/>
                <a:gd name="T11" fmla="*/ 749665526 h 21600"/>
                <a:gd name="T12" fmla="*/ 96295559 w 21600"/>
                <a:gd name="T13" fmla="*/ 592109098 h 21600"/>
                <a:gd name="T14" fmla="*/ 94995243 w 21600"/>
                <a:gd name="T15" fmla="*/ 300372318 h 21600"/>
                <a:gd name="T16" fmla="*/ 79078563 w 21600"/>
                <a:gd name="T17" fmla="*/ 64151284 h 21600"/>
                <a:gd name="T18" fmla="*/ 34484829 w 21600"/>
                <a:gd name="T19" fmla="*/ 0 h 21600"/>
                <a:gd name="T20" fmla="*/ 41409195 w 21600"/>
                <a:gd name="T21" fmla="*/ 253612919 h 21600"/>
                <a:gd name="T22" fmla="*/ 54491828 w 21600"/>
                <a:gd name="T23" fmla="*/ 454820635 h 21600"/>
                <a:gd name="T24" fmla="*/ 38816091 w 21600"/>
                <a:gd name="T25" fmla="*/ 656260334 h 21600"/>
                <a:gd name="T26" fmla="*/ 38816091 w 21600"/>
                <a:gd name="T27" fmla="*/ 842381876 h 21600"/>
                <a:gd name="T28" fmla="*/ 47011786 w 21600"/>
                <a:gd name="T29" fmla="*/ 995331749 h 21600"/>
                <a:gd name="T30" fmla="*/ 23630139 w 21600"/>
                <a:gd name="T31" fmla="*/ 1068007348 h 21600"/>
                <a:gd name="T32" fmla="*/ 21701871 w 21600"/>
                <a:gd name="T33" fmla="*/ 1263341999 h 21600"/>
                <a:gd name="T34" fmla="*/ 0 w 21600"/>
                <a:gd name="T35" fmla="*/ 1354214316 h 21600"/>
                <a:gd name="T36" fmla="*/ 25076519 w 21600"/>
                <a:gd name="T37" fmla="*/ 1468467477 h 21600"/>
                <a:gd name="T38" fmla="*/ 47734986 w 21600"/>
                <a:gd name="T39" fmla="*/ 1600226128 h 21600"/>
                <a:gd name="T40" fmla="*/ 85346009 w 21600"/>
                <a:gd name="T41" fmla="*/ 1592738628 h 21600"/>
                <a:gd name="T42" fmla="*/ 92584720 w 21600"/>
                <a:gd name="T43" fmla="*/ 1807654883 h 21600"/>
                <a:gd name="T44" fmla="*/ 77391239 w 21600"/>
                <a:gd name="T45" fmla="*/ 2015197244 h 21600"/>
                <a:gd name="T46" fmla="*/ 84381866 w 21600"/>
                <a:gd name="T47" fmla="*/ 2147483646 h 21600"/>
                <a:gd name="T48" fmla="*/ 103431882 w 21600"/>
                <a:gd name="T49" fmla="*/ 2147483646 h 21600"/>
                <a:gd name="T50" fmla="*/ 110663452 w 21600"/>
                <a:gd name="T51" fmla="*/ 2147483646 h 21600"/>
                <a:gd name="T52" fmla="*/ 131642123 w 21600"/>
                <a:gd name="T53" fmla="*/ 2147483646 h 21600"/>
                <a:gd name="T54" fmla="*/ 130195743 w 21600"/>
                <a:gd name="T55" fmla="*/ 2147483646 h 21600"/>
                <a:gd name="T56" fmla="*/ 153336466 w 21600"/>
                <a:gd name="T57" fmla="*/ 2098582061 h 21600"/>
                <a:gd name="T58" fmla="*/ 157777646 w 21600"/>
                <a:gd name="T59" fmla="*/ 1696050589 h 21600"/>
                <a:gd name="T60" fmla="*/ 157777646 w 21600"/>
                <a:gd name="T61" fmla="*/ 1696050589 h 2160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1600" h="21600">
                  <a:moveTo>
                    <a:pt x="21600" y="14726"/>
                  </a:moveTo>
                  <a:lnTo>
                    <a:pt x="19025" y="13161"/>
                  </a:lnTo>
                  <a:lnTo>
                    <a:pt x="14074" y="10887"/>
                  </a:lnTo>
                  <a:lnTo>
                    <a:pt x="13117" y="8849"/>
                  </a:lnTo>
                  <a:lnTo>
                    <a:pt x="13685" y="7012"/>
                  </a:lnTo>
                  <a:lnTo>
                    <a:pt x="16253" y="6509"/>
                  </a:lnTo>
                  <a:lnTo>
                    <a:pt x="13183" y="5141"/>
                  </a:lnTo>
                  <a:lnTo>
                    <a:pt x="13005" y="2608"/>
                  </a:lnTo>
                  <a:lnTo>
                    <a:pt x="10826" y="557"/>
                  </a:lnTo>
                  <a:lnTo>
                    <a:pt x="4721" y="0"/>
                  </a:lnTo>
                  <a:lnTo>
                    <a:pt x="5669" y="2202"/>
                  </a:lnTo>
                  <a:lnTo>
                    <a:pt x="7460" y="3949"/>
                  </a:lnTo>
                  <a:lnTo>
                    <a:pt x="5314" y="5698"/>
                  </a:lnTo>
                  <a:lnTo>
                    <a:pt x="5314" y="7314"/>
                  </a:lnTo>
                  <a:lnTo>
                    <a:pt x="6436" y="8642"/>
                  </a:lnTo>
                  <a:lnTo>
                    <a:pt x="3235" y="9273"/>
                  </a:lnTo>
                  <a:lnTo>
                    <a:pt x="2971" y="10969"/>
                  </a:lnTo>
                  <a:lnTo>
                    <a:pt x="0" y="11758"/>
                  </a:lnTo>
                  <a:lnTo>
                    <a:pt x="3433" y="12750"/>
                  </a:lnTo>
                  <a:lnTo>
                    <a:pt x="6535" y="13894"/>
                  </a:lnTo>
                  <a:lnTo>
                    <a:pt x="11684" y="13829"/>
                  </a:lnTo>
                  <a:lnTo>
                    <a:pt x="12675" y="15695"/>
                  </a:lnTo>
                  <a:lnTo>
                    <a:pt x="10595" y="17497"/>
                  </a:lnTo>
                  <a:lnTo>
                    <a:pt x="11552" y="18957"/>
                  </a:lnTo>
                  <a:lnTo>
                    <a:pt x="14160" y="20114"/>
                  </a:lnTo>
                  <a:lnTo>
                    <a:pt x="15150" y="21600"/>
                  </a:lnTo>
                  <a:lnTo>
                    <a:pt x="18022" y="20903"/>
                  </a:lnTo>
                  <a:lnTo>
                    <a:pt x="17824" y="18852"/>
                  </a:lnTo>
                  <a:lnTo>
                    <a:pt x="20992" y="18221"/>
                  </a:lnTo>
                  <a:lnTo>
                    <a:pt x="21600" y="14726"/>
                  </a:lnTo>
                  <a:close/>
                  <a:moveTo>
                    <a:pt x="21600" y="14726"/>
                  </a:moveTo>
                </a:path>
              </a:pathLst>
            </a:custGeom>
            <a:solidFill>
              <a:srgbClr val="002060">
                <a:lumMod val="25000"/>
                <a:lumOff val="75000"/>
              </a:srgbClr>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59" name="Freeform 31">
              <a:extLst>
                <a:ext uri="{FF2B5EF4-FFF2-40B4-BE49-F238E27FC236}">
                  <a16:creationId xmlns:a16="http://schemas.microsoft.com/office/drawing/2014/main" id="{B082C586-B4D4-477F-BCB3-16119C99505F}"/>
                </a:ext>
              </a:extLst>
            </p:cNvPr>
            <p:cNvSpPr>
              <a:spLocks/>
            </p:cNvSpPr>
            <p:nvPr/>
          </p:nvSpPr>
          <p:spPr bwMode="auto">
            <a:xfrm>
              <a:off x="990003" y="1892689"/>
              <a:ext cx="502111" cy="416786"/>
            </a:xfrm>
            <a:custGeom>
              <a:avLst/>
              <a:gdLst>
                <a:gd name="T0" fmla="*/ 2999794 w 21600"/>
                <a:gd name="T1" fmla="*/ 11810078 h 21600"/>
                <a:gd name="T2" fmla="*/ 2685693 w 21600"/>
                <a:gd name="T3" fmla="*/ 9595811 h 21600"/>
                <a:gd name="T4" fmla="*/ 0 w 21600"/>
                <a:gd name="T5" fmla="*/ 7179987 h 21600"/>
                <a:gd name="T6" fmla="*/ 2661809 w 21600"/>
                <a:gd name="T7" fmla="*/ 4824563 h 21600"/>
                <a:gd name="T8" fmla="*/ 4548605 w 21600"/>
                <a:gd name="T9" fmla="*/ 1986109 h 21600"/>
                <a:gd name="T10" fmla="*/ 6612945 w 21600"/>
                <a:gd name="T11" fmla="*/ 0 h 21600"/>
                <a:gd name="T12" fmla="*/ 11487053 w 21600"/>
                <a:gd name="T13" fmla="*/ 0 h 21600"/>
                <a:gd name="T14" fmla="*/ 15459813 w 21600"/>
                <a:gd name="T15" fmla="*/ 577088 h 21600"/>
                <a:gd name="T16" fmla="*/ 17612941 w 21600"/>
                <a:gd name="T17" fmla="*/ 2589883 h 21600"/>
                <a:gd name="T18" fmla="*/ 18797590 w 21600"/>
                <a:gd name="T19" fmla="*/ 4790065 h 21600"/>
                <a:gd name="T20" fmla="*/ 21725698 w 21600"/>
                <a:gd name="T21" fmla="*/ 7643388 h 21600"/>
                <a:gd name="T22" fmla="*/ 22210461 w 21600"/>
                <a:gd name="T23" fmla="*/ 10099198 h 21600"/>
                <a:gd name="T24" fmla="*/ 22403928 w 21600"/>
                <a:gd name="T25" fmla="*/ 12434237 h 21600"/>
                <a:gd name="T26" fmla="*/ 24580940 w 21600"/>
                <a:gd name="T27" fmla="*/ 13903630 h 21600"/>
                <a:gd name="T28" fmla="*/ 24572979 w 21600"/>
                <a:gd name="T29" fmla="*/ 16936528 h 21600"/>
                <a:gd name="T30" fmla="*/ 20347549 w 21600"/>
                <a:gd name="T31" fmla="*/ 16862827 h 21600"/>
                <a:gd name="T32" fmla="*/ 17516191 w 21600"/>
                <a:gd name="T33" fmla="*/ 16319453 h 21600"/>
                <a:gd name="T34" fmla="*/ 14685980 w 21600"/>
                <a:gd name="T35" fmla="*/ 15434206 h 21600"/>
                <a:gd name="T36" fmla="*/ 8177713 w 21600"/>
                <a:gd name="T37" fmla="*/ 15494577 h 21600"/>
                <a:gd name="T38" fmla="*/ 5855035 w 21600"/>
                <a:gd name="T39" fmla="*/ 16198682 h 21600"/>
                <a:gd name="T40" fmla="*/ 1475979 w 21600"/>
                <a:gd name="T41" fmla="*/ 16440197 h 21600"/>
                <a:gd name="T42" fmla="*/ 1813997 w 21600"/>
                <a:gd name="T43" fmla="*/ 13763285 h 21600"/>
                <a:gd name="T44" fmla="*/ 4984453 w 21600"/>
                <a:gd name="T45" fmla="*/ 13360255 h 21600"/>
                <a:gd name="T46" fmla="*/ 7548399 w 21600"/>
                <a:gd name="T47" fmla="*/ 12595751 h 21600"/>
                <a:gd name="T48" fmla="*/ 10113457 w 21600"/>
                <a:gd name="T49" fmla="*/ 12736124 h 21600"/>
                <a:gd name="T50" fmla="*/ 14202331 w 21600"/>
                <a:gd name="T51" fmla="*/ 13219127 h 21600"/>
                <a:gd name="T52" fmla="*/ 13011980 w 21600"/>
                <a:gd name="T53" fmla="*/ 11752842 h 21600"/>
                <a:gd name="T54" fmla="*/ 9908622 w 21600"/>
                <a:gd name="T55" fmla="*/ 11062851 h 21600"/>
                <a:gd name="T56" fmla="*/ 7807849 w 21600"/>
                <a:gd name="T57" fmla="*/ 11272976 h 21600"/>
                <a:gd name="T58" fmla="*/ 5371386 w 21600"/>
                <a:gd name="T59" fmla="*/ 11347461 h 21600"/>
                <a:gd name="T60" fmla="*/ 2999794 w 21600"/>
                <a:gd name="T61" fmla="*/ 11810078 h 21600"/>
                <a:gd name="T62" fmla="*/ 2999794 w 21600"/>
                <a:gd name="T63" fmla="*/ 11810078 h 2160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1600" h="21600">
                  <a:moveTo>
                    <a:pt x="2636" y="15062"/>
                  </a:moveTo>
                  <a:lnTo>
                    <a:pt x="2360" y="12238"/>
                  </a:lnTo>
                  <a:lnTo>
                    <a:pt x="0" y="9157"/>
                  </a:lnTo>
                  <a:lnTo>
                    <a:pt x="2339" y="6153"/>
                  </a:lnTo>
                  <a:lnTo>
                    <a:pt x="3997" y="2533"/>
                  </a:lnTo>
                  <a:lnTo>
                    <a:pt x="5811" y="0"/>
                  </a:lnTo>
                  <a:lnTo>
                    <a:pt x="10094" y="0"/>
                  </a:lnTo>
                  <a:lnTo>
                    <a:pt x="13585" y="736"/>
                  </a:lnTo>
                  <a:lnTo>
                    <a:pt x="15477" y="3303"/>
                  </a:lnTo>
                  <a:lnTo>
                    <a:pt x="16518" y="6109"/>
                  </a:lnTo>
                  <a:lnTo>
                    <a:pt x="19091" y="9748"/>
                  </a:lnTo>
                  <a:lnTo>
                    <a:pt x="19517" y="12880"/>
                  </a:lnTo>
                  <a:lnTo>
                    <a:pt x="19687" y="15858"/>
                  </a:lnTo>
                  <a:lnTo>
                    <a:pt x="21600" y="17732"/>
                  </a:lnTo>
                  <a:lnTo>
                    <a:pt x="21593" y="21600"/>
                  </a:lnTo>
                  <a:lnTo>
                    <a:pt x="17880" y="21506"/>
                  </a:lnTo>
                  <a:lnTo>
                    <a:pt x="15392" y="20813"/>
                  </a:lnTo>
                  <a:lnTo>
                    <a:pt x="12905" y="19684"/>
                  </a:lnTo>
                  <a:lnTo>
                    <a:pt x="7186" y="19761"/>
                  </a:lnTo>
                  <a:lnTo>
                    <a:pt x="5145" y="20659"/>
                  </a:lnTo>
                  <a:lnTo>
                    <a:pt x="1297" y="20967"/>
                  </a:lnTo>
                  <a:lnTo>
                    <a:pt x="1594" y="17553"/>
                  </a:lnTo>
                  <a:lnTo>
                    <a:pt x="4380" y="17039"/>
                  </a:lnTo>
                  <a:lnTo>
                    <a:pt x="6633" y="16064"/>
                  </a:lnTo>
                  <a:lnTo>
                    <a:pt x="8887" y="16243"/>
                  </a:lnTo>
                  <a:lnTo>
                    <a:pt x="12480" y="16859"/>
                  </a:lnTo>
                  <a:lnTo>
                    <a:pt x="11434" y="14989"/>
                  </a:lnTo>
                  <a:lnTo>
                    <a:pt x="8707" y="14109"/>
                  </a:lnTo>
                  <a:lnTo>
                    <a:pt x="6861" y="14377"/>
                  </a:lnTo>
                  <a:lnTo>
                    <a:pt x="4720" y="14472"/>
                  </a:lnTo>
                  <a:lnTo>
                    <a:pt x="2636" y="15062"/>
                  </a:lnTo>
                  <a:close/>
                  <a:moveTo>
                    <a:pt x="2636" y="15062"/>
                  </a:moveTo>
                </a:path>
              </a:pathLst>
            </a:custGeom>
            <a:solidFill>
              <a:srgbClr val="002060">
                <a:lumMod val="25000"/>
                <a:lumOff val="75000"/>
              </a:srgbClr>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60" name="Freeform 32">
              <a:extLst>
                <a:ext uri="{FF2B5EF4-FFF2-40B4-BE49-F238E27FC236}">
                  <a16:creationId xmlns:a16="http://schemas.microsoft.com/office/drawing/2014/main" id="{19DE7935-0BAD-4716-AC3C-70DD849B3642}"/>
                </a:ext>
              </a:extLst>
            </p:cNvPr>
            <p:cNvSpPr>
              <a:spLocks/>
            </p:cNvSpPr>
            <p:nvPr/>
          </p:nvSpPr>
          <p:spPr bwMode="auto">
            <a:xfrm>
              <a:off x="1163937" y="2266811"/>
              <a:ext cx="615880" cy="534930"/>
            </a:xfrm>
            <a:custGeom>
              <a:avLst/>
              <a:gdLst>
                <a:gd name="T0" fmla="*/ 0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0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0 w 21600"/>
                <a:gd name="T65" fmla="*/ 2147483646 h 21600"/>
                <a:gd name="T66" fmla="*/ 0 w 21600"/>
                <a:gd name="T67" fmla="*/ 2147483646 h 2160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1600" h="21600">
                  <a:moveTo>
                    <a:pt x="0" y="6536"/>
                  </a:moveTo>
                  <a:lnTo>
                    <a:pt x="1367" y="4208"/>
                  </a:lnTo>
                  <a:lnTo>
                    <a:pt x="3551" y="4127"/>
                  </a:lnTo>
                  <a:lnTo>
                    <a:pt x="3574" y="2182"/>
                  </a:lnTo>
                  <a:lnTo>
                    <a:pt x="4698" y="0"/>
                  </a:lnTo>
                  <a:lnTo>
                    <a:pt x="6690" y="799"/>
                  </a:lnTo>
                  <a:lnTo>
                    <a:pt x="11445" y="1747"/>
                  </a:lnTo>
                  <a:lnTo>
                    <a:pt x="12995" y="2740"/>
                  </a:lnTo>
                  <a:lnTo>
                    <a:pt x="14889" y="2237"/>
                  </a:lnTo>
                  <a:lnTo>
                    <a:pt x="16418" y="2716"/>
                  </a:lnTo>
                  <a:lnTo>
                    <a:pt x="17761" y="1278"/>
                  </a:lnTo>
                  <a:lnTo>
                    <a:pt x="19602" y="1318"/>
                  </a:lnTo>
                  <a:lnTo>
                    <a:pt x="19426" y="4745"/>
                  </a:lnTo>
                  <a:lnTo>
                    <a:pt x="19887" y="7452"/>
                  </a:lnTo>
                  <a:lnTo>
                    <a:pt x="20628" y="10065"/>
                  </a:lnTo>
                  <a:lnTo>
                    <a:pt x="20628" y="12129"/>
                  </a:lnTo>
                  <a:lnTo>
                    <a:pt x="21155" y="14646"/>
                  </a:lnTo>
                  <a:lnTo>
                    <a:pt x="21600" y="17075"/>
                  </a:lnTo>
                  <a:lnTo>
                    <a:pt x="19805" y="17889"/>
                  </a:lnTo>
                  <a:lnTo>
                    <a:pt x="19476" y="20294"/>
                  </a:lnTo>
                  <a:lnTo>
                    <a:pt x="16972" y="21600"/>
                  </a:lnTo>
                  <a:lnTo>
                    <a:pt x="16330" y="16810"/>
                  </a:lnTo>
                  <a:lnTo>
                    <a:pt x="14799" y="16470"/>
                  </a:lnTo>
                  <a:lnTo>
                    <a:pt x="12707" y="16432"/>
                  </a:lnTo>
                  <a:lnTo>
                    <a:pt x="12295" y="13081"/>
                  </a:lnTo>
                  <a:lnTo>
                    <a:pt x="11538" y="10866"/>
                  </a:lnTo>
                  <a:lnTo>
                    <a:pt x="8738" y="10506"/>
                  </a:lnTo>
                  <a:lnTo>
                    <a:pt x="7141" y="10998"/>
                  </a:lnTo>
                  <a:lnTo>
                    <a:pt x="6252" y="13289"/>
                  </a:lnTo>
                  <a:lnTo>
                    <a:pt x="4473" y="13781"/>
                  </a:lnTo>
                  <a:lnTo>
                    <a:pt x="3534" y="11358"/>
                  </a:lnTo>
                  <a:lnTo>
                    <a:pt x="1229" y="9370"/>
                  </a:lnTo>
                  <a:lnTo>
                    <a:pt x="0" y="6536"/>
                  </a:lnTo>
                  <a:close/>
                  <a:moveTo>
                    <a:pt x="0" y="6536"/>
                  </a:moveTo>
                </a:path>
              </a:pathLst>
            </a:custGeom>
            <a:solidFill>
              <a:srgbClr val="FFCA08"/>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361" name="Freeform 33">
              <a:extLst>
                <a:ext uri="{FF2B5EF4-FFF2-40B4-BE49-F238E27FC236}">
                  <a16:creationId xmlns:a16="http://schemas.microsoft.com/office/drawing/2014/main" id="{0A9804DA-B8C1-437F-9825-D88BC0F2598F}"/>
                </a:ext>
              </a:extLst>
            </p:cNvPr>
            <p:cNvSpPr>
              <a:spLocks/>
            </p:cNvSpPr>
            <p:nvPr/>
          </p:nvSpPr>
          <p:spPr bwMode="auto">
            <a:xfrm>
              <a:off x="5782491" y="1825960"/>
              <a:ext cx="594002" cy="490079"/>
            </a:xfrm>
            <a:custGeom>
              <a:avLst/>
              <a:gdLst>
                <a:gd name="T0" fmla="*/ 2147483646 w 21600"/>
                <a:gd name="T1" fmla="*/ 2147483646 h 21600"/>
                <a:gd name="T2" fmla="*/ 0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0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1600" h="21600">
                  <a:moveTo>
                    <a:pt x="150" y="15031"/>
                  </a:moveTo>
                  <a:lnTo>
                    <a:pt x="0" y="11875"/>
                  </a:lnTo>
                  <a:lnTo>
                    <a:pt x="468" y="8962"/>
                  </a:lnTo>
                  <a:lnTo>
                    <a:pt x="700" y="4370"/>
                  </a:lnTo>
                  <a:lnTo>
                    <a:pt x="2656" y="3985"/>
                  </a:lnTo>
                  <a:lnTo>
                    <a:pt x="2656" y="1922"/>
                  </a:lnTo>
                  <a:lnTo>
                    <a:pt x="4529" y="2064"/>
                  </a:lnTo>
                  <a:lnTo>
                    <a:pt x="5967" y="0"/>
                  </a:lnTo>
                  <a:lnTo>
                    <a:pt x="7338" y="1497"/>
                  </a:lnTo>
                  <a:lnTo>
                    <a:pt x="8023" y="4350"/>
                  </a:lnTo>
                  <a:lnTo>
                    <a:pt x="8074" y="7323"/>
                  </a:lnTo>
                  <a:lnTo>
                    <a:pt x="9578" y="9266"/>
                  </a:lnTo>
                  <a:lnTo>
                    <a:pt x="11752" y="10277"/>
                  </a:lnTo>
                  <a:lnTo>
                    <a:pt x="13658" y="12078"/>
                  </a:lnTo>
                  <a:lnTo>
                    <a:pt x="15648" y="14020"/>
                  </a:lnTo>
                  <a:lnTo>
                    <a:pt x="17520" y="16257"/>
                  </a:lnTo>
                  <a:lnTo>
                    <a:pt x="19594" y="18513"/>
                  </a:lnTo>
                  <a:lnTo>
                    <a:pt x="21600" y="21054"/>
                  </a:lnTo>
                  <a:lnTo>
                    <a:pt x="19309" y="21600"/>
                  </a:lnTo>
                  <a:lnTo>
                    <a:pt x="16450" y="18606"/>
                  </a:lnTo>
                  <a:lnTo>
                    <a:pt x="14344" y="16462"/>
                  </a:lnTo>
                  <a:lnTo>
                    <a:pt x="12003" y="14681"/>
                  </a:lnTo>
                  <a:lnTo>
                    <a:pt x="9244" y="14378"/>
                  </a:lnTo>
                  <a:lnTo>
                    <a:pt x="6000" y="13609"/>
                  </a:lnTo>
                  <a:lnTo>
                    <a:pt x="4362" y="15470"/>
                  </a:lnTo>
                  <a:lnTo>
                    <a:pt x="2640" y="14317"/>
                  </a:lnTo>
                  <a:lnTo>
                    <a:pt x="150" y="15031"/>
                  </a:lnTo>
                  <a:close/>
                  <a:moveTo>
                    <a:pt x="150" y="15031"/>
                  </a:moveTo>
                </a:path>
              </a:pathLst>
            </a:custGeom>
            <a:solidFill>
              <a:srgbClr val="FFC000"/>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362" name="Freeform 34">
              <a:extLst>
                <a:ext uri="{FF2B5EF4-FFF2-40B4-BE49-F238E27FC236}">
                  <a16:creationId xmlns:a16="http://schemas.microsoft.com/office/drawing/2014/main" id="{C38A4956-8AC9-4881-ACA4-3BF4DCF36A2A}"/>
                </a:ext>
              </a:extLst>
            </p:cNvPr>
            <p:cNvSpPr>
              <a:spLocks/>
            </p:cNvSpPr>
            <p:nvPr/>
          </p:nvSpPr>
          <p:spPr bwMode="auto">
            <a:xfrm>
              <a:off x="6314138" y="4610000"/>
              <a:ext cx="694643" cy="1261296"/>
            </a:xfrm>
            <a:custGeom>
              <a:avLst/>
              <a:gdLst>
                <a:gd name="T0" fmla="*/ 0 w 21600"/>
                <a:gd name="T1" fmla="*/ 116962471 h 21600"/>
                <a:gd name="T2" fmla="*/ 986642 w 21600"/>
                <a:gd name="T3" fmla="*/ 106780006 h 21600"/>
                <a:gd name="T4" fmla="*/ 4804774 w 21600"/>
                <a:gd name="T5" fmla="*/ 100625919 h 21600"/>
                <a:gd name="T6" fmla="*/ 8193825 w 21600"/>
                <a:gd name="T7" fmla="*/ 92231472 h 21600"/>
                <a:gd name="T8" fmla="*/ 8564102 w 21600"/>
                <a:gd name="T9" fmla="*/ 83844142 h 21600"/>
                <a:gd name="T10" fmla="*/ 7947690 w 21600"/>
                <a:gd name="T11" fmla="*/ 74781858 h 21600"/>
                <a:gd name="T12" fmla="*/ 7516463 w 21600"/>
                <a:gd name="T13" fmla="*/ 62366149 h 21600"/>
                <a:gd name="T14" fmla="*/ 10350100 w 21600"/>
                <a:gd name="T15" fmla="*/ 52628824 h 21600"/>
                <a:gd name="T16" fmla="*/ 13985241 w 21600"/>
                <a:gd name="T17" fmla="*/ 46252210 h 21600"/>
                <a:gd name="T18" fmla="*/ 19406426 w 21600"/>
                <a:gd name="T19" fmla="*/ 43681447 h 21600"/>
                <a:gd name="T20" fmla="*/ 24518286 w 21600"/>
                <a:gd name="T21" fmla="*/ 39537991 h 21600"/>
                <a:gd name="T22" fmla="*/ 28811234 w 21600"/>
                <a:gd name="T23" fmla="*/ 33448646 h 21600"/>
                <a:gd name="T24" fmla="*/ 33308922 w 21600"/>
                <a:gd name="T25" fmla="*/ 24386361 h 21600"/>
                <a:gd name="T26" fmla="*/ 33555057 w 21600"/>
                <a:gd name="T27" fmla="*/ 17456732 h 21600"/>
                <a:gd name="T28" fmla="*/ 38052698 w 21600"/>
                <a:gd name="T29" fmla="*/ 20135200 h 21600"/>
                <a:gd name="T30" fmla="*/ 38730107 w 21600"/>
                <a:gd name="T31" fmla="*/ 11970568 h 21600"/>
                <a:gd name="T32" fmla="*/ 39838696 w 21600"/>
                <a:gd name="T33" fmla="*/ 5148729 h 21600"/>
                <a:gd name="T34" fmla="*/ 42487242 w 21600"/>
                <a:gd name="T35" fmla="*/ 0 h 21600"/>
                <a:gd name="T36" fmla="*/ 44765464 w 21600"/>
                <a:gd name="T37" fmla="*/ 8947377 h 21600"/>
                <a:gd name="T38" fmla="*/ 45813103 w 21600"/>
                <a:gd name="T39" fmla="*/ 20250108 h 21600"/>
                <a:gd name="T40" fmla="*/ 46490465 w 21600"/>
                <a:gd name="T41" fmla="*/ 28752345 h 21600"/>
                <a:gd name="T42" fmla="*/ 46122382 w 21600"/>
                <a:gd name="T43" fmla="*/ 36694364 h 21600"/>
                <a:gd name="T44" fmla="*/ 47045880 w 21600"/>
                <a:gd name="T45" fmla="*/ 43408499 h 21600"/>
                <a:gd name="T46" fmla="*/ 44765464 w 21600"/>
                <a:gd name="T47" fmla="*/ 47882272 h 21600"/>
                <a:gd name="T48" fmla="*/ 42548192 w 21600"/>
                <a:gd name="T49" fmla="*/ 41620481 h 21600"/>
                <a:gd name="T50" fmla="*/ 42302104 w 21600"/>
                <a:gd name="T51" fmla="*/ 50567858 h 21600"/>
                <a:gd name="T52" fmla="*/ 42918469 w 21600"/>
                <a:gd name="T53" fmla="*/ 59292708 h 21600"/>
                <a:gd name="T54" fmla="*/ 39838696 w 21600"/>
                <a:gd name="T55" fmla="*/ 61195633 h 21600"/>
                <a:gd name="T56" fmla="*/ 39037193 w 21600"/>
                <a:gd name="T57" fmla="*/ 71715619 h 21600"/>
                <a:gd name="T58" fmla="*/ 37497330 w 21600"/>
                <a:gd name="T59" fmla="*/ 80203450 h 21600"/>
                <a:gd name="T60" fmla="*/ 35033923 w 21600"/>
                <a:gd name="T61" fmla="*/ 89940775 h 21600"/>
                <a:gd name="T62" fmla="*/ 32507418 w 21600"/>
                <a:gd name="T63" fmla="*/ 99225672 h 21600"/>
                <a:gd name="T64" fmla="*/ 29612784 w 21600"/>
                <a:gd name="T65" fmla="*/ 111756373 h 21600"/>
                <a:gd name="T66" fmla="*/ 27147230 w 21600"/>
                <a:gd name="T67" fmla="*/ 121823931 h 21600"/>
                <a:gd name="T68" fmla="*/ 24805817 w 21600"/>
                <a:gd name="T69" fmla="*/ 133011754 h 21600"/>
                <a:gd name="T70" fmla="*/ 22466597 w 21600"/>
                <a:gd name="T71" fmla="*/ 141011312 h 21600"/>
                <a:gd name="T72" fmla="*/ 20064187 w 21600"/>
                <a:gd name="T73" fmla="*/ 150073597 h 21600"/>
                <a:gd name="T74" fmla="*/ 16550994 w 21600"/>
                <a:gd name="T75" fmla="*/ 151416475 h 21600"/>
                <a:gd name="T76" fmla="*/ 13286084 w 21600"/>
                <a:gd name="T77" fmla="*/ 152084227 h 21600"/>
                <a:gd name="T78" fmla="*/ 8420360 w 21600"/>
                <a:gd name="T79" fmla="*/ 155107418 h 21600"/>
                <a:gd name="T80" fmla="*/ 4846170 w 21600"/>
                <a:gd name="T81" fmla="*/ 150856342 h 21600"/>
                <a:gd name="T82" fmla="*/ 1459311 w 21600"/>
                <a:gd name="T83" fmla="*/ 145039776 h 21600"/>
                <a:gd name="T84" fmla="*/ 903896 w 21600"/>
                <a:gd name="T85" fmla="*/ 134972218 h 21600"/>
                <a:gd name="T86" fmla="*/ 1213176 w 21600"/>
                <a:gd name="T87" fmla="*/ 126017638 h 21600"/>
                <a:gd name="T88" fmla="*/ 0 w 21600"/>
                <a:gd name="T89" fmla="*/ 116962471 h 21600"/>
                <a:gd name="T90" fmla="*/ 0 w 21600"/>
                <a:gd name="T91" fmla="*/ 116962471 h 2160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1600" h="21600">
                  <a:moveTo>
                    <a:pt x="0" y="16288"/>
                  </a:moveTo>
                  <a:lnTo>
                    <a:pt x="453" y="14870"/>
                  </a:lnTo>
                  <a:lnTo>
                    <a:pt x="2206" y="14013"/>
                  </a:lnTo>
                  <a:lnTo>
                    <a:pt x="3762" y="12844"/>
                  </a:lnTo>
                  <a:lnTo>
                    <a:pt x="3932" y="11676"/>
                  </a:lnTo>
                  <a:lnTo>
                    <a:pt x="3649" y="10414"/>
                  </a:lnTo>
                  <a:lnTo>
                    <a:pt x="3451" y="8685"/>
                  </a:lnTo>
                  <a:lnTo>
                    <a:pt x="4752" y="7329"/>
                  </a:lnTo>
                  <a:lnTo>
                    <a:pt x="6421" y="6441"/>
                  </a:lnTo>
                  <a:lnTo>
                    <a:pt x="8910" y="6083"/>
                  </a:lnTo>
                  <a:lnTo>
                    <a:pt x="11257" y="5506"/>
                  </a:lnTo>
                  <a:lnTo>
                    <a:pt x="13228" y="4658"/>
                  </a:lnTo>
                  <a:lnTo>
                    <a:pt x="15293" y="3396"/>
                  </a:lnTo>
                  <a:lnTo>
                    <a:pt x="15406" y="2431"/>
                  </a:lnTo>
                  <a:lnTo>
                    <a:pt x="17471" y="2804"/>
                  </a:lnTo>
                  <a:lnTo>
                    <a:pt x="17782" y="1667"/>
                  </a:lnTo>
                  <a:lnTo>
                    <a:pt x="18291" y="717"/>
                  </a:lnTo>
                  <a:lnTo>
                    <a:pt x="19507" y="0"/>
                  </a:lnTo>
                  <a:lnTo>
                    <a:pt x="20553" y="1246"/>
                  </a:lnTo>
                  <a:lnTo>
                    <a:pt x="21034" y="2820"/>
                  </a:lnTo>
                  <a:lnTo>
                    <a:pt x="21345" y="4004"/>
                  </a:lnTo>
                  <a:lnTo>
                    <a:pt x="21176" y="5110"/>
                  </a:lnTo>
                  <a:lnTo>
                    <a:pt x="21600" y="6045"/>
                  </a:lnTo>
                  <a:lnTo>
                    <a:pt x="20553" y="6668"/>
                  </a:lnTo>
                  <a:lnTo>
                    <a:pt x="19535" y="5796"/>
                  </a:lnTo>
                  <a:lnTo>
                    <a:pt x="19422" y="7042"/>
                  </a:lnTo>
                  <a:lnTo>
                    <a:pt x="19705" y="8257"/>
                  </a:lnTo>
                  <a:lnTo>
                    <a:pt x="18291" y="8522"/>
                  </a:lnTo>
                  <a:lnTo>
                    <a:pt x="17923" y="9987"/>
                  </a:lnTo>
                  <a:lnTo>
                    <a:pt x="17216" y="11169"/>
                  </a:lnTo>
                  <a:lnTo>
                    <a:pt x="16085" y="12525"/>
                  </a:lnTo>
                  <a:lnTo>
                    <a:pt x="14925" y="13818"/>
                  </a:lnTo>
                  <a:lnTo>
                    <a:pt x="13596" y="15563"/>
                  </a:lnTo>
                  <a:lnTo>
                    <a:pt x="12464" y="16965"/>
                  </a:lnTo>
                  <a:lnTo>
                    <a:pt x="11389" y="18523"/>
                  </a:lnTo>
                  <a:lnTo>
                    <a:pt x="10315" y="19637"/>
                  </a:lnTo>
                  <a:lnTo>
                    <a:pt x="9212" y="20899"/>
                  </a:lnTo>
                  <a:lnTo>
                    <a:pt x="7599" y="21086"/>
                  </a:lnTo>
                  <a:lnTo>
                    <a:pt x="6100" y="21179"/>
                  </a:lnTo>
                  <a:lnTo>
                    <a:pt x="3866" y="21600"/>
                  </a:lnTo>
                  <a:lnTo>
                    <a:pt x="2225" y="21008"/>
                  </a:lnTo>
                  <a:lnTo>
                    <a:pt x="670" y="20198"/>
                  </a:lnTo>
                  <a:lnTo>
                    <a:pt x="415" y="18796"/>
                  </a:lnTo>
                  <a:lnTo>
                    <a:pt x="557" y="17549"/>
                  </a:lnTo>
                  <a:lnTo>
                    <a:pt x="0" y="16288"/>
                  </a:lnTo>
                  <a:close/>
                  <a:moveTo>
                    <a:pt x="0" y="16288"/>
                  </a:moveTo>
                </a:path>
              </a:pathLst>
            </a:custGeom>
            <a:solidFill>
              <a:srgbClr val="002060">
                <a:lumMod val="25000"/>
                <a:lumOff val="75000"/>
              </a:srgbClr>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63" name="Freeform 35">
              <a:extLst>
                <a:ext uri="{FF2B5EF4-FFF2-40B4-BE49-F238E27FC236}">
                  <a16:creationId xmlns:a16="http://schemas.microsoft.com/office/drawing/2014/main" id="{372DCC8B-D863-45D2-8FCF-0E609019CAE7}"/>
                </a:ext>
              </a:extLst>
            </p:cNvPr>
            <p:cNvSpPr>
              <a:spLocks/>
            </p:cNvSpPr>
            <p:nvPr/>
          </p:nvSpPr>
          <p:spPr bwMode="auto">
            <a:xfrm>
              <a:off x="2552129" y="2346669"/>
              <a:ext cx="278951" cy="563371"/>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0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0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1600" h="21600">
                  <a:moveTo>
                    <a:pt x="12616" y="21156"/>
                  </a:moveTo>
                  <a:lnTo>
                    <a:pt x="12976" y="17838"/>
                  </a:lnTo>
                  <a:lnTo>
                    <a:pt x="13367" y="14303"/>
                  </a:lnTo>
                  <a:lnTo>
                    <a:pt x="14278" y="11503"/>
                  </a:lnTo>
                  <a:lnTo>
                    <a:pt x="19959" y="8143"/>
                  </a:lnTo>
                  <a:lnTo>
                    <a:pt x="21600" y="5787"/>
                  </a:lnTo>
                  <a:lnTo>
                    <a:pt x="19510" y="4000"/>
                  </a:lnTo>
                  <a:lnTo>
                    <a:pt x="19992" y="1493"/>
                  </a:lnTo>
                  <a:lnTo>
                    <a:pt x="15543" y="0"/>
                  </a:lnTo>
                  <a:lnTo>
                    <a:pt x="10988" y="187"/>
                  </a:lnTo>
                  <a:lnTo>
                    <a:pt x="10137" y="2882"/>
                  </a:lnTo>
                  <a:lnTo>
                    <a:pt x="5655" y="2831"/>
                  </a:lnTo>
                  <a:lnTo>
                    <a:pt x="1126" y="4667"/>
                  </a:lnTo>
                  <a:lnTo>
                    <a:pt x="0" y="6533"/>
                  </a:lnTo>
                  <a:lnTo>
                    <a:pt x="3755" y="8134"/>
                  </a:lnTo>
                  <a:lnTo>
                    <a:pt x="4609" y="10347"/>
                  </a:lnTo>
                  <a:lnTo>
                    <a:pt x="5044" y="13423"/>
                  </a:lnTo>
                  <a:lnTo>
                    <a:pt x="5038" y="17333"/>
                  </a:lnTo>
                  <a:lnTo>
                    <a:pt x="5038" y="19707"/>
                  </a:lnTo>
                  <a:lnTo>
                    <a:pt x="5949" y="21600"/>
                  </a:lnTo>
                  <a:lnTo>
                    <a:pt x="12616" y="21156"/>
                  </a:lnTo>
                  <a:close/>
                  <a:moveTo>
                    <a:pt x="12616" y="21156"/>
                  </a:moveTo>
                </a:path>
              </a:pathLst>
            </a:custGeom>
            <a:solidFill>
              <a:srgbClr val="FFCA08"/>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364" name="Freeform 36">
              <a:extLst>
                <a:ext uri="{FF2B5EF4-FFF2-40B4-BE49-F238E27FC236}">
                  <a16:creationId xmlns:a16="http://schemas.microsoft.com/office/drawing/2014/main" id="{B81654F9-0D25-41D2-B033-35B235CC96A8}"/>
                </a:ext>
              </a:extLst>
            </p:cNvPr>
            <p:cNvSpPr>
              <a:spLocks/>
            </p:cNvSpPr>
            <p:nvPr/>
          </p:nvSpPr>
          <p:spPr bwMode="auto">
            <a:xfrm>
              <a:off x="1439607" y="2675940"/>
              <a:ext cx="352244" cy="398189"/>
            </a:xfrm>
            <a:custGeom>
              <a:avLst/>
              <a:gdLst>
                <a:gd name="T0" fmla="*/ 0 w 21600"/>
                <a:gd name="T1" fmla="*/ 5835001 h 21600"/>
                <a:gd name="T2" fmla="*/ 1800590 w 21600"/>
                <a:gd name="T3" fmla="*/ 3566271 h 21600"/>
                <a:gd name="T4" fmla="*/ 2839482 w 21600"/>
                <a:gd name="T5" fmla="*/ 2296633 h 21600"/>
                <a:gd name="T6" fmla="*/ 4068243 w 21600"/>
                <a:gd name="T7" fmla="*/ 0 h 21600"/>
                <a:gd name="T8" fmla="*/ 6467523 w 21600"/>
                <a:gd name="T9" fmla="*/ 237614 h 21600"/>
                <a:gd name="T10" fmla="*/ 7280741 w 21600"/>
                <a:gd name="T11" fmla="*/ 2699576 h 21600"/>
                <a:gd name="T12" fmla="*/ 7037673 w 21600"/>
                <a:gd name="T13" fmla="*/ 5065631 h 21600"/>
                <a:gd name="T14" fmla="*/ 9533272 w 21600"/>
                <a:gd name="T15" fmla="*/ 3554099 h 21600"/>
                <a:gd name="T16" fmla="*/ 9801544 w 21600"/>
                <a:gd name="T17" fmla="*/ 6006028 h 21600"/>
                <a:gd name="T18" fmla="*/ 9137324 w 21600"/>
                <a:gd name="T19" fmla="*/ 7680750 h 21600"/>
                <a:gd name="T20" fmla="*/ 11191041 w 21600"/>
                <a:gd name="T21" fmla="*/ 8655497 h 21600"/>
                <a:gd name="T22" fmla="*/ 12097217 w 21600"/>
                <a:gd name="T23" fmla="*/ 10501273 h 21600"/>
                <a:gd name="T24" fmla="*/ 11924719 w 21600"/>
                <a:gd name="T25" fmla="*/ 12911710 h 21600"/>
                <a:gd name="T26" fmla="*/ 11758374 w 21600"/>
                <a:gd name="T27" fmla="*/ 15458825 h 21600"/>
                <a:gd name="T28" fmla="*/ 9523190 w 21600"/>
                <a:gd name="T29" fmla="*/ 14364548 h 21600"/>
                <a:gd name="T30" fmla="*/ 6789564 w 21600"/>
                <a:gd name="T31" fmla="*/ 12740656 h 21600"/>
                <a:gd name="T32" fmla="*/ 5158679 w 21600"/>
                <a:gd name="T33" fmla="*/ 10706678 h 21600"/>
                <a:gd name="T34" fmla="*/ 4086181 w 21600"/>
                <a:gd name="T35" fmla="*/ 9031234 h 21600"/>
                <a:gd name="T36" fmla="*/ 2032441 w 21600"/>
                <a:gd name="T37" fmla="*/ 8467295 h 21600"/>
                <a:gd name="T38" fmla="*/ 1065776 w 21600"/>
                <a:gd name="T39" fmla="*/ 7065982 h 21600"/>
                <a:gd name="T40" fmla="*/ 0 w 21600"/>
                <a:gd name="T41" fmla="*/ 5835001 h 21600"/>
                <a:gd name="T42" fmla="*/ 0 w 21600"/>
                <a:gd name="T43" fmla="*/ 5835001 h 216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1600" h="21600">
                  <a:moveTo>
                    <a:pt x="0" y="8153"/>
                  </a:moveTo>
                  <a:lnTo>
                    <a:pt x="3215" y="4983"/>
                  </a:lnTo>
                  <a:lnTo>
                    <a:pt x="5070" y="3209"/>
                  </a:lnTo>
                  <a:lnTo>
                    <a:pt x="7264" y="0"/>
                  </a:lnTo>
                  <a:lnTo>
                    <a:pt x="11548" y="332"/>
                  </a:lnTo>
                  <a:lnTo>
                    <a:pt x="13000" y="3772"/>
                  </a:lnTo>
                  <a:lnTo>
                    <a:pt x="12566" y="7078"/>
                  </a:lnTo>
                  <a:lnTo>
                    <a:pt x="17022" y="4966"/>
                  </a:lnTo>
                  <a:lnTo>
                    <a:pt x="17501" y="8392"/>
                  </a:lnTo>
                  <a:lnTo>
                    <a:pt x="16315" y="10732"/>
                  </a:lnTo>
                  <a:lnTo>
                    <a:pt x="19982" y="12094"/>
                  </a:lnTo>
                  <a:lnTo>
                    <a:pt x="21600" y="14673"/>
                  </a:lnTo>
                  <a:lnTo>
                    <a:pt x="21292" y="18041"/>
                  </a:lnTo>
                  <a:lnTo>
                    <a:pt x="20995" y="21600"/>
                  </a:lnTo>
                  <a:lnTo>
                    <a:pt x="17004" y="20071"/>
                  </a:lnTo>
                  <a:lnTo>
                    <a:pt x="12123" y="17802"/>
                  </a:lnTo>
                  <a:lnTo>
                    <a:pt x="9211" y="14960"/>
                  </a:lnTo>
                  <a:lnTo>
                    <a:pt x="7296" y="12619"/>
                  </a:lnTo>
                  <a:lnTo>
                    <a:pt x="3629" y="11831"/>
                  </a:lnTo>
                  <a:lnTo>
                    <a:pt x="1903" y="9873"/>
                  </a:lnTo>
                  <a:lnTo>
                    <a:pt x="0" y="8153"/>
                  </a:lnTo>
                  <a:close/>
                  <a:moveTo>
                    <a:pt x="0" y="8153"/>
                  </a:moveTo>
                </a:path>
              </a:pathLst>
            </a:custGeom>
            <a:solidFill>
              <a:srgbClr val="002060">
                <a:lumMod val="25000"/>
                <a:lumOff val="75000"/>
              </a:srgbClr>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65" name="Freeform 37">
              <a:extLst>
                <a:ext uri="{FF2B5EF4-FFF2-40B4-BE49-F238E27FC236}">
                  <a16:creationId xmlns:a16="http://schemas.microsoft.com/office/drawing/2014/main" id="{69A4ABC1-F8CF-4FC3-804A-44847A79BA04}"/>
                </a:ext>
              </a:extLst>
            </p:cNvPr>
            <p:cNvSpPr>
              <a:spLocks/>
            </p:cNvSpPr>
            <p:nvPr/>
          </p:nvSpPr>
          <p:spPr bwMode="auto">
            <a:xfrm>
              <a:off x="3303656" y="94276"/>
              <a:ext cx="313957" cy="64651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0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0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1600" h="21600">
                  <a:moveTo>
                    <a:pt x="8626" y="21600"/>
                  </a:moveTo>
                  <a:lnTo>
                    <a:pt x="8493" y="18959"/>
                  </a:lnTo>
                  <a:lnTo>
                    <a:pt x="8283" y="15901"/>
                  </a:lnTo>
                  <a:lnTo>
                    <a:pt x="5557" y="14678"/>
                  </a:lnTo>
                  <a:lnTo>
                    <a:pt x="2831" y="12843"/>
                  </a:lnTo>
                  <a:lnTo>
                    <a:pt x="419" y="11671"/>
                  </a:lnTo>
                  <a:lnTo>
                    <a:pt x="0" y="9683"/>
                  </a:lnTo>
                  <a:lnTo>
                    <a:pt x="3984" y="7798"/>
                  </a:lnTo>
                  <a:lnTo>
                    <a:pt x="5243" y="5300"/>
                  </a:lnTo>
                  <a:lnTo>
                    <a:pt x="5138" y="3313"/>
                  </a:lnTo>
                  <a:lnTo>
                    <a:pt x="7864" y="1478"/>
                  </a:lnTo>
                  <a:lnTo>
                    <a:pt x="10905" y="204"/>
                  </a:lnTo>
                  <a:lnTo>
                    <a:pt x="14680" y="0"/>
                  </a:lnTo>
                  <a:lnTo>
                    <a:pt x="17720" y="866"/>
                  </a:lnTo>
                  <a:lnTo>
                    <a:pt x="17091" y="2446"/>
                  </a:lnTo>
                  <a:lnTo>
                    <a:pt x="21181" y="1223"/>
                  </a:lnTo>
                  <a:lnTo>
                    <a:pt x="19083" y="2956"/>
                  </a:lnTo>
                  <a:lnTo>
                    <a:pt x="17930" y="4332"/>
                  </a:lnTo>
                  <a:lnTo>
                    <a:pt x="19817" y="5861"/>
                  </a:lnTo>
                  <a:lnTo>
                    <a:pt x="19188" y="7492"/>
                  </a:lnTo>
                  <a:lnTo>
                    <a:pt x="17301" y="8664"/>
                  </a:lnTo>
                  <a:lnTo>
                    <a:pt x="14155" y="9327"/>
                  </a:lnTo>
                  <a:lnTo>
                    <a:pt x="15099" y="11161"/>
                  </a:lnTo>
                  <a:lnTo>
                    <a:pt x="18454" y="11467"/>
                  </a:lnTo>
                  <a:lnTo>
                    <a:pt x="21600" y="12792"/>
                  </a:lnTo>
                  <a:lnTo>
                    <a:pt x="21161" y="14969"/>
                  </a:lnTo>
                  <a:lnTo>
                    <a:pt x="17648" y="15811"/>
                  </a:lnTo>
                  <a:lnTo>
                    <a:pt x="13432" y="16950"/>
                  </a:lnTo>
                  <a:lnTo>
                    <a:pt x="13717" y="20115"/>
                  </a:lnTo>
                  <a:lnTo>
                    <a:pt x="8626" y="21600"/>
                  </a:lnTo>
                  <a:close/>
                  <a:moveTo>
                    <a:pt x="8626" y="21600"/>
                  </a:moveTo>
                </a:path>
              </a:pathLst>
            </a:custGeom>
            <a:solidFill>
              <a:srgbClr val="E6E6E6"/>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366" name="Freeform 38">
              <a:extLst>
                <a:ext uri="{FF2B5EF4-FFF2-40B4-BE49-F238E27FC236}">
                  <a16:creationId xmlns:a16="http://schemas.microsoft.com/office/drawing/2014/main" id="{6F42348B-EE44-4A0D-BD09-D79AE67E533D}"/>
                </a:ext>
              </a:extLst>
            </p:cNvPr>
            <p:cNvSpPr>
              <a:spLocks/>
            </p:cNvSpPr>
            <p:nvPr/>
          </p:nvSpPr>
          <p:spPr bwMode="auto">
            <a:xfrm>
              <a:off x="6272569" y="2307287"/>
              <a:ext cx="143305" cy="156431"/>
            </a:xfrm>
            <a:custGeom>
              <a:avLst/>
              <a:gdLst>
                <a:gd name="T0" fmla="*/ 2147483646 w 21600"/>
                <a:gd name="T1" fmla="*/ 2147483646 h 21600"/>
                <a:gd name="T2" fmla="*/ 2147483646 w 21600"/>
                <a:gd name="T3" fmla="*/ 2147483646 h 21600"/>
                <a:gd name="T4" fmla="*/ 1017160368 w 21600"/>
                <a:gd name="T5" fmla="*/ 2147483646 h 21600"/>
                <a:gd name="T6" fmla="*/ 0 w 21600"/>
                <a:gd name="T7" fmla="*/ 2147483646 h 21600"/>
                <a:gd name="T8" fmla="*/ 2147483646 w 21600"/>
                <a:gd name="T9" fmla="*/ 2147483646 h 21600"/>
                <a:gd name="T10" fmla="*/ 2147483646 w 21600"/>
                <a:gd name="T11" fmla="*/ 1958131418 h 21600"/>
                <a:gd name="T12" fmla="*/ 2147483646 w 21600"/>
                <a:gd name="T13" fmla="*/ 0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1600" h="21600">
                  <a:moveTo>
                    <a:pt x="19791" y="16757"/>
                  </a:moveTo>
                  <a:lnTo>
                    <a:pt x="14365" y="20825"/>
                  </a:lnTo>
                  <a:lnTo>
                    <a:pt x="1277" y="21600"/>
                  </a:lnTo>
                  <a:lnTo>
                    <a:pt x="0" y="13948"/>
                  </a:lnTo>
                  <a:lnTo>
                    <a:pt x="3192" y="7846"/>
                  </a:lnTo>
                  <a:lnTo>
                    <a:pt x="5639" y="1453"/>
                  </a:lnTo>
                  <a:lnTo>
                    <a:pt x="15641" y="0"/>
                  </a:lnTo>
                  <a:lnTo>
                    <a:pt x="21600" y="3584"/>
                  </a:lnTo>
                  <a:lnTo>
                    <a:pt x="15854" y="8621"/>
                  </a:lnTo>
                  <a:lnTo>
                    <a:pt x="7661" y="13561"/>
                  </a:lnTo>
                  <a:lnTo>
                    <a:pt x="19791" y="16757"/>
                  </a:lnTo>
                  <a:close/>
                  <a:moveTo>
                    <a:pt x="19791" y="16757"/>
                  </a:moveTo>
                </a:path>
              </a:pathLst>
            </a:custGeom>
            <a:solidFill>
              <a:srgbClr val="FFC000"/>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367" name="Freeform 39">
              <a:extLst>
                <a:ext uri="{FF2B5EF4-FFF2-40B4-BE49-F238E27FC236}">
                  <a16:creationId xmlns:a16="http://schemas.microsoft.com/office/drawing/2014/main" id="{26ACA71A-10A5-43E2-9885-685E543FC4A4}"/>
                </a:ext>
              </a:extLst>
            </p:cNvPr>
            <p:cNvSpPr>
              <a:spLocks/>
            </p:cNvSpPr>
            <p:nvPr/>
          </p:nvSpPr>
          <p:spPr bwMode="auto">
            <a:xfrm>
              <a:off x="5116290" y="3591556"/>
              <a:ext cx="190343" cy="164089"/>
            </a:xfrm>
            <a:custGeom>
              <a:avLst/>
              <a:gdLst>
                <a:gd name="T0" fmla="*/ 0 w 21600"/>
                <a:gd name="T1" fmla="*/ 2356203 h 21600"/>
                <a:gd name="T2" fmla="*/ 143918 w 21600"/>
                <a:gd name="T3" fmla="*/ 1184606 h 21600"/>
                <a:gd name="T4" fmla="*/ 975010 w 21600"/>
                <a:gd name="T5" fmla="*/ 550675 h 21600"/>
                <a:gd name="T6" fmla="*/ 1913715 w 21600"/>
                <a:gd name="T7" fmla="*/ 331909 h 21600"/>
                <a:gd name="T8" fmla="*/ 3068630 w 21600"/>
                <a:gd name="T9" fmla="*/ 0 h 21600"/>
                <a:gd name="T10" fmla="*/ 3453426 w 21600"/>
                <a:gd name="T11" fmla="*/ 769441 h 21600"/>
                <a:gd name="T12" fmla="*/ 3532419 w 21600"/>
                <a:gd name="T13" fmla="*/ 1570600 h 21600"/>
                <a:gd name="T14" fmla="*/ 1878726 w 21600"/>
                <a:gd name="T15" fmla="*/ 1689706 h 21600"/>
                <a:gd name="T16" fmla="*/ 1756395 w 21600"/>
                <a:gd name="T17" fmla="*/ 2625163 h 21600"/>
                <a:gd name="T18" fmla="*/ 0 w 21600"/>
                <a:gd name="T19" fmla="*/ 2356203 h 21600"/>
                <a:gd name="T20" fmla="*/ 0 w 21600"/>
                <a:gd name="T21" fmla="*/ 2356203 h 2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600" h="21600">
                  <a:moveTo>
                    <a:pt x="0" y="19387"/>
                  </a:moveTo>
                  <a:lnTo>
                    <a:pt x="880" y="9747"/>
                  </a:lnTo>
                  <a:lnTo>
                    <a:pt x="5962" y="4531"/>
                  </a:lnTo>
                  <a:lnTo>
                    <a:pt x="11702" y="2731"/>
                  </a:lnTo>
                  <a:lnTo>
                    <a:pt x="18764" y="0"/>
                  </a:lnTo>
                  <a:lnTo>
                    <a:pt x="21117" y="6331"/>
                  </a:lnTo>
                  <a:lnTo>
                    <a:pt x="21600" y="12923"/>
                  </a:lnTo>
                  <a:lnTo>
                    <a:pt x="11488" y="13903"/>
                  </a:lnTo>
                  <a:lnTo>
                    <a:pt x="10740" y="21600"/>
                  </a:lnTo>
                  <a:lnTo>
                    <a:pt x="0" y="19387"/>
                  </a:lnTo>
                  <a:close/>
                  <a:moveTo>
                    <a:pt x="0" y="19387"/>
                  </a:moveTo>
                </a:path>
              </a:pathLst>
            </a:custGeom>
            <a:solidFill>
              <a:srgbClr val="002060">
                <a:lumMod val="25000"/>
                <a:lumOff val="75000"/>
              </a:srgbClr>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68" name="Freeform 40">
              <a:extLst>
                <a:ext uri="{FF2B5EF4-FFF2-40B4-BE49-F238E27FC236}">
                  <a16:creationId xmlns:a16="http://schemas.microsoft.com/office/drawing/2014/main" id="{5317ACBC-A7CD-4FE0-A33F-FCEF1488831B}"/>
                </a:ext>
              </a:extLst>
            </p:cNvPr>
            <p:cNvSpPr>
              <a:spLocks/>
            </p:cNvSpPr>
            <p:nvPr/>
          </p:nvSpPr>
          <p:spPr bwMode="auto">
            <a:xfrm>
              <a:off x="5129417" y="3690009"/>
              <a:ext cx="179404" cy="200188"/>
            </a:xfrm>
            <a:custGeom>
              <a:avLst/>
              <a:gdLst>
                <a:gd name="T0" fmla="*/ 482045 w 21600"/>
                <a:gd name="T1" fmla="*/ 3876883 h 21600"/>
                <a:gd name="T2" fmla="*/ 200048 w 21600"/>
                <a:gd name="T3" fmla="*/ 2540810 h 21600"/>
                <a:gd name="T4" fmla="*/ 0 w 21600"/>
                <a:gd name="T5" fmla="*/ 1062924 h 21600"/>
                <a:gd name="T6" fmla="*/ 1391643 w 21600"/>
                <a:gd name="T7" fmla="*/ 1245086 h 21600"/>
                <a:gd name="T8" fmla="*/ 1537210 w 21600"/>
                <a:gd name="T9" fmla="*/ 182162 h 21600"/>
                <a:gd name="T10" fmla="*/ 3138061 w 21600"/>
                <a:gd name="T11" fmla="*/ 0 h 21600"/>
                <a:gd name="T12" fmla="*/ 2528613 w 21600"/>
                <a:gd name="T13" fmla="*/ 830111 h 21600"/>
                <a:gd name="T14" fmla="*/ 2856076 w 21600"/>
                <a:gd name="T15" fmla="*/ 2065070 h 21600"/>
                <a:gd name="T16" fmla="*/ 2537762 w 21600"/>
                <a:gd name="T17" fmla="*/ 3056899 h 21600"/>
                <a:gd name="T18" fmla="*/ 1755422 w 21600"/>
                <a:gd name="T19" fmla="*/ 3907279 h 21600"/>
                <a:gd name="T20" fmla="*/ 482045 w 21600"/>
                <a:gd name="T21" fmla="*/ 3876883 h 21600"/>
                <a:gd name="T22" fmla="*/ 482045 w 21600"/>
                <a:gd name="T23" fmla="*/ 3876883 h 216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1600" h="21600">
                  <a:moveTo>
                    <a:pt x="3318" y="21432"/>
                  </a:moveTo>
                  <a:lnTo>
                    <a:pt x="1377" y="14046"/>
                  </a:lnTo>
                  <a:lnTo>
                    <a:pt x="0" y="5876"/>
                  </a:lnTo>
                  <a:lnTo>
                    <a:pt x="9579" y="6883"/>
                  </a:lnTo>
                  <a:lnTo>
                    <a:pt x="10581" y="1007"/>
                  </a:lnTo>
                  <a:lnTo>
                    <a:pt x="21600" y="0"/>
                  </a:lnTo>
                  <a:lnTo>
                    <a:pt x="17405" y="4589"/>
                  </a:lnTo>
                  <a:lnTo>
                    <a:pt x="19659" y="11416"/>
                  </a:lnTo>
                  <a:lnTo>
                    <a:pt x="17468" y="16899"/>
                  </a:lnTo>
                  <a:lnTo>
                    <a:pt x="12083" y="21600"/>
                  </a:lnTo>
                  <a:lnTo>
                    <a:pt x="3318" y="21432"/>
                  </a:lnTo>
                  <a:close/>
                  <a:moveTo>
                    <a:pt x="3318" y="21432"/>
                  </a:moveTo>
                </a:path>
              </a:pathLst>
            </a:custGeom>
            <a:solidFill>
              <a:srgbClr val="002060">
                <a:lumMod val="25000"/>
                <a:lumOff val="75000"/>
              </a:srgbClr>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69" name="Freeform 41">
              <a:extLst>
                <a:ext uri="{FF2B5EF4-FFF2-40B4-BE49-F238E27FC236}">
                  <a16:creationId xmlns:a16="http://schemas.microsoft.com/office/drawing/2014/main" id="{9DF9C31F-80A6-4BC2-8524-15BB67C63E54}"/>
                </a:ext>
              </a:extLst>
            </p:cNvPr>
            <p:cNvSpPr>
              <a:spLocks/>
            </p:cNvSpPr>
            <p:nvPr/>
          </p:nvSpPr>
          <p:spPr bwMode="auto">
            <a:xfrm>
              <a:off x="3341943" y="3266659"/>
              <a:ext cx="157525" cy="127990"/>
            </a:xfrm>
            <a:custGeom>
              <a:avLst/>
              <a:gdLst>
                <a:gd name="T0" fmla="*/ 0 w 21600"/>
                <a:gd name="T1" fmla="*/ 2147483646 h 21600"/>
                <a:gd name="T2" fmla="*/ 2147483646 w 21600"/>
                <a:gd name="T3" fmla="*/ 2147483646 h 21600"/>
                <a:gd name="T4" fmla="*/ 2147483646 w 21600"/>
                <a:gd name="T5" fmla="*/ 352942925 h 21600"/>
                <a:gd name="T6" fmla="*/ 2147483646 w 21600"/>
                <a:gd name="T7" fmla="*/ 0 h 21600"/>
                <a:gd name="T8" fmla="*/ 2006611695 w 21600"/>
                <a:gd name="T9" fmla="*/ 2147483646 h 21600"/>
                <a:gd name="T10" fmla="*/ 0 w 21600"/>
                <a:gd name="T11" fmla="*/ 2147483646 h 21600"/>
                <a:gd name="T12" fmla="*/ 0 w 21600"/>
                <a:gd name="T13" fmla="*/ 2147483646 h 2160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1600" h="21600">
                  <a:moveTo>
                    <a:pt x="0" y="21600"/>
                  </a:moveTo>
                  <a:lnTo>
                    <a:pt x="21154" y="21055"/>
                  </a:lnTo>
                  <a:lnTo>
                    <a:pt x="21600" y="873"/>
                  </a:lnTo>
                  <a:lnTo>
                    <a:pt x="3927" y="0"/>
                  </a:lnTo>
                  <a:lnTo>
                    <a:pt x="1428" y="9164"/>
                  </a:lnTo>
                  <a:lnTo>
                    <a:pt x="0" y="21600"/>
                  </a:lnTo>
                  <a:close/>
                  <a:moveTo>
                    <a:pt x="0" y="21600"/>
                  </a:moveTo>
                </a:path>
              </a:pathLst>
            </a:custGeom>
            <a:solidFill>
              <a:srgbClr val="E6E6E6"/>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370" name="Freeform 42">
              <a:extLst>
                <a:ext uri="{FF2B5EF4-FFF2-40B4-BE49-F238E27FC236}">
                  <a16:creationId xmlns:a16="http://schemas.microsoft.com/office/drawing/2014/main" id="{9CAA484E-637D-428E-849E-A78DFB9D2CB9}"/>
                </a:ext>
              </a:extLst>
            </p:cNvPr>
            <p:cNvSpPr>
              <a:spLocks/>
            </p:cNvSpPr>
            <p:nvPr/>
          </p:nvSpPr>
          <p:spPr bwMode="auto">
            <a:xfrm>
              <a:off x="2478836" y="2458249"/>
              <a:ext cx="147680" cy="450697"/>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390197715 w 21600"/>
                <a:gd name="T17" fmla="*/ 0 h 21600"/>
                <a:gd name="T18" fmla="*/ 0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1600" h="21600">
                  <a:moveTo>
                    <a:pt x="21600" y="21567"/>
                  </a:moveTo>
                  <a:lnTo>
                    <a:pt x="21191" y="17500"/>
                  </a:lnTo>
                  <a:lnTo>
                    <a:pt x="21191" y="13467"/>
                  </a:lnTo>
                  <a:lnTo>
                    <a:pt x="19553" y="9900"/>
                  </a:lnTo>
                  <a:lnTo>
                    <a:pt x="19246" y="7233"/>
                  </a:lnTo>
                  <a:lnTo>
                    <a:pt x="18427" y="4833"/>
                  </a:lnTo>
                  <a:lnTo>
                    <a:pt x="11158" y="3200"/>
                  </a:lnTo>
                  <a:lnTo>
                    <a:pt x="13643" y="3"/>
                  </a:lnTo>
                  <a:lnTo>
                    <a:pt x="409" y="0"/>
                  </a:lnTo>
                  <a:lnTo>
                    <a:pt x="0" y="2233"/>
                  </a:lnTo>
                  <a:lnTo>
                    <a:pt x="6142" y="4367"/>
                  </a:lnTo>
                  <a:lnTo>
                    <a:pt x="3788" y="7333"/>
                  </a:lnTo>
                  <a:lnTo>
                    <a:pt x="6347" y="11367"/>
                  </a:lnTo>
                  <a:lnTo>
                    <a:pt x="6449" y="14700"/>
                  </a:lnTo>
                  <a:lnTo>
                    <a:pt x="6654" y="19267"/>
                  </a:lnTo>
                  <a:lnTo>
                    <a:pt x="11977" y="21600"/>
                  </a:lnTo>
                  <a:lnTo>
                    <a:pt x="21600" y="21567"/>
                  </a:lnTo>
                  <a:close/>
                  <a:moveTo>
                    <a:pt x="21600" y="21567"/>
                  </a:moveTo>
                </a:path>
              </a:pathLst>
            </a:custGeom>
            <a:solidFill>
              <a:srgbClr val="FFCA08"/>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371" name="Freeform 43">
              <a:extLst>
                <a:ext uri="{FF2B5EF4-FFF2-40B4-BE49-F238E27FC236}">
                  <a16:creationId xmlns:a16="http://schemas.microsoft.com/office/drawing/2014/main" id="{62B4C993-5255-4739-A682-94D60CE66D68}"/>
                </a:ext>
              </a:extLst>
            </p:cNvPr>
            <p:cNvSpPr>
              <a:spLocks/>
            </p:cNvSpPr>
            <p:nvPr/>
          </p:nvSpPr>
          <p:spPr bwMode="auto">
            <a:xfrm>
              <a:off x="1289739" y="2524978"/>
              <a:ext cx="276763" cy="298642"/>
            </a:xfrm>
            <a:custGeom>
              <a:avLst/>
              <a:gdLst>
                <a:gd name="T0" fmla="*/ 4072227 w 21600"/>
                <a:gd name="T1" fmla="*/ 8695609 h 21600"/>
                <a:gd name="T2" fmla="*/ 5445194 w 21600"/>
                <a:gd name="T3" fmla="*/ 7293438 h 21600"/>
                <a:gd name="T4" fmla="*/ 6325467 w 21600"/>
                <a:gd name="T5" fmla="*/ 5898932 h 21600"/>
                <a:gd name="T6" fmla="*/ 7468161 w 21600"/>
                <a:gd name="T7" fmla="*/ 4630811 h 21600"/>
                <a:gd name="T8" fmla="*/ 6293317 w 21600"/>
                <a:gd name="T9" fmla="*/ 4109883 h 21600"/>
                <a:gd name="T10" fmla="*/ 6234875 w 21600"/>
                <a:gd name="T11" fmla="*/ 1954500 h 21600"/>
                <a:gd name="T12" fmla="*/ 5396793 w 21600"/>
                <a:gd name="T13" fmla="*/ 140490 h 21600"/>
                <a:gd name="T14" fmla="*/ 3493442 w 21600"/>
                <a:gd name="T15" fmla="*/ 0 h 21600"/>
                <a:gd name="T16" fmla="*/ 2170253 w 21600"/>
                <a:gd name="T17" fmla="*/ 350242 h 21600"/>
                <a:gd name="T18" fmla="*/ 1464580 w 21600"/>
                <a:gd name="T19" fmla="*/ 1990736 h 21600"/>
                <a:gd name="T20" fmla="*/ 0 w 21600"/>
                <a:gd name="T21" fmla="*/ 2494349 h 21600"/>
                <a:gd name="T22" fmla="*/ 161120 w 21600"/>
                <a:gd name="T23" fmla="*/ 4648126 h 21600"/>
                <a:gd name="T24" fmla="*/ 949072 w 21600"/>
                <a:gd name="T25" fmla="*/ 6398512 h 21600"/>
                <a:gd name="T26" fmla="*/ 2204485 w 21600"/>
                <a:gd name="T27" fmla="*/ 7770486 h 21600"/>
                <a:gd name="T28" fmla="*/ 4072227 w 21600"/>
                <a:gd name="T29" fmla="*/ 8695609 h 21600"/>
                <a:gd name="T30" fmla="*/ 4072227 w 21600"/>
                <a:gd name="T31" fmla="*/ 8695609 h 2160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1600" h="21600">
                  <a:moveTo>
                    <a:pt x="11778" y="21600"/>
                  </a:moveTo>
                  <a:lnTo>
                    <a:pt x="15749" y="18117"/>
                  </a:lnTo>
                  <a:lnTo>
                    <a:pt x="18295" y="14653"/>
                  </a:lnTo>
                  <a:lnTo>
                    <a:pt x="21600" y="11503"/>
                  </a:lnTo>
                  <a:lnTo>
                    <a:pt x="18202" y="10209"/>
                  </a:lnTo>
                  <a:lnTo>
                    <a:pt x="18033" y="4855"/>
                  </a:lnTo>
                  <a:lnTo>
                    <a:pt x="15609" y="349"/>
                  </a:lnTo>
                  <a:lnTo>
                    <a:pt x="10104" y="0"/>
                  </a:lnTo>
                  <a:lnTo>
                    <a:pt x="6277" y="870"/>
                  </a:lnTo>
                  <a:lnTo>
                    <a:pt x="4236" y="4945"/>
                  </a:lnTo>
                  <a:lnTo>
                    <a:pt x="0" y="6196"/>
                  </a:lnTo>
                  <a:lnTo>
                    <a:pt x="466" y="11546"/>
                  </a:lnTo>
                  <a:lnTo>
                    <a:pt x="2745" y="15894"/>
                  </a:lnTo>
                  <a:lnTo>
                    <a:pt x="6376" y="19302"/>
                  </a:lnTo>
                  <a:lnTo>
                    <a:pt x="11778" y="21600"/>
                  </a:lnTo>
                  <a:close/>
                  <a:moveTo>
                    <a:pt x="11778" y="21600"/>
                  </a:moveTo>
                </a:path>
              </a:pathLst>
            </a:custGeom>
            <a:solidFill>
              <a:srgbClr val="002060">
                <a:lumMod val="25000"/>
                <a:lumOff val="75000"/>
              </a:srgbClr>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72" name="Freeform 44">
              <a:extLst>
                <a:ext uri="{FF2B5EF4-FFF2-40B4-BE49-F238E27FC236}">
                  <a16:creationId xmlns:a16="http://schemas.microsoft.com/office/drawing/2014/main" id="{4A673D7D-F799-4C4D-B022-C6522EA32F95}"/>
                </a:ext>
              </a:extLst>
            </p:cNvPr>
            <p:cNvSpPr>
              <a:spLocks/>
            </p:cNvSpPr>
            <p:nvPr/>
          </p:nvSpPr>
          <p:spPr bwMode="auto">
            <a:xfrm>
              <a:off x="1025009" y="2269000"/>
              <a:ext cx="273481" cy="160807"/>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182810416 h 21600"/>
                <a:gd name="T10" fmla="*/ 2147483646 w 21600"/>
                <a:gd name="T11" fmla="*/ 0 h 21600"/>
                <a:gd name="T12" fmla="*/ 2147483646 w 21600"/>
                <a:gd name="T13" fmla="*/ 721990442 h 21600"/>
                <a:gd name="T14" fmla="*/ 2147483646 w 21600"/>
                <a:gd name="T15" fmla="*/ 2147483646 h 21600"/>
                <a:gd name="T16" fmla="*/ 0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600" h="21600">
                  <a:moveTo>
                    <a:pt x="10720" y="21600"/>
                  </a:moveTo>
                  <a:lnTo>
                    <a:pt x="14228" y="14308"/>
                  </a:lnTo>
                  <a:lnTo>
                    <a:pt x="19413" y="13248"/>
                  </a:lnTo>
                  <a:lnTo>
                    <a:pt x="18945" y="6950"/>
                  </a:lnTo>
                  <a:lnTo>
                    <a:pt x="21600" y="115"/>
                  </a:lnTo>
                  <a:lnTo>
                    <a:pt x="16375" y="0"/>
                  </a:lnTo>
                  <a:lnTo>
                    <a:pt x="10213" y="454"/>
                  </a:lnTo>
                  <a:lnTo>
                    <a:pt x="5847" y="3503"/>
                  </a:lnTo>
                  <a:lnTo>
                    <a:pt x="0" y="4630"/>
                  </a:lnTo>
                  <a:lnTo>
                    <a:pt x="2729" y="9734"/>
                  </a:lnTo>
                  <a:lnTo>
                    <a:pt x="9005" y="9801"/>
                  </a:lnTo>
                  <a:lnTo>
                    <a:pt x="6120" y="16562"/>
                  </a:lnTo>
                  <a:lnTo>
                    <a:pt x="10720" y="21600"/>
                  </a:lnTo>
                  <a:close/>
                  <a:moveTo>
                    <a:pt x="10720" y="21600"/>
                  </a:moveTo>
                </a:path>
              </a:pathLst>
            </a:custGeom>
            <a:solidFill>
              <a:srgbClr val="E6E6E6"/>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373" name="Freeform 45">
              <a:extLst>
                <a:ext uri="{FF2B5EF4-FFF2-40B4-BE49-F238E27FC236}">
                  <a16:creationId xmlns:a16="http://schemas.microsoft.com/office/drawing/2014/main" id="{517410CB-2934-45FA-9C9A-968DD28496A4}"/>
                </a:ext>
              </a:extLst>
            </p:cNvPr>
            <p:cNvSpPr>
              <a:spLocks/>
            </p:cNvSpPr>
            <p:nvPr/>
          </p:nvSpPr>
          <p:spPr bwMode="auto">
            <a:xfrm>
              <a:off x="1025009" y="2157419"/>
              <a:ext cx="255979" cy="71106"/>
            </a:xfrm>
            <a:custGeom>
              <a:avLst/>
              <a:gdLst>
                <a:gd name="T0" fmla="*/ 0 w 21600"/>
                <a:gd name="T1" fmla="*/ 492952 h 21600"/>
                <a:gd name="T2" fmla="*/ 1487723 w 21600"/>
                <a:gd name="T3" fmla="*/ 435143 h 21600"/>
                <a:gd name="T4" fmla="*/ 3183352 w 21600"/>
                <a:gd name="T5" fmla="*/ 322539 h 21600"/>
                <a:gd name="T6" fmla="*/ 4769567 w 21600"/>
                <a:gd name="T7" fmla="*/ 359056 h 21600"/>
                <a:gd name="T8" fmla="*/ 6388596 w 21600"/>
                <a:gd name="T9" fmla="*/ 404698 h 21600"/>
                <a:gd name="T10" fmla="*/ 5666628 w 21600"/>
                <a:gd name="T11" fmla="*/ 143025 h 21600"/>
                <a:gd name="T12" fmla="*/ 4222690 w 21600"/>
                <a:gd name="T13" fmla="*/ 0 h 21600"/>
                <a:gd name="T14" fmla="*/ 2614599 w 21600"/>
                <a:gd name="T15" fmla="*/ 36517 h 21600"/>
                <a:gd name="T16" fmla="*/ 711031 w 21600"/>
                <a:gd name="T17" fmla="*/ 139968 h 21600"/>
                <a:gd name="T18" fmla="*/ 0 w 21600"/>
                <a:gd name="T19" fmla="*/ 492952 h 21600"/>
                <a:gd name="T20" fmla="*/ 0 w 21600"/>
                <a:gd name="T21" fmla="*/ 492952 h 2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600" h="21600">
                  <a:moveTo>
                    <a:pt x="0" y="21600"/>
                  </a:moveTo>
                  <a:lnTo>
                    <a:pt x="5030" y="19067"/>
                  </a:lnTo>
                  <a:lnTo>
                    <a:pt x="10763" y="14133"/>
                  </a:lnTo>
                  <a:lnTo>
                    <a:pt x="16126" y="15733"/>
                  </a:lnTo>
                  <a:lnTo>
                    <a:pt x="21600" y="17733"/>
                  </a:lnTo>
                  <a:lnTo>
                    <a:pt x="19159" y="6267"/>
                  </a:lnTo>
                  <a:lnTo>
                    <a:pt x="14277" y="0"/>
                  </a:lnTo>
                  <a:lnTo>
                    <a:pt x="8840" y="1600"/>
                  </a:lnTo>
                  <a:lnTo>
                    <a:pt x="2404" y="6133"/>
                  </a:lnTo>
                  <a:lnTo>
                    <a:pt x="0" y="21600"/>
                  </a:lnTo>
                  <a:close/>
                  <a:moveTo>
                    <a:pt x="0" y="21600"/>
                  </a:moveTo>
                </a:path>
              </a:pathLst>
            </a:custGeom>
            <a:solidFill>
              <a:srgbClr val="002060">
                <a:lumMod val="25000"/>
                <a:lumOff val="75000"/>
              </a:srgbClr>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74" name="Freeform 46">
              <a:extLst>
                <a:ext uri="{FF2B5EF4-FFF2-40B4-BE49-F238E27FC236}">
                  <a16:creationId xmlns:a16="http://schemas.microsoft.com/office/drawing/2014/main" id="{70BBE01F-D48F-47E1-9DDC-9C1A54FADFDC}"/>
                </a:ext>
              </a:extLst>
            </p:cNvPr>
            <p:cNvSpPr>
              <a:spLocks/>
            </p:cNvSpPr>
            <p:nvPr/>
          </p:nvSpPr>
          <p:spPr bwMode="auto">
            <a:xfrm>
              <a:off x="4759671" y="6327290"/>
              <a:ext cx="203470" cy="180497"/>
            </a:xfrm>
            <a:custGeom>
              <a:avLst/>
              <a:gdLst>
                <a:gd name="T0" fmla="*/ 148484748 w 21600"/>
                <a:gd name="T1" fmla="*/ 467117527 h 21600"/>
                <a:gd name="T2" fmla="*/ 0 w 21600"/>
                <a:gd name="T3" fmla="*/ 257671950 h 21600"/>
                <a:gd name="T4" fmla="*/ 186095674 w 21600"/>
                <a:gd name="T5" fmla="*/ 117124863 h 21600"/>
                <a:gd name="T6" fmla="*/ 316772578 w 21600"/>
                <a:gd name="T7" fmla="*/ 27550570 h 21600"/>
                <a:gd name="T8" fmla="*/ 512751955 w 21600"/>
                <a:gd name="T9" fmla="*/ 0 h 21600"/>
                <a:gd name="T10" fmla="*/ 659282392 w 21600"/>
                <a:gd name="T11" fmla="*/ 74414313 h 21600"/>
                <a:gd name="T12" fmla="*/ 754302297 w 21600"/>
                <a:gd name="T13" fmla="*/ 210829393 h 21600"/>
                <a:gd name="T14" fmla="*/ 629562348 w 21600"/>
                <a:gd name="T15" fmla="*/ 301766303 h 21600"/>
                <a:gd name="T16" fmla="*/ 413782500 w 21600"/>
                <a:gd name="T17" fmla="*/ 366536460 h 21600"/>
                <a:gd name="T18" fmla="*/ 148484748 w 21600"/>
                <a:gd name="T19" fmla="*/ 467117527 h 21600"/>
                <a:gd name="T20" fmla="*/ 148484748 w 21600"/>
                <a:gd name="T21" fmla="*/ 467117527 h 2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600" h="21600">
                  <a:moveTo>
                    <a:pt x="4252" y="21600"/>
                  </a:moveTo>
                  <a:lnTo>
                    <a:pt x="0" y="11915"/>
                  </a:lnTo>
                  <a:lnTo>
                    <a:pt x="5329" y="5416"/>
                  </a:lnTo>
                  <a:lnTo>
                    <a:pt x="9071" y="1274"/>
                  </a:lnTo>
                  <a:lnTo>
                    <a:pt x="14683" y="0"/>
                  </a:lnTo>
                  <a:lnTo>
                    <a:pt x="18879" y="3441"/>
                  </a:lnTo>
                  <a:lnTo>
                    <a:pt x="21600" y="9749"/>
                  </a:lnTo>
                  <a:lnTo>
                    <a:pt x="18028" y="13954"/>
                  </a:lnTo>
                  <a:lnTo>
                    <a:pt x="11849" y="16949"/>
                  </a:lnTo>
                  <a:lnTo>
                    <a:pt x="4252" y="21600"/>
                  </a:lnTo>
                  <a:close/>
                  <a:moveTo>
                    <a:pt x="4252" y="21600"/>
                  </a:moveTo>
                </a:path>
              </a:pathLst>
            </a:custGeom>
            <a:solidFill>
              <a:srgbClr val="6F0710"/>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75" name="Freeform 47">
              <a:extLst>
                <a:ext uri="{FF2B5EF4-FFF2-40B4-BE49-F238E27FC236}">
                  <a16:creationId xmlns:a16="http://schemas.microsoft.com/office/drawing/2014/main" id="{8261F8EA-2E49-43D6-A54F-8AD42067B7D0}"/>
                </a:ext>
              </a:extLst>
            </p:cNvPr>
            <p:cNvSpPr>
              <a:spLocks/>
            </p:cNvSpPr>
            <p:nvPr/>
          </p:nvSpPr>
          <p:spPr bwMode="auto">
            <a:xfrm>
              <a:off x="5200522" y="5845042"/>
              <a:ext cx="143305" cy="144398"/>
            </a:xfrm>
            <a:custGeom>
              <a:avLst/>
              <a:gdLst>
                <a:gd name="T0" fmla="*/ 0 w 21600"/>
                <a:gd name="T1" fmla="*/ 1495139 h 21600"/>
                <a:gd name="T2" fmla="*/ 234892 w 21600"/>
                <a:gd name="T3" fmla="*/ 645356 h 21600"/>
                <a:gd name="T4" fmla="*/ 918166 w 21600"/>
                <a:gd name="T5" fmla="*/ 0 h 21600"/>
                <a:gd name="T6" fmla="*/ 2002250 w 21600"/>
                <a:gd name="T7" fmla="*/ 116514 h 21600"/>
                <a:gd name="T8" fmla="*/ 1959791 w 21600"/>
                <a:gd name="T9" fmla="*/ 1166864 h 21600"/>
                <a:gd name="T10" fmla="*/ 1601431 w 21600"/>
                <a:gd name="T11" fmla="*/ 2032926 h 21600"/>
                <a:gd name="T12" fmla="*/ 779399 w 21600"/>
                <a:gd name="T13" fmla="*/ 1914618 h 21600"/>
                <a:gd name="T14" fmla="*/ 0 w 21600"/>
                <a:gd name="T15" fmla="*/ 1495139 h 21600"/>
                <a:gd name="T16" fmla="*/ 0 w 21600"/>
                <a:gd name="T17" fmla="*/ 1495139 h 216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1600" h="21600">
                  <a:moveTo>
                    <a:pt x="0" y="15886"/>
                  </a:moveTo>
                  <a:lnTo>
                    <a:pt x="2534" y="6857"/>
                  </a:lnTo>
                  <a:lnTo>
                    <a:pt x="9905" y="0"/>
                  </a:lnTo>
                  <a:lnTo>
                    <a:pt x="21600" y="1238"/>
                  </a:lnTo>
                  <a:lnTo>
                    <a:pt x="21142" y="12398"/>
                  </a:lnTo>
                  <a:lnTo>
                    <a:pt x="17276" y="21600"/>
                  </a:lnTo>
                  <a:lnTo>
                    <a:pt x="8408" y="20343"/>
                  </a:lnTo>
                  <a:lnTo>
                    <a:pt x="0" y="15886"/>
                  </a:lnTo>
                  <a:close/>
                  <a:moveTo>
                    <a:pt x="0" y="15886"/>
                  </a:moveTo>
                </a:path>
              </a:pathLst>
            </a:custGeom>
            <a:solidFill>
              <a:srgbClr val="002060">
                <a:lumMod val="25000"/>
                <a:lumOff val="75000"/>
              </a:srgbClr>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76" name="Freeform 48">
              <a:extLst>
                <a:ext uri="{FF2B5EF4-FFF2-40B4-BE49-F238E27FC236}">
                  <a16:creationId xmlns:a16="http://schemas.microsoft.com/office/drawing/2014/main" id="{C2CB5570-8448-4560-B96B-372ADBCCD8BC}"/>
                </a:ext>
              </a:extLst>
            </p:cNvPr>
            <p:cNvSpPr>
              <a:spLocks/>
            </p:cNvSpPr>
            <p:nvPr/>
          </p:nvSpPr>
          <p:spPr bwMode="auto">
            <a:xfrm>
              <a:off x="6059254" y="4011623"/>
              <a:ext cx="33911" cy="96265"/>
            </a:xfrm>
            <a:custGeom>
              <a:avLst/>
              <a:gdLst>
                <a:gd name="T0" fmla="*/ 3021036 w 21600"/>
                <a:gd name="T1" fmla="*/ 1580919868 h 21600"/>
                <a:gd name="T2" fmla="*/ 2879369 w 21600"/>
                <a:gd name="T3" fmla="*/ 733661216 h 21600"/>
                <a:gd name="T4" fmla="*/ 1180190 w 21600"/>
                <a:gd name="T5" fmla="*/ 0 h 21600"/>
                <a:gd name="T6" fmla="*/ 0 w 21600"/>
                <a:gd name="T7" fmla="*/ 1091785063 h 21600"/>
                <a:gd name="T8" fmla="*/ 3021036 w 21600"/>
                <a:gd name="T9" fmla="*/ 1580919868 h 21600"/>
                <a:gd name="T10" fmla="*/ 3021036 w 21600"/>
                <a:gd name="T11" fmla="*/ 1580919868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21600" y="21600"/>
                  </a:moveTo>
                  <a:lnTo>
                    <a:pt x="20587" y="10024"/>
                  </a:lnTo>
                  <a:lnTo>
                    <a:pt x="8438" y="0"/>
                  </a:lnTo>
                  <a:lnTo>
                    <a:pt x="0" y="14917"/>
                  </a:lnTo>
                  <a:lnTo>
                    <a:pt x="21600" y="21600"/>
                  </a:lnTo>
                  <a:close/>
                  <a:moveTo>
                    <a:pt x="21600" y="21600"/>
                  </a:moveTo>
                </a:path>
              </a:pathLst>
            </a:custGeom>
            <a:solidFill>
              <a:srgbClr val="E6E6E6"/>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377" name="Freeform 49">
              <a:extLst>
                <a:ext uri="{FF2B5EF4-FFF2-40B4-BE49-F238E27FC236}">
                  <a16:creationId xmlns:a16="http://schemas.microsoft.com/office/drawing/2014/main" id="{ABB61DEC-3A4A-4AAE-A957-6EA4AAD816FD}"/>
                </a:ext>
              </a:extLst>
            </p:cNvPr>
            <p:cNvSpPr>
              <a:spLocks/>
            </p:cNvSpPr>
            <p:nvPr/>
          </p:nvSpPr>
          <p:spPr bwMode="auto">
            <a:xfrm>
              <a:off x="6094260" y="3932860"/>
              <a:ext cx="47038" cy="78763"/>
            </a:xfrm>
            <a:custGeom>
              <a:avLst/>
              <a:gdLst>
                <a:gd name="T0" fmla="*/ 5105476 w 21600"/>
                <a:gd name="T1" fmla="*/ 474251798 h 21600"/>
                <a:gd name="T2" fmla="*/ 21518167 w 21600"/>
                <a:gd name="T3" fmla="*/ 0 h 21600"/>
                <a:gd name="T4" fmla="*/ 0 w 21600"/>
                <a:gd name="T5" fmla="*/ 148511911 h 21600"/>
                <a:gd name="T6" fmla="*/ 5105476 w 21600"/>
                <a:gd name="T7" fmla="*/ 474251798 h 21600"/>
                <a:gd name="T8" fmla="*/ 5105476 w 21600"/>
                <a:gd name="T9" fmla="*/ 474251798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5125" y="21600"/>
                  </a:moveTo>
                  <a:lnTo>
                    <a:pt x="21600" y="0"/>
                  </a:lnTo>
                  <a:lnTo>
                    <a:pt x="0" y="6764"/>
                  </a:lnTo>
                  <a:lnTo>
                    <a:pt x="5125" y="21600"/>
                  </a:lnTo>
                  <a:close/>
                  <a:moveTo>
                    <a:pt x="5125" y="21600"/>
                  </a:moveTo>
                </a:path>
              </a:pathLst>
            </a:custGeom>
            <a:solidFill>
              <a:srgbClr val="E6E6E6"/>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378" name="Freeform 50">
              <a:extLst>
                <a:ext uri="{FF2B5EF4-FFF2-40B4-BE49-F238E27FC236}">
                  <a16:creationId xmlns:a16="http://schemas.microsoft.com/office/drawing/2014/main" id="{56547F02-A735-4384-B2AE-D4D083E0D52B}"/>
                </a:ext>
              </a:extLst>
            </p:cNvPr>
            <p:cNvSpPr>
              <a:spLocks/>
            </p:cNvSpPr>
            <p:nvPr/>
          </p:nvSpPr>
          <p:spPr bwMode="auto">
            <a:xfrm>
              <a:off x="6395089" y="4534520"/>
              <a:ext cx="30630" cy="88608"/>
            </a:xfrm>
            <a:custGeom>
              <a:avLst/>
              <a:gdLst>
                <a:gd name="T0" fmla="*/ 1054613 w 21600"/>
                <a:gd name="T1" fmla="*/ 961421716 h 21600"/>
                <a:gd name="T2" fmla="*/ 1640442 w 21600"/>
                <a:gd name="T3" fmla="*/ 0 h 21600"/>
                <a:gd name="T4" fmla="*/ 0 w 21600"/>
                <a:gd name="T5" fmla="*/ 532835459 h 21600"/>
                <a:gd name="T6" fmla="*/ 1054613 w 21600"/>
                <a:gd name="T7" fmla="*/ 961421716 h 21600"/>
                <a:gd name="T8" fmla="*/ 1054613 w 21600"/>
                <a:gd name="T9" fmla="*/ 961421716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13886" y="21600"/>
                  </a:moveTo>
                  <a:lnTo>
                    <a:pt x="21600" y="0"/>
                  </a:lnTo>
                  <a:lnTo>
                    <a:pt x="0" y="11971"/>
                  </a:lnTo>
                  <a:lnTo>
                    <a:pt x="13886" y="21600"/>
                  </a:lnTo>
                  <a:close/>
                  <a:moveTo>
                    <a:pt x="13886" y="21600"/>
                  </a:moveTo>
                </a:path>
              </a:pathLst>
            </a:custGeom>
            <a:solidFill>
              <a:srgbClr val="FFC000"/>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379" name="Freeform 51">
              <a:extLst>
                <a:ext uri="{FF2B5EF4-FFF2-40B4-BE49-F238E27FC236}">
                  <a16:creationId xmlns:a16="http://schemas.microsoft.com/office/drawing/2014/main" id="{778DDF25-8BE1-4692-AAA1-6F05A813BF26}"/>
                </a:ext>
              </a:extLst>
            </p:cNvPr>
            <p:cNvSpPr>
              <a:spLocks/>
            </p:cNvSpPr>
            <p:nvPr/>
          </p:nvSpPr>
          <p:spPr bwMode="auto">
            <a:xfrm>
              <a:off x="3571668" y="3897855"/>
              <a:ext cx="123613" cy="130177"/>
            </a:xfrm>
            <a:custGeom>
              <a:avLst/>
              <a:gdLst>
                <a:gd name="T0" fmla="*/ 1005323532 w 21600"/>
                <a:gd name="T1" fmla="*/ 2147483646 h 21600"/>
                <a:gd name="T2" fmla="*/ 2147483646 w 21600"/>
                <a:gd name="T3" fmla="*/ 2147483646 h 21600"/>
                <a:gd name="T4" fmla="*/ 2147483646 w 21600"/>
                <a:gd name="T5" fmla="*/ 2147483646 h 21600"/>
                <a:gd name="T6" fmla="*/ 2147483646 w 21600"/>
                <a:gd name="T7" fmla="*/ 1487201280 h 21600"/>
                <a:gd name="T8" fmla="*/ 2147483646 w 21600"/>
                <a:gd name="T9" fmla="*/ 0 h 21600"/>
                <a:gd name="T10" fmla="*/ 0 w 21600"/>
                <a:gd name="T11" fmla="*/ 2147483646 h 21600"/>
                <a:gd name="T12" fmla="*/ 1005323532 w 21600"/>
                <a:gd name="T13" fmla="*/ 2147483646 h 21600"/>
                <a:gd name="T14" fmla="*/ 1005323532 w 21600"/>
                <a:gd name="T15" fmla="*/ 2147483646 h 216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21600">
                  <a:moveTo>
                    <a:pt x="3064" y="21600"/>
                  </a:moveTo>
                  <a:lnTo>
                    <a:pt x="7813" y="15484"/>
                  </a:lnTo>
                  <a:lnTo>
                    <a:pt x="8426" y="8056"/>
                  </a:lnTo>
                  <a:lnTo>
                    <a:pt x="21600" y="3323"/>
                  </a:lnTo>
                  <a:lnTo>
                    <a:pt x="11133" y="0"/>
                  </a:lnTo>
                  <a:lnTo>
                    <a:pt x="0" y="7765"/>
                  </a:lnTo>
                  <a:lnTo>
                    <a:pt x="3064" y="21600"/>
                  </a:lnTo>
                  <a:close/>
                  <a:moveTo>
                    <a:pt x="3064" y="21600"/>
                  </a:moveTo>
                </a:path>
              </a:pathLst>
            </a:custGeom>
            <a:solidFill>
              <a:srgbClr val="E6E6E6"/>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380" name="Freeform 52">
              <a:extLst>
                <a:ext uri="{FF2B5EF4-FFF2-40B4-BE49-F238E27FC236}">
                  <a16:creationId xmlns:a16="http://schemas.microsoft.com/office/drawing/2014/main" id="{F1767BC0-E7CE-4CB7-B45D-3DD57A0D6C03}"/>
                </a:ext>
              </a:extLst>
            </p:cNvPr>
            <p:cNvSpPr>
              <a:spLocks/>
            </p:cNvSpPr>
            <p:nvPr/>
          </p:nvSpPr>
          <p:spPr bwMode="auto">
            <a:xfrm>
              <a:off x="4627305" y="2347762"/>
              <a:ext cx="1128931" cy="812787"/>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0 w 21600"/>
                <a:gd name="T17" fmla="*/ 2147483646 h 21600"/>
                <a:gd name="T18" fmla="*/ 0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0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2147483646 w 21600"/>
                <a:gd name="T99" fmla="*/ 2147483646 h 21600"/>
                <a:gd name="T100" fmla="*/ 2147483646 w 21600"/>
                <a:gd name="T101" fmla="*/ 2147483646 h 21600"/>
                <a:gd name="T102" fmla="*/ 2147483646 w 21600"/>
                <a:gd name="T103" fmla="*/ 2147483646 h 216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1600" h="21600">
                  <a:moveTo>
                    <a:pt x="7939" y="19590"/>
                  </a:moveTo>
                  <a:lnTo>
                    <a:pt x="6971" y="18125"/>
                  </a:lnTo>
                  <a:lnTo>
                    <a:pt x="5989" y="16626"/>
                  </a:lnTo>
                  <a:lnTo>
                    <a:pt x="5105" y="15195"/>
                  </a:lnTo>
                  <a:lnTo>
                    <a:pt x="3873" y="12839"/>
                  </a:lnTo>
                  <a:lnTo>
                    <a:pt x="3336" y="12025"/>
                  </a:lnTo>
                  <a:lnTo>
                    <a:pt x="2083" y="10521"/>
                  </a:lnTo>
                  <a:lnTo>
                    <a:pt x="1031" y="9403"/>
                  </a:lnTo>
                  <a:lnTo>
                    <a:pt x="0" y="8926"/>
                  </a:lnTo>
                  <a:lnTo>
                    <a:pt x="0" y="6609"/>
                  </a:lnTo>
                  <a:lnTo>
                    <a:pt x="687" y="5724"/>
                  </a:lnTo>
                  <a:lnTo>
                    <a:pt x="1669" y="5656"/>
                  </a:lnTo>
                  <a:lnTo>
                    <a:pt x="2160" y="4633"/>
                  </a:lnTo>
                  <a:lnTo>
                    <a:pt x="3436" y="4633"/>
                  </a:lnTo>
                  <a:lnTo>
                    <a:pt x="4025" y="6064"/>
                  </a:lnTo>
                  <a:lnTo>
                    <a:pt x="5253" y="6814"/>
                  </a:lnTo>
                  <a:lnTo>
                    <a:pt x="6824" y="6609"/>
                  </a:lnTo>
                  <a:lnTo>
                    <a:pt x="8002" y="7018"/>
                  </a:lnTo>
                  <a:lnTo>
                    <a:pt x="9475" y="6269"/>
                  </a:lnTo>
                  <a:lnTo>
                    <a:pt x="10456" y="4770"/>
                  </a:lnTo>
                  <a:lnTo>
                    <a:pt x="11880" y="6064"/>
                  </a:lnTo>
                  <a:lnTo>
                    <a:pt x="13500" y="6064"/>
                  </a:lnTo>
                  <a:lnTo>
                    <a:pt x="14531" y="3611"/>
                  </a:lnTo>
                  <a:lnTo>
                    <a:pt x="15415" y="1908"/>
                  </a:lnTo>
                  <a:lnTo>
                    <a:pt x="14776" y="681"/>
                  </a:lnTo>
                  <a:lnTo>
                    <a:pt x="15905" y="0"/>
                  </a:lnTo>
                  <a:lnTo>
                    <a:pt x="16740" y="409"/>
                  </a:lnTo>
                  <a:lnTo>
                    <a:pt x="16691" y="2385"/>
                  </a:lnTo>
                  <a:lnTo>
                    <a:pt x="16936" y="3816"/>
                  </a:lnTo>
                  <a:lnTo>
                    <a:pt x="17575" y="4770"/>
                  </a:lnTo>
                  <a:lnTo>
                    <a:pt x="18115" y="6746"/>
                  </a:lnTo>
                  <a:lnTo>
                    <a:pt x="18311" y="9199"/>
                  </a:lnTo>
                  <a:lnTo>
                    <a:pt x="16936" y="9539"/>
                  </a:lnTo>
                  <a:lnTo>
                    <a:pt x="16445" y="11379"/>
                  </a:lnTo>
                  <a:lnTo>
                    <a:pt x="17907" y="11634"/>
                  </a:lnTo>
                  <a:lnTo>
                    <a:pt x="18753" y="13015"/>
                  </a:lnTo>
                  <a:lnTo>
                    <a:pt x="19636" y="14445"/>
                  </a:lnTo>
                  <a:lnTo>
                    <a:pt x="20716" y="17103"/>
                  </a:lnTo>
                  <a:lnTo>
                    <a:pt x="21551" y="17239"/>
                  </a:lnTo>
                  <a:lnTo>
                    <a:pt x="21600" y="18874"/>
                  </a:lnTo>
                  <a:lnTo>
                    <a:pt x="20373" y="18943"/>
                  </a:lnTo>
                  <a:lnTo>
                    <a:pt x="19195" y="19079"/>
                  </a:lnTo>
                  <a:lnTo>
                    <a:pt x="18262" y="20578"/>
                  </a:lnTo>
                  <a:lnTo>
                    <a:pt x="17133" y="21123"/>
                  </a:lnTo>
                  <a:lnTo>
                    <a:pt x="15365" y="21259"/>
                  </a:lnTo>
                  <a:lnTo>
                    <a:pt x="13991" y="21191"/>
                  </a:lnTo>
                  <a:lnTo>
                    <a:pt x="13009" y="21600"/>
                  </a:lnTo>
                  <a:lnTo>
                    <a:pt x="12171" y="20506"/>
                  </a:lnTo>
                  <a:lnTo>
                    <a:pt x="10898" y="19147"/>
                  </a:lnTo>
                  <a:lnTo>
                    <a:pt x="9564" y="18956"/>
                  </a:lnTo>
                  <a:lnTo>
                    <a:pt x="7939" y="19590"/>
                  </a:lnTo>
                  <a:close/>
                  <a:moveTo>
                    <a:pt x="7939" y="19590"/>
                  </a:moveTo>
                </a:path>
              </a:pathLst>
            </a:custGeom>
            <a:solidFill>
              <a:srgbClr val="E6E6E6"/>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381" name="Oval 53">
              <a:extLst>
                <a:ext uri="{FF2B5EF4-FFF2-40B4-BE49-F238E27FC236}">
                  <a16:creationId xmlns:a16="http://schemas.microsoft.com/office/drawing/2014/main" id="{076DF353-B1AF-4370-84EC-1B7C220AEDA0}"/>
                </a:ext>
              </a:extLst>
            </p:cNvPr>
            <p:cNvSpPr>
              <a:spLocks/>
            </p:cNvSpPr>
            <p:nvPr/>
          </p:nvSpPr>
          <p:spPr bwMode="auto">
            <a:xfrm rot="18196973">
              <a:off x="3220517" y="3141952"/>
              <a:ext cx="70011" cy="35006"/>
            </a:xfrm>
            <a:prstGeom prst="ellipse">
              <a:avLst/>
            </a:prstGeom>
            <a:solidFill>
              <a:srgbClr val="FFC000"/>
            </a:solidFill>
            <a:ln w="6350">
              <a:solidFill>
                <a:sysClr val="windowText" lastClr="000000"/>
              </a:solidFill>
              <a:miter lim="800000"/>
              <a:headEnd/>
              <a:tailEnd/>
            </a:ln>
          </p:spPr>
          <p:txBody>
            <a:bodyPr lIns="0" tIns="0" rIns="0" bIns="0"/>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altLang="en-US" sz="2836" b="0" i="0" u="none" strike="noStrike" kern="0" cap="none" spc="0" normalizeH="0" baseline="0" noProof="0">
                <a:ln>
                  <a:noFill/>
                </a:ln>
                <a:solidFill>
                  <a:srgbClr val="000000"/>
                </a:solidFill>
                <a:effectLst/>
                <a:uLnTx/>
                <a:uFillTx/>
                <a:latin typeface="Gill Sans" charset="0"/>
                <a:ea typeface="Heiti SC Light" charset="-122"/>
                <a:sym typeface="Gill Sans" charset="0"/>
              </a:endParaRPr>
            </a:p>
          </p:txBody>
        </p:sp>
        <p:sp>
          <p:nvSpPr>
            <p:cNvPr id="382" name="Oval 54">
              <a:extLst>
                <a:ext uri="{FF2B5EF4-FFF2-40B4-BE49-F238E27FC236}">
                  <a16:creationId xmlns:a16="http://schemas.microsoft.com/office/drawing/2014/main" id="{01A41633-B614-4B3A-9E82-79574ED547B8}"/>
                </a:ext>
              </a:extLst>
            </p:cNvPr>
            <p:cNvSpPr>
              <a:spLocks/>
            </p:cNvSpPr>
            <p:nvPr/>
          </p:nvSpPr>
          <p:spPr bwMode="auto">
            <a:xfrm rot="17652526">
              <a:off x="3049864" y="3441688"/>
              <a:ext cx="43757" cy="26254"/>
            </a:xfrm>
            <a:prstGeom prst="ellipse">
              <a:avLst/>
            </a:prstGeom>
            <a:solidFill>
              <a:srgbClr val="FFC000"/>
            </a:solidFill>
            <a:ln w="6350">
              <a:solidFill>
                <a:sysClr val="windowText" lastClr="000000"/>
              </a:solidFill>
              <a:miter lim="800000"/>
              <a:headEnd/>
              <a:tailEnd/>
            </a:ln>
          </p:spPr>
          <p:txBody>
            <a:bodyPr lIns="0" tIns="0" rIns="0" bIns="0"/>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altLang="en-US" sz="2836" b="0" i="0" u="none" strike="noStrike" kern="0" cap="none" spc="0" normalizeH="0" baseline="0" noProof="0">
                <a:ln>
                  <a:noFill/>
                </a:ln>
                <a:solidFill>
                  <a:srgbClr val="000000"/>
                </a:solidFill>
                <a:effectLst/>
                <a:uLnTx/>
                <a:uFillTx/>
                <a:latin typeface="Gill Sans" charset="0"/>
                <a:ea typeface="Heiti SC Light" charset="-122"/>
                <a:sym typeface="Gill Sans" charset="0"/>
              </a:endParaRPr>
            </a:p>
          </p:txBody>
        </p:sp>
        <p:sp>
          <p:nvSpPr>
            <p:cNvPr id="383" name="Oval 55">
              <a:extLst>
                <a:ext uri="{FF2B5EF4-FFF2-40B4-BE49-F238E27FC236}">
                  <a16:creationId xmlns:a16="http://schemas.microsoft.com/office/drawing/2014/main" id="{DE5FBD9A-5373-4B2B-9117-7AD30DBE53B0}"/>
                </a:ext>
              </a:extLst>
            </p:cNvPr>
            <p:cNvSpPr>
              <a:spLocks/>
            </p:cNvSpPr>
            <p:nvPr/>
          </p:nvSpPr>
          <p:spPr bwMode="auto">
            <a:xfrm rot="16412833">
              <a:off x="3131909" y="3337765"/>
              <a:ext cx="35006" cy="17503"/>
            </a:xfrm>
            <a:prstGeom prst="ellipse">
              <a:avLst/>
            </a:prstGeom>
            <a:solidFill>
              <a:srgbClr val="E6E6E6"/>
            </a:solidFill>
            <a:ln w="6350">
              <a:solidFill>
                <a:sysClr val="windowText" lastClr="000000"/>
              </a:solidFill>
              <a:miter lim="800000"/>
              <a:headEnd/>
              <a:tailEnd/>
            </a:ln>
          </p:spPr>
          <p:txBody>
            <a:bodyPr lIns="0" tIns="0" rIns="0" bIns="0"/>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altLang="en-US" sz="2836" b="0" i="0" u="none" strike="noStrike" kern="0" cap="none" spc="0" normalizeH="0" baseline="0" noProof="0">
                <a:ln>
                  <a:noFill/>
                </a:ln>
                <a:solidFill>
                  <a:srgbClr val="000000"/>
                </a:solidFill>
                <a:effectLst/>
                <a:uLnTx/>
                <a:uFillTx/>
                <a:latin typeface="Gill Sans" charset="0"/>
                <a:ea typeface="Heiti SC Light" charset="-122"/>
                <a:sym typeface="Gill Sans" charset="0"/>
              </a:endParaRPr>
            </a:p>
          </p:txBody>
        </p:sp>
        <p:sp>
          <p:nvSpPr>
            <p:cNvPr id="384" name="Oval 56">
              <a:extLst>
                <a:ext uri="{FF2B5EF4-FFF2-40B4-BE49-F238E27FC236}">
                  <a16:creationId xmlns:a16="http://schemas.microsoft.com/office/drawing/2014/main" id="{11C7C169-7C06-4C44-8031-0DFD780C3BFC}"/>
                </a:ext>
              </a:extLst>
            </p:cNvPr>
            <p:cNvSpPr>
              <a:spLocks/>
            </p:cNvSpPr>
            <p:nvPr/>
          </p:nvSpPr>
          <p:spPr bwMode="auto">
            <a:xfrm rot="17652526">
              <a:off x="6474945" y="4624221"/>
              <a:ext cx="43757" cy="26254"/>
            </a:xfrm>
            <a:prstGeom prst="ellipse">
              <a:avLst/>
            </a:prstGeom>
            <a:solidFill>
              <a:srgbClr val="FFC000"/>
            </a:solidFill>
            <a:ln w="6350">
              <a:solidFill>
                <a:sysClr val="windowText" lastClr="000000"/>
              </a:solidFill>
              <a:miter lim="800000"/>
              <a:headEnd/>
              <a:tailEnd/>
            </a:ln>
          </p:spPr>
          <p:txBody>
            <a:bodyPr lIns="0" tIns="0" rIns="0" bIns="0"/>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altLang="en-US" sz="2836" b="0" i="0" u="none" strike="noStrike" kern="0" cap="none" spc="0" normalizeH="0" baseline="0" noProof="0">
                <a:ln>
                  <a:noFill/>
                </a:ln>
                <a:solidFill>
                  <a:srgbClr val="000000"/>
                </a:solidFill>
                <a:effectLst/>
                <a:uLnTx/>
                <a:uFillTx/>
                <a:latin typeface="Gill Sans" charset="0"/>
                <a:ea typeface="Heiti SC Light" charset="-122"/>
                <a:sym typeface="Gill Sans" charset="0"/>
              </a:endParaRPr>
            </a:p>
          </p:txBody>
        </p:sp>
        <p:sp>
          <p:nvSpPr>
            <p:cNvPr id="385" name="Oval 57">
              <a:extLst>
                <a:ext uri="{FF2B5EF4-FFF2-40B4-BE49-F238E27FC236}">
                  <a16:creationId xmlns:a16="http://schemas.microsoft.com/office/drawing/2014/main" id="{A4484746-DAB7-4038-9C76-587352733FE8}"/>
                </a:ext>
              </a:extLst>
            </p:cNvPr>
            <p:cNvSpPr>
              <a:spLocks/>
            </p:cNvSpPr>
            <p:nvPr/>
          </p:nvSpPr>
          <p:spPr bwMode="auto">
            <a:xfrm rot="15817739">
              <a:off x="6544957" y="4667978"/>
              <a:ext cx="43757" cy="26254"/>
            </a:xfrm>
            <a:prstGeom prst="ellipse">
              <a:avLst/>
            </a:prstGeom>
            <a:solidFill>
              <a:srgbClr val="FFC000"/>
            </a:solidFill>
            <a:ln w="6350">
              <a:solidFill>
                <a:sysClr val="windowText" lastClr="000000"/>
              </a:solidFill>
              <a:miter lim="800000"/>
              <a:headEnd/>
              <a:tailEnd/>
            </a:ln>
          </p:spPr>
          <p:txBody>
            <a:bodyPr lIns="0" tIns="0" rIns="0" bIns="0"/>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altLang="en-US" sz="2836" b="0" i="0" u="none" strike="noStrike" kern="0" cap="none" spc="0" normalizeH="0" baseline="0" noProof="0">
                <a:ln>
                  <a:noFill/>
                </a:ln>
                <a:solidFill>
                  <a:srgbClr val="000000"/>
                </a:solidFill>
                <a:effectLst/>
                <a:uLnTx/>
                <a:uFillTx/>
                <a:latin typeface="Gill Sans" charset="0"/>
                <a:ea typeface="Heiti SC Light" charset="-122"/>
                <a:sym typeface="Gill Sans" charset="0"/>
              </a:endParaRPr>
            </a:p>
          </p:txBody>
        </p:sp>
        <p:sp>
          <p:nvSpPr>
            <p:cNvPr id="386" name="Oval 58">
              <a:extLst>
                <a:ext uri="{FF2B5EF4-FFF2-40B4-BE49-F238E27FC236}">
                  <a16:creationId xmlns:a16="http://schemas.microsoft.com/office/drawing/2014/main" id="{31685DB4-AF0F-4F1E-851B-47E5A495EDBF}"/>
                </a:ext>
              </a:extLst>
            </p:cNvPr>
            <p:cNvSpPr>
              <a:spLocks/>
            </p:cNvSpPr>
            <p:nvPr/>
          </p:nvSpPr>
          <p:spPr bwMode="auto">
            <a:xfrm rot="10936610">
              <a:off x="6413686" y="4632973"/>
              <a:ext cx="43757" cy="26254"/>
            </a:xfrm>
            <a:prstGeom prst="ellipse">
              <a:avLst/>
            </a:prstGeom>
            <a:solidFill>
              <a:srgbClr val="FFC000"/>
            </a:solidFill>
            <a:ln w="6350">
              <a:solidFill>
                <a:sysClr val="windowText" lastClr="000000"/>
              </a:solidFill>
              <a:miter lim="800000"/>
              <a:headEnd/>
              <a:tailEnd/>
            </a:ln>
          </p:spPr>
          <p:txBody>
            <a:bodyPr lIns="0" tIns="0" rIns="0" bIns="0"/>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altLang="en-US" sz="2836" b="0" i="0" u="none" strike="noStrike" kern="0" cap="none" spc="0" normalizeH="0" baseline="0" noProof="0">
                <a:ln>
                  <a:noFill/>
                </a:ln>
                <a:solidFill>
                  <a:srgbClr val="000000"/>
                </a:solidFill>
                <a:effectLst/>
                <a:uLnTx/>
                <a:uFillTx/>
                <a:latin typeface="Gill Sans" charset="0"/>
                <a:ea typeface="Heiti SC Light" charset="-122"/>
                <a:sym typeface="Gill Sans" charset="0"/>
              </a:endParaRPr>
            </a:p>
          </p:txBody>
        </p:sp>
        <p:sp>
          <p:nvSpPr>
            <p:cNvPr id="387" name="Freeform 59">
              <a:extLst>
                <a:ext uri="{FF2B5EF4-FFF2-40B4-BE49-F238E27FC236}">
                  <a16:creationId xmlns:a16="http://schemas.microsoft.com/office/drawing/2014/main" id="{626F63CB-E032-4163-BD4B-547FBC148FC6}"/>
                </a:ext>
              </a:extLst>
            </p:cNvPr>
            <p:cNvSpPr>
              <a:spLocks/>
            </p:cNvSpPr>
            <p:nvPr/>
          </p:nvSpPr>
          <p:spPr bwMode="auto">
            <a:xfrm>
              <a:off x="5393053" y="3459191"/>
              <a:ext cx="263636" cy="277857"/>
            </a:xfrm>
            <a:custGeom>
              <a:avLst/>
              <a:gdLst>
                <a:gd name="T0" fmla="*/ 2147483646 w 21600"/>
                <a:gd name="T1" fmla="*/ 2147483646 h 21600"/>
                <a:gd name="T2" fmla="*/ 0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0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1600" h="21600">
                  <a:moveTo>
                    <a:pt x="796" y="21600"/>
                  </a:moveTo>
                  <a:lnTo>
                    <a:pt x="0" y="16306"/>
                  </a:lnTo>
                  <a:lnTo>
                    <a:pt x="674" y="11135"/>
                  </a:lnTo>
                  <a:lnTo>
                    <a:pt x="184" y="5055"/>
                  </a:lnTo>
                  <a:lnTo>
                    <a:pt x="2933" y="2050"/>
                  </a:lnTo>
                  <a:lnTo>
                    <a:pt x="8484" y="1228"/>
                  </a:lnTo>
                  <a:lnTo>
                    <a:pt x="13254" y="0"/>
                  </a:lnTo>
                  <a:lnTo>
                    <a:pt x="16906" y="1731"/>
                  </a:lnTo>
                  <a:lnTo>
                    <a:pt x="21600" y="3928"/>
                  </a:lnTo>
                  <a:lnTo>
                    <a:pt x="18798" y="6830"/>
                  </a:lnTo>
                  <a:lnTo>
                    <a:pt x="17021" y="12284"/>
                  </a:lnTo>
                  <a:lnTo>
                    <a:pt x="13668" y="15754"/>
                  </a:lnTo>
                  <a:lnTo>
                    <a:pt x="11333" y="21507"/>
                  </a:lnTo>
                  <a:lnTo>
                    <a:pt x="6808" y="19878"/>
                  </a:lnTo>
                  <a:lnTo>
                    <a:pt x="796" y="21600"/>
                  </a:lnTo>
                  <a:close/>
                  <a:moveTo>
                    <a:pt x="796" y="21600"/>
                  </a:moveTo>
                </a:path>
              </a:pathLst>
            </a:custGeom>
            <a:solidFill>
              <a:srgbClr val="C0EDFE"/>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388" name="Rectangle 60">
              <a:extLst>
                <a:ext uri="{FF2B5EF4-FFF2-40B4-BE49-F238E27FC236}">
                  <a16:creationId xmlns:a16="http://schemas.microsoft.com/office/drawing/2014/main" id="{152C78AB-0455-427F-9EF9-78B579471CEE}"/>
                </a:ext>
              </a:extLst>
            </p:cNvPr>
            <p:cNvSpPr>
              <a:spLocks/>
            </p:cNvSpPr>
            <p:nvPr/>
          </p:nvSpPr>
          <p:spPr bwMode="auto">
            <a:xfrm>
              <a:off x="2677931" y="731031"/>
              <a:ext cx="634399"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946"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Algeria</a:t>
              </a:r>
            </a:p>
          </p:txBody>
        </p:sp>
        <p:sp>
          <p:nvSpPr>
            <p:cNvPr id="389" name="Rectangle 61">
              <a:extLst>
                <a:ext uri="{FF2B5EF4-FFF2-40B4-BE49-F238E27FC236}">
                  <a16:creationId xmlns:a16="http://schemas.microsoft.com/office/drawing/2014/main" id="{D4D5838C-AE75-435C-94AC-8C4AC0C268DC}"/>
                </a:ext>
              </a:extLst>
            </p:cNvPr>
            <p:cNvSpPr>
              <a:spLocks/>
            </p:cNvSpPr>
            <p:nvPr/>
          </p:nvSpPr>
          <p:spPr bwMode="auto">
            <a:xfrm>
              <a:off x="3876873" y="4494136"/>
              <a:ext cx="634399"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946"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Angola</a:t>
              </a:r>
            </a:p>
          </p:txBody>
        </p:sp>
        <p:sp>
          <p:nvSpPr>
            <p:cNvPr id="390" name="Rectangle 62">
              <a:extLst>
                <a:ext uri="{FF2B5EF4-FFF2-40B4-BE49-F238E27FC236}">
                  <a16:creationId xmlns:a16="http://schemas.microsoft.com/office/drawing/2014/main" id="{D29E04AD-A086-4C16-861F-98D1909ABA76}"/>
                </a:ext>
              </a:extLst>
            </p:cNvPr>
            <p:cNvSpPr>
              <a:spLocks/>
            </p:cNvSpPr>
            <p:nvPr/>
          </p:nvSpPr>
          <p:spPr bwMode="auto">
            <a:xfrm rot="16734410">
              <a:off x="2522979" y="2476733"/>
              <a:ext cx="340535" cy="144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608"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Benin</a:t>
              </a:r>
            </a:p>
          </p:txBody>
        </p:sp>
        <p:sp>
          <p:nvSpPr>
            <p:cNvPr id="391" name="Rectangle 63">
              <a:extLst>
                <a:ext uri="{FF2B5EF4-FFF2-40B4-BE49-F238E27FC236}">
                  <a16:creationId xmlns:a16="http://schemas.microsoft.com/office/drawing/2014/main" id="{816B7330-F577-4F3B-A1BA-392EF472DC8C}"/>
                </a:ext>
              </a:extLst>
            </p:cNvPr>
            <p:cNvSpPr>
              <a:spLocks/>
            </p:cNvSpPr>
            <p:nvPr/>
          </p:nvSpPr>
          <p:spPr bwMode="auto">
            <a:xfrm>
              <a:off x="4375704" y="5420607"/>
              <a:ext cx="760783" cy="194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810"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Botswana</a:t>
              </a:r>
            </a:p>
          </p:txBody>
        </p:sp>
        <p:sp>
          <p:nvSpPr>
            <p:cNvPr id="392" name="Rectangle 64">
              <a:extLst>
                <a:ext uri="{FF2B5EF4-FFF2-40B4-BE49-F238E27FC236}">
                  <a16:creationId xmlns:a16="http://schemas.microsoft.com/office/drawing/2014/main" id="{DD69925F-72D0-4D27-9B5F-A6C795F8AAB9}"/>
                </a:ext>
              </a:extLst>
            </p:cNvPr>
            <p:cNvSpPr>
              <a:spLocks/>
            </p:cNvSpPr>
            <p:nvPr/>
          </p:nvSpPr>
          <p:spPr bwMode="auto">
            <a:xfrm>
              <a:off x="2087239" y="2245323"/>
              <a:ext cx="547665" cy="2638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algn="ctr" defTabSz="914400" eaLnBrk="1" fontAlgn="base" latinLnBrk="0" hangingPunct="1">
                <a:lnSpc>
                  <a:spcPct val="80000"/>
                </a:lnSpc>
                <a:spcBef>
                  <a:spcPct val="0"/>
                </a:spcBef>
                <a:spcAft>
                  <a:spcPct val="0"/>
                </a:spcAft>
                <a:buClrTx/>
                <a:buSzTx/>
                <a:buFontTx/>
                <a:buNone/>
                <a:tabLst/>
                <a:defRPr/>
              </a:pPr>
              <a:r>
                <a:rPr kumimoji="0" lang="en-US" altLang="en-US" sz="686" b="1" i="0" u="none" strike="noStrike" kern="0" cap="none" spc="0" normalizeH="0" baseline="0" noProof="0" dirty="0">
                  <a:ln>
                    <a:noFill/>
                  </a:ln>
                  <a:solidFill>
                    <a:srgbClr val="1C1C1C"/>
                  </a:solidFill>
                  <a:effectLst/>
                  <a:uLnTx/>
                  <a:uFillTx/>
                  <a:latin typeface="Helvetica" panose="020B0604020202020204" pitchFamily="34" charset="0"/>
                  <a:ea typeface="Heiti SC Light" charset="-122"/>
                  <a:sym typeface="Helvetica" panose="020B0604020202020204" pitchFamily="34" charset="0"/>
                </a:rPr>
                <a:t>Burkina </a:t>
              </a:r>
            </a:p>
            <a:p>
              <a:pPr marL="0" marR="0" lvl="0" indent="0" algn="ctr" defTabSz="914400" eaLnBrk="1" fontAlgn="base" latinLnBrk="0" hangingPunct="1">
                <a:lnSpc>
                  <a:spcPct val="80000"/>
                </a:lnSpc>
                <a:spcBef>
                  <a:spcPct val="0"/>
                </a:spcBef>
                <a:spcAft>
                  <a:spcPct val="0"/>
                </a:spcAft>
                <a:buClrTx/>
                <a:buSzTx/>
                <a:buFontTx/>
                <a:buNone/>
                <a:tabLst/>
                <a:defRPr/>
              </a:pPr>
              <a:r>
                <a:rPr kumimoji="0" lang="en-US" altLang="en-US" sz="686" b="1" i="0" u="none" strike="noStrike" kern="0" cap="none" spc="0" normalizeH="0" baseline="0" noProof="0" dirty="0">
                  <a:ln>
                    <a:noFill/>
                  </a:ln>
                  <a:solidFill>
                    <a:srgbClr val="1C1C1C"/>
                  </a:solidFill>
                  <a:effectLst/>
                  <a:uLnTx/>
                  <a:uFillTx/>
                  <a:latin typeface="Helvetica" panose="020B0604020202020204" pitchFamily="34" charset="0"/>
                  <a:ea typeface="Heiti SC Light" charset="-122"/>
                  <a:sym typeface="Helvetica" panose="020B0604020202020204" pitchFamily="34" charset="0"/>
                </a:rPr>
                <a:t>Faso</a:t>
              </a:r>
            </a:p>
          </p:txBody>
        </p:sp>
        <p:sp>
          <p:nvSpPr>
            <p:cNvPr id="393" name="Rectangle 65">
              <a:extLst>
                <a:ext uri="{FF2B5EF4-FFF2-40B4-BE49-F238E27FC236}">
                  <a16:creationId xmlns:a16="http://schemas.microsoft.com/office/drawing/2014/main" id="{766723CD-DF7F-41C2-BC90-F4B98B8F33A1}"/>
                </a:ext>
              </a:extLst>
            </p:cNvPr>
            <p:cNvSpPr>
              <a:spLocks/>
            </p:cNvSpPr>
            <p:nvPr/>
          </p:nvSpPr>
          <p:spPr bwMode="auto">
            <a:xfrm>
              <a:off x="3281777" y="2970214"/>
              <a:ext cx="797955" cy="194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810"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Cameroon</a:t>
              </a:r>
            </a:p>
          </p:txBody>
        </p:sp>
        <p:sp>
          <p:nvSpPr>
            <p:cNvPr id="394" name="Rectangle 66">
              <a:extLst>
                <a:ext uri="{FF2B5EF4-FFF2-40B4-BE49-F238E27FC236}">
                  <a16:creationId xmlns:a16="http://schemas.microsoft.com/office/drawing/2014/main" id="{443CCA69-5BBC-4DFF-96E1-1A43540F4D3F}"/>
                </a:ext>
              </a:extLst>
            </p:cNvPr>
            <p:cNvSpPr>
              <a:spLocks/>
            </p:cNvSpPr>
            <p:nvPr/>
          </p:nvSpPr>
          <p:spPr bwMode="auto">
            <a:xfrm>
              <a:off x="4078505" y="2742464"/>
              <a:ext cx="867342" cy="282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en-US" sz="588" b="1" i="0" u="none" strike="noStrike" kern="0" cap="none" spc="0" normalizeH="0" baseline="0" noProof="0" dirty="0">
                  <a:ln>
                    <a:noFill/>
                  </a:ln>
                  <a:solidFill>
                    <a:srgbClr val="1C1C1C"/>
                  </a:solidFill>
                  <a:effectLst/>
                  <a:uLnTx/>
                  <a:uFillTx/>
                  <a:latin typeface="Helvetica" panose="020B0604020202020204" pitchFamily="34" charset="0"/>
                  <a:ea typeface="Heiti SC Light" charset="-122"/>
                  <a:sym typeface="Helvetica" panose="020B0604020202020204" pitchFamily="34" charset="0"/>
                </a:rPr>
                <a:t>Central African </a:t>
              </a:r>
            </a:p>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en-US" sz="588" b="1" i="0" u="none" strike="noStrike" kern="0" cap="none" spc="0" normalizeH="0" baseline="0" noProof="0" dirty="0">
                  <a:ln>
                    <a:noFill/>
                  </a:ln>
                  <a:solidFill>
                    <a:srgbClr val="1C1C1C"/>
                  </a:solidFill>
                  <a:effectLst/>
                  <a:uLnTx/>
                  <a:uFillTx/>
                  <a:latin typeface="Helvetica" panose="020B0604020202020204" pitchFamily="34" charset="0"/>
                  <a:ea typeface="Heiti SC Light" charset="-122"/>
                  <a:sym typeface="Helvetica" panose="020B0604020202020204" pitchFamily="34" charset="0"/>
                </a:rPr>
                <a:t>Republic</a:t>
              </a:r>
            </a:p>
          </p:txBody>
        </p:sp>
        <p:sp>
          <p:nvSpPr>
            <p:cNvPr id="395" name="Rectangle 67">
              <a:extLst>
                <a:ext uri="{FF2B5EF4-FFF2-40B4-BE49-F238E27FC236}">
                  <a16:creationId xmlns:a16="http://schemas.microsoft.com/office/drawing/2014/main" id="{FEFDB11A-F24E-4BE8-BC20-1EDEDF26D78E}"/>
                </a:ext>
              </a:extLst>
            </p:cNvPr>
            <p:cNvSpPr>
              <a:spLocks/>
            </p:cNvSpPr>
            <p:nvPr/>
          </p:nvSpPr>
          <p:spPr bwMode="auto">
            <a:xfrm>
              <a:off x="3916651" y="2087499"/>
              <a:ext cx="468365"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946" b="1" i="0" u="none" strike="noStrike" kern="0" cap="none" spc="0" normalizeH="0" baseline="0" noProof="0" dirty="0">
                  <a:ln>
                    <a:noFill/>
                  </a:ln>
                  <a:solidFill>
                    <a:prstClr val="black"/>
                  </a:solidFill>
                  <a:effectLst/>
                  <a:uLnTx/>
                  <a:uFillTx/>
                  <a:latin typeface="Helvetica" panose="020B0604020202020204" pitchFamily="34" charset="0"/>
                  <a:ea typeface="Heiti SC Light" charset="-122"/>
                  <a:sym typeface="Helvetica" panose="020B0604020202020204" pitchFamily="34" charset="0"/>
                </a:rPr>
                <a:t>Chad</a:t>
              </a:r>
            </a:p>
          </p:txBody>
        </p:sp>
        <p:sp>
          <p:nvSpPr>
            <p:cNvPr id="396" name="Rectangle 68">
              <a:extLst>
                <a:ext uri="{FF2B5EF4-FFF2-40B4-BE49-F238E27FC236}">
                  <a16:creationId xmlns:a16="http://schemas.microsoft.com/office/drawing/2014/main" id="{D6B1E1A9-690C-4349-88F2-7EDCAB978A87}"/>
                </a:ext>
              </a:extLst>
            </p:cNvPr>
            <p:cNvSpPr>
              <a:spLocks/>
            </p:cNvSpPr>
            <p:nvPr/>
          </p:nvSpPr>
          <p:spPr bwMode="auto">
            <a:xfrm>
              <a:off x="6283508" y="4334743"/>
              <a:ext cx="644311" cy="178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743"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Comoros</a:t>
              </a:r>
            </a:p>
          </p:txBody>
        </p:sp>
        <p:sp>
          <p:nvSpPr>
            <p:cNvPr id="397" name="Rectangle 69">
              <a:extLst>
                <a:ext uri="{FF2B5EF4-FFF2-40B4-BE49-F238E27FC236}">
                  <a16:creationId xmlns:a16="http://schemas.microsoft.com/office/drawing/2014/main" id="{38EB1146-03DF-4ACF-ADBF-294C4A923F8E}"/>
                </a:ext>
              </a:extLst>
            </p:cNvPr>
            <p:cNvSpPr>
              <a:spLocks/>
            </p:cNvSpPr>
            <p:nvPr/>
          </p:nvSpPr>
          <p:spPr bwMode="auto">
            <a:xfrm>
              <a:off x="5137074" y="3717770"/>
              <a:ext cx="106560" cy="178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743"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B</a:t>
              </a:r>
            </a:p>
          </p:txBody>
        </p:sp>
        <p:sp>
          <p:nvSpPr>
            <p:cNvPr id="398" name="Rectangle 70">
              <a:extLst>
                <a:ext uri="{FF2B5EF4-FFF2-40B4-BE49-F238E27FC236}">
                  <a16:creationId xmlns:a16="http://schemas.microsoft.com/office/drawing/2014/main" id="{0E6A077C-D3D4-4982-A8A6-8306B00BCB2D}"/>
                </a:ext>
              </a:extLst>
            </p:cNvPr>
            <p:cNvSpPr>
              <a:spLocks/>
            </p:cNvSpPr>
            <p:nvPr/>
          </p:nvSpPr>
          <p:spPr bwMode="auto">
            <a:xfrm>
              <a:off x="4079976" y="3713438"/>
              <a:ext cx="916904"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946" b="1" i="0" u="none" strike="noStrike" kern="0" cap="none" spc="0" normalizeH="0" baseline="0" noProof="0" dirty="0">
                  <a:ln>
                    <a:noFill/>
                  </a:ln>
                  <a:solidFill>
                    <a:srgbClr val="1C1C1C"/>
                  </a:solidFill>
                  <a:effectLst/>
                  <a:uLnTx/>
                  <a:uFillTx/>
                  <a:latin typeface="Helvetica" panose="020B0604020202020204" pitchFamily="34" charset="0"/>
                  <a:ea typeface="Heiti SC Light" charset="-122"/>
                  <a:sym typeface="Helvetica" panose="020B0604020202020204" pitchFamily="34" charset="0"/>
                </a:rPr>
                <a:t>DR Congo</a:t>
              </a:r>
            </a:p>
          </p:txBody>
        </p:sp>
        <p:sp>
          <p:nvSpPr>
            <p:cNvPr id="399" name="Rectangle 71">
              <a:extLst>
                <a:ext uri="{FF2B5EF4-FFF2-40B4-BE49-F238E27FC236}">
                  <a16:creationId xmlns:a16="http://schemas.microsoft.com/office/drawing/2014/main" id="{09E7DA04-85B6-4298-979E-DF81314B4DBC}"/>
                </a:ext>
              </a:extLst>
            </p:cNvPr>
            <p:cNvSpPr>
              <a:spLocks/>
            </p:cNvSpPr>
            <p:nvPr/>
          </p:nvSpPr>
          <p:spPr bwMode="auto">
            <a:xfrm rot="17980179">
              <a:off x="3638142" y="3488243"/>
              <a:ext cx="468704" cy="1606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675" b="1" i="0" u="none" strike="noStrike" kern="0" cap="none" spc="0" normalizeH="0" baseline="0" noProof="0" dirty="0">
                  <a:ln>
                    <a:noFill/>
                  </a:ln>
                  <a:solidFill>
                    <a:sysClr val="windowText" lastClr="000000"/>
                  </a:solidFill>
                  <a:effectLst/>
                  <a:uLnTx/>
                  <a:uFillTx/>
                  <a:latin typeface="Helvetica" panose="020B0604020202020204" pitchFamily="34" charset="0"/>
                  <a:ea typeface="Heiti SC Light" charset="-122"/>
                  <a:sym typeface="Helvetica" panose="020B0604020202020204" pitchFamily="34" charset="0"/>
                </a:rPr>
                <a:t>Congo</a:t>
              </a:r>
              <a:r>
                <a:rPr kumimoji="0" lang="en-US" altLang="en-US" sz="675" b="1" i="0" u="none" strike="noStrike" kern="0" cap="none" spc="0" normalizeH="0" baseline="0" noProof="0" dirty="0">
                  <a:ln>
                    <a:noFill/>
                  </a:ln>
                  <a:solidFill>
                    <a:prstClr val="white"/>
                  </a:solidFill>
                  <a:effectLst/>
                  <a:uLnTx/>
                  <a:uFillTx/>
                  <a:latin typeface="Helvetica" panose="020B0604020202020204" pitchFamily="34" charset="0"/>
                  <a:ea typeface="Heiti SC Light" charset="-122"/>
                  <a:sym typeface="Helvetica" panose="020B0604020202020204" pitchFamily="34" charset="0"/>
                </a:rPr>
                <a:t> </a:t>
              </a:r>
            </a:p>
          </p:txBody>
        </p:sp>
        <p:sp>
          <p:nvSpPr>
            <p:cNvPr id="400" name="Rectangle 72">
              <a:extLst>
                <a:ext uri="{FF2B5EF4-FFF2-40B4-BE49-F238E27FC236}">
                  <a16:creationId xmlns:a16="http://schemas.microsoft.com/office/drawing/2014/main" id="{196334C7-0445-4265-BD47-E549072977B0}"/>
                </a:ext>
              </a:extLst>
            </p:cNvPr>
            <p:cNvSpPr>
              <a:spLocks/>
            </p:cNvSpPr>
            <p:nvPr/>
          </p:nvSpPr>
          <p:spPr bwMode="auto">
            <a:xfrm>
              <a:off x="6414781" y="2025650"/>
              <a:ext cx="651746" cy="211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878"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Djibouti</a:t>
              </a:r>
            </a:p>
          </p:txBody>
        </p:sp>
        <p:sp>
          <p:nvSpPr>
            <p:cNvPr id="401" name="Rectangle 73">
              <a:extLst>
                <a:ext uri="{FF2B5EF4-FFF2-40B4-BE49-F238E27FC236}">
                  <a16:creationId xmlns:a16="http://schemas.microsoft.com/office/drawing/2014/main" id="{3F143BBA-E9D8-446C-8B73-3D26A17BCA9F}"/>
                </a:ext>
              </a:extLst>
            </p:cNvPr>
            <p:cNvSpPr>
              <a:spLocks/>
            </p:cNvSpPr>
            <p:nvPr/>
          </p:nvSpPr>
          <p:spPr bwMode="auto">
            <a:xfrm>
              <a:off x="4865782" y="941065"/>
              <a:ext cx="517928"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946"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Egypt</a:t>
              </a:r>
            </a:p>
          </p:txBody>
        </p:sp>
        <p:sp>
          <p:nvSpPr>
            <p:cNvPr id="402" name="Rectangle 74">
              <a:extLst>
                <a:ext uri="{FF2B5EF4-FFF2-40B4-BE49-F238E27FC236}">
                  <a16:creationId xmlns:a16="http://schemas.microsoft.com/office/drawing/2014/main" id="{8A45F739-57C4-42F1-B250-B2A85971EB63}"/>
                </a:ext>
              </a:extLst>
            </p:cNvPr>
            <p:cNvSpPr>
              <a:spLocks/>
            </p:cNvSpPr>
            <p:nvPr/>
          </p:nvSpPr>
          <p:spPr bwMode="auto">
            <a:xfrm>
              <a:off x="3351788" y="3265208"/>
              <a:ext cx="156123" cy="129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540"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EG</a:t>
              </a:r>
            </a:p>
          </p:txBody>
        </p:sp>
        <p:sp>
          <p:nvSpPr>
            <p:cNvPr id="403" name="Rectangle 75">
              <a:extLst>
                <a:ext uri="{FF2B5EF4-FFF2-40B4-BE49-F238E27FC236}">
                  <a16:creationId xmlns:a16="http://schemas.microsoft.com/office/drawing/2014/main" id="{94F5B181-BECF-45DB-86A1-5F45ABB376B2}"/>
                </a:ext>
              </a:extLst>
            </p:cNvPr>
            <p:cNvSpPr>
              <a:spLocks/>
            </p:cNvSpPr>
            <p:nvPr/>
          </p:nvSpPr>
          <p:spPr bwMode="auto">
            <a:xfrm rot="1909263">
              <a:off x="5780179" y="2015742"/>
              <a:ext cx="596626" cy="168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743" b="1" i="0" u="none" strike="noStrike" kern="0" cap="none" spc="0" normalizeH="0" baseline="0" noProof="0" dirty="0">
                  <a:ln>
                    <a:noFill/>
                  </a:ln>
                  <a:solidFill>
                    <a:srgbClr val="1C1C1C"/>
                  </a:solidFill>
                  <a:effectLst/>
                  <a:uLnTx/>
                  <a:uFillTx/>
                  <a:latin typeface="Helvetica" panose="020B0604020202020204" pitchFamily="34" charset="0"/>
                  <a:ea typeface="Heiti SC Light" charset="-122"/>
                  <a:sym typeface="Helvetica" panose="020B0604020202020204" pitchFamily="34" charset="0"/>
                </a:rPr>
                <a:t>Eritrea</a:t>
              </a:r>
            </a:p>
          </p:txBody>
        </p:sp>
        <p:sp>
          <p:nvSpPr>
            <p:cNvPr id="404" name="Rectangle 76">
              <a:extLst>
                <a:ext uri="{FF2B5EF4-FFF2-40B4-BE49-F238E27FC236}">
                  <a16:creationId xmlns:a16="http://schemas.microsoft.com/office/drawing/2014/main" id="{CC94FF13-2B1B-4709-9D9A-E61EC2C932C4}"/>
                </a:ext>
              </a:extLst>
            </p:cNvPr>
            <p:cNvSpPr>
              <a:spLocks/>
            </p:cNvSpPr>
            <p:nvPr/>
          </p:nvSpPr>
          <p:spPr bwMode="auto">
            <a:xfrm>
              <a:off x="5819684" y="2586328"/>
              <a:ext cx="736002"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946" b="1" i="0" u="none" strike="noStrike" kern="0" cap="none" spc="0" normalizeH="0" baseline="0" noProof="0">
                  <a:ln>
                    <a:noFill/>
                  </a:ln>
                  <a:solidFill>
                    <a:prstClr val="black"/>
                  </a:solidFill>
                  <a:effectLst/>
                  <a:uLnTx/>
                  <a:uFillTx/>
                  <a:latin typeface="Helvetica" panose="020B0604020202020204" pitchFamily="34" charset="0"/>
                  <a:ea typeface="Heiti SC Light" charset="-122"/>
                  <a:sym typeface="Helvetica" panose="020B0604020202020204" pitchFamily="34" charset="0"/>
                </a:rPr>
                <a:t>Ethiopia</a:t>
              </a:r>
            </a:p>
          </p:txBody>
        </p:sp>
        <p:sp>
          <p:nvSpPr>
            <p:cNvPr id="405" name="Rectangle 77">
              <a:extLst>
                <a:ext uri="{FF2B5EF4-FFF2-40B4-BE49-F238E27FC236}">
                  <a16:creationId xmlns:a16="http://schemas.microsoft.com/office/drawing/2014/main" id="{0EB996A0-6C6E-4B58-8DAF-B6E456E72897}"/>
                </a:ext>
              </a:extLst>
            </p:cNvPr>
            <p:cNvSpPr>
              <a:spLocks/>
            </p:cNvSpPr>
            <p:nvPr/>
          </p:nvSpPr>
          <p:spPr bwMode="auto">
            <a:xfrm>
              <a:off x="3325533" y="3434038"/>
              <a:ext cx="510493" cy="194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810"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Gabon</a:t>
              </a:r>
            </a:p>
          </p:txBody>
        </p:sp>
        <p:sp>
          <p:nvSpPr>
            <p:cNvPr id="406" name="Rectangle 78">
              <a:extLst>
                <a:ext uri="{FF2B5EF4-FFF2-40B4-BE49-F238E27FC236}">
                  <a16:creationId xmlns:a16="http://schemas.microsoft.com/office/drawing/2014/main" id="{64695B01-AF0A-4761-87B1-E7703D9899BE}"/>
                </a:ext>
              </a:extLst>
            </p:cNvPr>
            <p:cNvSpPr>
              <a:spLocks/>
            </p:cNvSpPr>
            <p:nvPr/>
          </p:nvSpPr>
          <p:spPr bwMode="auto">
            <a:xfrm>
              <a:off x="323802" y="2121762"/>
              <a:ext cx="669093" cy="141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588" b="1" i="0" u="none" strike="noStrike" kern="0" cap="none" spc="0" normalizeH="0" baseline="0" noProof="0" dirty="0">
                  <a:ln>
                    <a:noFill/>
                  </a:ln>
                  <a:solidFill>
                    <a:srgbClr val="1C1C1C"/>
                  </a:solidFill>
                  <a:effectLst/>
                  <a:uLnTx/>
                  <a:uFillTx/>
                  <a:latin typeface="Helvetica" panose="020B0604020202020204" pitchFamily="34" charset="0"/>
                  <a:ea typeface="Heiti SC Light" charset="-122"/>
                  <a:sym typeface="Helvetica" panose="020B0604020202020204" pitchFamily="34" charset="0"/>
                </a:rPr>
                <a:t>The Gambia</a:t>
              </a:r>
            </a:p>
          </p:txBody>
        </p:sp>
        <p:sp>
          <p:nvSpPr>
            <p:cNvPr id="407" name="Rectangle 79">
              <a:extLst>
                <a:ext uri="{FF2B5EF4-FFF2-40B4-BE49-F238E27FC236}">
                  <a16:creationId xmlns:a16="http://schemas.microsoft.com/office/drawing/2014/main" id="{C158AF19-99C9-46DE-9AC9-947A709D2110}"/>
                </a:ext>
              </a:extLst>
            </p:cNvPr>
            <p:cNvSpPr>
              <a:spLocks/>
            </p:cNvSpPr>
            <p:nvPr/>
          </p:nvSpPr>
          <p:spPr bwMode="auto">
            <a:xfrm>
              <a:off x="2170348" y="2768242"/>
              <a:ext cx="498103" cy="178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743"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Ghana</a:t>
              </a:r>
              <a:r>
                <a:rPr kumimoji="0" lang="en-US" altLang="en-US" sz="743" b="0"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 </a:t>
              </a:r>
            </a:p>
          </p:txBody>
        </p:sp>
        <p:sp>
          <p:nvSpPr>
            <p:cNvPr id="408" name="Rectangle 80">
              <a:extLst>
                <a:ext uri="{FF2B5EF4-FFF2-40B4-BE49-F238E27FC236}">
                  <a16:creationId xmlns:a16="http://schemas.microsoft.com/office/drawing/2014/main" id="{4A08B823-AA7F-4B4B-AA76-FB4555D114BA}"/>
                </a:ext>
              </a:extLst>
            </p:cNvPr>
            <p:cNvSpPr>
              <a:spLocks/>
            </p:cNvSpPr>
            <p:nvPr/>
          </p:nvSpPr>
          <p:spPr bwMode="auto">
            <a:xfrm>
              <a:off x="1251451" y="2346283"/>
              <a:ext cx="465887" cy="164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686" b="1" i="0" u="none" strike="noStrike" kern="0" cap="none" spc="0" normalizeH="0" baseline="0" noProof="0" dirty="0">
                  <a:ln>
                    <a:noFill/>
                  </a:ln>
                  <a:solidFill>
                    <a:srgbClr val="1C1C1C"/>
                  </a:solidFill>
                  <a:effectLst/>
                  <a:uLnTx/>
                  <a:uFillTx/>
                  <a:latin typeface="Helvetica" panose="020B0604020202020204" pitchFamily="34" charset="0"/>
                  <a:ea typeface="Heiti SC Light" charset="-122"/>
                  <a:sym typeface="Helvetica" panose="020B0604020202020204" pitchFamily="34" charset="0"/>
                </a:rPr>
                <a:t>Guinea</a:t>
              </a:r>
            </a:p>
          </p:txBody>
        </p:sp>
        <p:sp>
          <p:nvSpPr>
            <p:cNvPr id="409" name="Rectangle 81">
              <a:extLst>
                <a:ext uri="{FF2B5EF4-FFF2-40B4-BE49-F238E27FC236}">
                  <a16:creationId xmlns:a16="http://schemas.microsoft.com/office/drawing/2014/main" id="{6A6E9BEE-25C8-4432-A9EF-7E85FE174834}"/>
                </a:ext>
              </a:extLst>
            </p:cNvPr>
            <p:cNvSpPr>
              <a:spLocks/>
            </p:cNvSpPr>
            <p:nvPr/>
          </p:nvSpPr>
          <p:spPr bwMode="auto">
            <a:xfrm>
              <a:off x="1759034" y="2588020"/>
              <a:ext cx="609618" cy="311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80000"/>
                </a:lnSpc>
                <a:spcBef>
                  <a:spcPct val="0"/>
                </a:spcBef>
                <a:spcAft>
                  <a:spcPct val="0"/>
                </a:spcAft>
                <a:buClrTx/>
                <a:buSzTx/>
                <a:buFontTx/>
                <a:buNone/>
                <a:tabLst/>
                <a:defRPr/>
              </a:pPr>
              <a:r>
                <a:rPr kumimoji="0" lang="en-US" altLang="en-US" sz="810" b="1" i="0" u="none" strike="noStrike" kern="0" cap="none" spc="0" normalizeH="0" baseline="0" noProof="0" dirty="0">
                  <a:ln>
                    <a:noFill/>
                  </a:ln>
                  <a:solidFill>
                    <a:srgbClr val="1C1C1C"/>
                  </a:solidFill>
                  <a:effectLst/>
                  <a:uLnTx/>
                  <a:uFillTx/>
                  <a:latin typeface="Helvetica" panose="020B0604020202020204" pitchFamily="34" charset="0"/>
                  <a:ea typeface="Heiti SC Light" charset="-122"/>
                  <a:sym typeface="Helvetica" panose="020B0604020202020204" pitchFamily="34" charset="0"/>
                </a:rPr>
                <a:t>Côte</a:t>
              </a:r>
            </a:p>
            <a:p>
              <a:pPr marL="0" marR="0" lvl="0" indent="0" defTabSz="914400" eaLnBrk="1" fontAlgn="base" latinLnBrk="0" hangingPunct="1">
                <a:lnSpc>
                  <a:spcPct val="80000"/>
                </a:lnSpc>
                <a:spcBef>
                  <a:spcPct val="0"/>
                </a:spcBef>
                <a:spcAft>
                  <a:spcPct val="0"/>
                </a:spcAft>
                <a:buClrTx/>
                <a:buSzTx/>
                <a:buFontTx/>
                <a:buNone/>
                <a:tabLst/>
                <a:defRPr/>
              </a:pPr>
              <a:r>
                <a:rPr kumimoji="0" lang="en-US" altLang="en-US" sz="810" b="1" i="0" u="none" strike="noStrike" kern="0" cap="none" spc="0" normalizeH="0" baseline="0" noProof="0" dirty="0">
                  <a:ln>
                    <a:noFill/>
                  </a:ln>
                  <a:solidFill>
                    <a:srgbClr val="1C1C1C"/>
                  </a:solidFill>
                  <a:effectLst/>
                  <a:uLnTx/>
                  <a:uFillTx/>
                  <a:latin typeface="Helvetica" panose="020B0604020202020204" pitchFamily="34" charset="0"/>
                  <a:ea typeface="Heiti SC Light" charset="-122"/>
                  <a:sym typeface="Helvetica" panose="020B0604020202020204" pitchFamily="34" charset="0"/>
                </a:rPr>
                <a:t> d'Ivoire</a:t>
              </a:r>
            </a:p>
          </p:txBody>
        </p:sp>
        <p:sp>
          <p:nvSpPr>
            <p:cNvPr id="410" name="Rectangle 82">
              <a:extLst>
                <a:ext uri="{FF2B5EF4-FFF2-40B4-BE49-F238E27FC236}">
                  <a16:creationId xmlns:a16="http://schemas.microsoft.com/office/drawing/2014/main" id="{0A82941C-F38F-40F7-9B3F-B0F0A0BCC11C}"/>
                </a:ext>
              </a:extLst>
            </p:cNvPr>
            <p:cNvSpPr>
              <a:spLocks/>
            </p:cNvSpPr>
            <p:nvPr/>
          </p:nvSpPr>
          <p:spPr bwMode="auto">
            <a:xfrm>
              <a:off x="275156" y="2310372"/>
              <a:ext cx="817780" cy="141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588" b="1" i="0" u="none" strike="noStrike" kern="0" cap="none" spc="0" normalizeH="0" baseline="0" noProof="0" dirty="0">
                  <a:ln>
                    <a:noFill/>
                  </a:ln>
                  <a:solidFill>
                    <a:srgbClr val="1C1C1C"/>
                  </a:solidFill>
                  <a:effectLst/>
                  <a:uLnTx/>
                  <a:uFillTx/>
                  <a:latin typeface="Helvetica" panose="020B0604020202020204" pitchFamily="34" charset="0"/>
                  <a:ea typeface="Heiti SC Light" charset="-122"/>
                  <a:sym typeface="Helvetica" panose="020B0604020202020204" pitchFamily="34" charset="0"/>
                </a:rPr>
                <a:t>Guinea-Bissau</a:t>
              </a:r>
            </a:p>
          </p:txBody>
        </p:sp>
        <p:sp>
          <p:nvSpPr>
            <p:cNvPr id="411" name="Rectangle 83">
              <a:extLst>
                <a:ext uri="{FF2B5EF4-FFF2-40B4-BE49-F238E27FC236}">
                  <a16:creationId xmlns:a16="http://schemas.microsoft.com/office/drawing/2014/main" id="{66269018-A3B3-43F2-BE63-D2C581082526}"/>
                </a:ext>
              </a:extLst>
            </p:cNvPr>
            <p:cNvSpPr>
              <a:spLocks/>
            </p:cNvSpPr>
            <p:nvPr/>
          </p:nvSpPr>
          <p:spPr bwMode="auto">
            <a:xfrm>
              <a:off x="5697167" y="3321445"/>
              <a:ext cx="562534"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946"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Kenya</a:t>
              </a:r>
            </a:p>
          </p:txBody>
        </p:sp>
        <p:sp>
          <p:nvSpPr>
            <p:cNvPr id="412" name="Rectangle 85">
              <a:extLst>
                <a:ext uri="{FF2B5EF4-FFF2-40B4-BE49-F238E27FC236}">
                  <a16:creationId xmlns:a16="http://schemas.microsoft.com/office/drawing/2014/main" id="{61FB9D75-522C-4ACA-967D-74005F441D28}"/>
                </a:ext>
              </a:extLst>
            </p:cNvPr>
            <p:cNvSpPr>
              <a:spLocks/>
            </p:cNvSpPr>
            <p:nvPr/>
          </p:nvSpPr>
          <p:spPr bwMode="auto">
            <a:xfrm rot="2309957">
              <a:off x="1433118" y="2812029"/>
              <a:ext cx="381630" cy="141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588" b="1" i="0" u="none" strike="noStrike" kern="0" cap="none" spc="0" normalizeH="0" baseline="0" noProof="0" dirty="0">
                  <a:ln>
                    <a:noFill/>
                  </a:ln>
                  <a:solidFill>
                    <a:srgbClr val="1C1C1C"/>
                  </a:solidFill>
                  <a:effectLst/>
                  <a:uLnTx/>
                  <a:uFillTx/>
                  <a:latin typeface="Helvetica" panose="020B0604020202020204" pitchFamily="34" charset="0"/>
                  <a:ea typeface="Heiti SC Light" charset="-122"/>
                  <a:sym typeface="Helvetica" panose="020B0604020202020204" pitchFamily="34" charset="0"/>
                </a:rPr>
                <a:t>Liberia</a:t>
              </a:r>
            </a:p>
          </p:txBody>
        </p:sp>
        <p:sp>
          <p:nvSpPr>
            <p:cNvPr id="413" name="Rectangle 86">
              <a:extLst>
                <a:ext uri="{FF2B5EF4-FFF2-40B4-BE49-F238E27FC236}">
                  <a16:creationId xmlns:a16="http://schemas.microsoft.com/office/drawing/2014/main" id="{5E5D8D62-0832-4E67-A4D4-9A440341D06B}"/>
                </a:ext>
              </a:extLst>
            </p:cNvPr>
            <p:cNvSpPr>
              <a:spLocks/>
            </p:cNvSpPr>
            <p:nvPr/>
          </p:nvSpPr>
          <p:spPr bwMode="auto">
            <a:xfrm>
              <a:off x="3824363" y="836046"/>
              <a:ext cx="488190"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946"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Libya</a:t>
              </a:r>
            </a:p>
          </p:txBody>
        </p:sp>
        <p:sp>
          <p:nvSpPr>
            <p:cNvPr id="414" name="Rectangle 87">
              <a:extLst>
                <a:ext uri="{FF2B5EF4-FFF2-40B4-BE49-F238E27FC236}">
                  <a16:creationId xmlns:a16="http://schemas.microsoft.com/office/drawing/2014/main" id="{40B02061-88B4-4050-9325-1272EBFD4941}"/>
                </a:ext>
              </a:extLst>
            </p:cNvPr>
            <p:cNvSpPr>
              <a:spLocks/>
            </p:cNvSpPr>
            <p:nvPr/>
          </p:nvSpPr>
          <p:spPr bwMode="auto">
            <a:xfrm rot="17502747">
              <a:off x="6077862" y="5229877"/>
              <a:ext cx="1091716" cy="225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946"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Madagascar</a:t>
              </a:r>
            </a:p>
          </p:txBody>
        </p:sp>
        <p:sp>
          <p:nvSpPr>
            <p:cNvPr id="415" name="Rectangle 88">
              <a:extLst>
                <a:ext uri="{FF2B5EF4-FFF2-40B4-BE49-F238E27FC236}">
                  <a16:creationId xmlns:a16="http://schemas.microsoft.com/office/drawing/2014/main" id="{315EF1C6-384B-4010-ACE5-5F706DD89018}"/>
                </a:ext>
              </a:extLst>
            </p:cNvPr>
            <p:cNvSpPr>
              <a:spLocks/>
            </p:cNvSpPr>
            <p:nvPr/>
          </p:nvSpPr>
          <p:spPr bwMode="auto">
            <a:xfrm rot="4205332">
              <a:off x="5393862" y="4639424"/>
              <a:ext cx="403135" cy="144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608"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Malawi</a:t>
              </a:r>
            </a:p>
          </p:txBody>
        </p:sp>
        <p:sp>
          <p:nvSpPr>
            <p:cNvPr id="416" name="Rectangle 89">
              <a:extLst>
                <a:ext uri="{FF2B5EF4-FFF2-40B4-BE49-F238E27FC236}">
                  <a16:creationId xmlns:a16="http://schemas.microsoft.com/office/drawing/2014/main" id="{022398EF-1610-4810-AA3F-200976BB5F94}"/>
                </a:ext>
              </a:extLst>
            </p:cNvPr>
            <p:cNvSpPr>
              <a:spLocks/>
            </p:cNvSpPr>
            <p:nvPr/>
          </p:nvSpPr>
          <p:spPr bwMode="auto">
            <a:xfrm>
              <a:off x="2279541" y="1828647"/>
              <a:ext cx="364284"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946" b="1" i="0" u="none" strike="noStrike" kern="0" cap="none" spc="0" normalizeH="0" baseline="0" noProof="0" dirty="0">
                  <a:ln>
                    <a:noFill/>
                  </a:ln>
                  <a:solidFill>
                    <a:srgbClr val="1C1C1C"/>
                  </a:solidFill>
                  <a:effectLst/>
                  <a:uLnTx/>
                  <a:uFillTx/>
                  <a:latin typeface="Helvetica" panose="020B0604020202020204" pitchFamily="34" charset="0"/>
                  <a:ea typeface="Heiti SC Light" charset="-122"/>
                  <a:sym typeface="Helvetica" panose="020B0604020202020204" pitchFamily="34" charset="0"/>
                </a:rPr>
                <a:t>Mali</a:t>
              </a:r>
            </a:p>
          </p:txBody>
        </p:sp>
        <p:sp>
          <p:nvSpPr>
            <p:cNvPr id="417" name="Rectangle 90">
              <a:extLst>
                <a:ext uri="{FF2B5EF4-FFF2-40B4-BE49-F238E27FC236}">
                  <a16:creationId xmlns:a16="http://schemas.microsoft.com/office/drawing/2014/main" id="{05394C3F-2A62-4F0F-BD46-8CC0CDD4FD55}"/>
                </a:ext>
              </a:extLst>
            </p:cNvPr>
            <p:cNvSpPr>
              <a:spLocks/>
            </p:cNvSpPr>
            <p:nvPr/>
          </p:nvSpPr>
          <p:spPr bwMode="auto">
            <a:xfrm>
              <a:off x="1188202" y="1562410"/>
              <a:ext cx="773173" cy="188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784" b="1" i="0" u="none" strike="noStrike" kern="0" cap="none" spc="0" normalizeH="0" baseline="0" noProof="0" dirty="0">
                  <a:ln>
                    <a:noFill/>
                  </a:ln>
                  <a:solidFill>
                    <a:srgbClr val="1C1C1C"/>
                  </a:solidFill>
                  <a:effectLst/>
                  <a:uLnTx/>
                  <a:uFillTx/>
                  <a:latin typeface="Helvetica" panose="020B0604020202020204" pitchFamily="34" charset="0"/>
                  <a:ea typeface="Heiti SC Light" charset="-122"/>
                  <a:sym typeface="Helvetica" panose="020B0604020202020204" pitchFamily="34" charset="0"/>
                </a:rPr>
                <a:t>Mauritania</a:t>
              </a:r>
            </a:p>
          </p:txBody>
        </p:sp>
        <p:sp>
          <p:nvSpPr>
            <p:cNvPr id="418" name="Rectangle 91">
              <a:extLst>
                <a:ext uri="{FF2B5EF4-FFF2-40B4-BE49-F238E27FC236}">
                  <a16:creationId xmlns:a16="http://schemas.microsoft.com/office/drawing/2014/main" id="{456C0292-80D3-4D30-8CEC-4F15348B1930}"/>
                </a:ext>
              </a:extLst>
            </p:cNvPr>
            <p:cNvSpPr>
              <a:spLocks/>
            </p:cNvSpPr>
            <p:nvPr/>
          </p:nvSpPr>
          <p:spPr bwMode="auto">
            <a:xfrm rot="18474764">
              <a:off x="5345004" y="4859333"/>
              <a:ext cx="986551" cy="192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810"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Mozambique</a:t>
              </a:r>
            </a:p>
          </p:txBody>
        </p:sp>
        <p:sp>
          <p:nvSpPr>
            <p:cNvPr id="419" name="Rectangle 92">
              <a:extLst>
                <a:ext uri="{FF2B5EF4-FFF2-40B4-BE49-F238E27FC236}">
                  <a16:creationId xmlns:a16="http://schemas.microsoft.com/office/drawing/2014/main" id="{8D7B88F7-FEA4-4CE5-8B38-EB6F4C47F4D4}"/>
                </a:ext>
              </a:extLst>
            </p:cNvPr>
            <p:cNvSpPr>
              <a:spLocks/>
            </p:cNvSpPr>
            <p:nvPr/>
          </p:nvSpPr>
          <p:spPr bwMode="auto">
            <a:xfrm>
              <a:off x="3771855" y="5220500"/>
              <a:ext cx="728567"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946" b="1" i="0" u="none" strike="noStrike" kern="0" cap="none" spc="0" normalizeH="0" baseline="0" noProof="0" dirty="0">
                  <a:ln>
                    <a:noFill/>
                  </a:ln>
                  <a:solidFill>
                    <a:srgbClr val="1C1C1C"/>
                  </a:solidFill>
                  <a:effectLst/>
                  <a:uLnTx/>
                  <a:uFillTx/>
                  <a:latin typeface="Helvetica" panose="020B0604020202020204" pitchFamily="34" charset="0"/>
                  <a:ea typeface="Heiti SC Light" charset="-122"/>
                  <a:sym typeface="Helvetica" panose="020B0604020202020204" pitchFamily="34" charset="0"/>
                </a:rPr>
                <a:t>Namibia</a:t>
              </a:r>
            </a:p>
          </p:txBody>
        </p:sp>
        <p:sp>
          <p:nvSpPr>
            <p:cNvPr id="420" name="Rectangle 93">
              <a:extLst>
                <a:ext uri="{FF2B5EF4-FFF2-40B4-BE49-F238E27FC236}">
                  <a16:creationId xmlns:a16="http://schemas.microsoft.com/office/drawing/2014/main" id="{83D64BCA-7DEC-46B5-A77B-6170437F0E4E}"/>
                </a:ext>
              </a:extLst>
            </p:cNvPr>
            <p:cNvSpPr>
              <a:spLocks/>
            </p:cNvSpPr>
            <p:nvPr/>
          </p:nvSpPr>
          <p:spPr bwMode="auto">
            <a:xfrm>
              <a:off x="3159258" y="1747048"/>
              <a:ext cx="478278"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946" b="1" i="0" u="none" strike="noStrike" kern="0" cap="none" spc="0" normalizeH="0" baseline="0" noProof="0" dirty="0">
                  <a:ln>
                    <a:noFill/>
                  </a:ln>
                  <a:solidFill>
                    <a:srgbClr val="1C1C1C"/>
                  </a:solidFill>
                  <a:effectLst/>
                  <a:uLnTx/>
                  <a:uFillTx/>
                  <a:latin typeface="Helvetica" panose="020B0604020202020204" pitchFamily="34" charset="0"/>
                  <a:ea typeface="Heiti SC Light" charset="-122"/>
                  <a:sym typeface="Helvetica" panose="020B0604020202020204" pitchFamily="34" charset="0"/>
                </a:rPr>
                <a:t>Niger</a:t>
              </a:r>
            </a:p>
          </p:txBody>
        </p:sp>
        <p:sp>
          <p:nvSpPr>
            <p:cNvPr id="421" name="Rectangle 94">
              <a:extLst>
                <a:ext uri="{FF2B5EF4-FFF2-40B4-BE49-F238E27FC236}">
                  <a16:creationId xmlns:a16="http://schemas.microsoft.com/office/drawing/2014/main" id="{6B19420D-1634-489B-82A1-B2EBA3E8EE7E}"/>
                </a:ext>
              </a:extLst>
            </p:cNvPr>
            <p:cNvSpPr>
              <a:spLocks/>
            </p:cNvSpPr>
            <p:nvPr/>
          </p:nvSpPr>
          <p:spPr bwMode="auto">
            <a:xfrm>
              <a:off x="2905466" y="2560072"/>
              <a:ext cx="634399"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946"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Nigeria</a:t>
              </a:r>
            </a:p>
          </p:txBody>
        </p:sp>
        <p:sp>
          <p:nvSpPr>
            <p:cNvPr id="422" name="Rectangle 95">
              <a:extLst>
                <a:ext uri="{FF2B5EF4-FFF2-40B4-BE49-F238E27FC236}">
                  <a16:creationId xmlns:a16="http://schemas.microsoft.com/office/drawing/2014/main" id="{ED504C17-76A9-42FC-9C88-42F0872EEF84}"/>
                </a:ext>
              </a:extLst>
            </p:cNvPr>
            <p:cNvSpPr>
              <a:spLocks/>
            </p:cNvSpPr>
            <p:nvPr/>
          </p:nvSpPr>
          <p:spPr bwMode="auto">
            <a:xfrm>
              <a:off x="5156764" y="3596847"/>
              <a:ext cx="96648" cy="162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675"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R</a:t>
              </a:r>
            </a:p>
          </p:txBody>
        </p:sp>
        <p:sp>
          <p:nvSpPr>
            <p:cNvPr id="423" name="Rectangle 96">
              <a:extLst>
                <a:ext uri="{FF2B5EF4-FFF2-40B4-BE49-F238E27FC236}">
                  <a16:creationId xmlns:a16="http://schemas.microsoft.com/office/drawing/2014/main" id="{8EE3E62B-CFF1-4C66-A517-714533325600}"/>
                </a:ext>
              </a:extLst>
            </p:cNvPr>
            <p:cNvSpPr>
              <a:spLocks/>
            </p:cNvSpPr>
            <p:nvPr/>
          </p:nvSpPr>
          <p:spPr bwMode="auto">
            <a:xfrm>
              <a:off x="2362890" y="3613798"/>
              <a:ext cx="802911" cy="259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80000"/>
                </a:lnSpc>
                <a:spcBef>
                  <a:spcPct val="0"/>
                </a:spcBef>
                <a:spcAft>
                  <a:spcPct val="0"/>
                </a:spcAft>
                <a:buClrTx/>
                <a:buSzTx/>
                <a:buFontTx/>
                <a:buNone/>
                <a:tabLst/>
                <a:defRPr/>
              </a:pPr>
              <a:r>
                <a:rPr kumimoji="0" lang="en-US" altLang="en-US" sz="675" b="1" i="0" u="none" strike="noStrike" kern="0" cap="none" spc="0" normalizeH="0" baseline="0" noProof="0" dirty="0">
                  <a:ln>
                    <a:noFill/>
                  </a:ln>
                  <a:solidFill>
                    <a:srgbClr val="1C1C1C"/>
                  </a:solidFill>
                  <a:effectLst/>
                  <a:uLnTx/>
                  <a:uFillTx/>
                  <a:latin typeface="Helvetica" panose="020B0604020202020204" pitchFamily="34" charset="0"/>
                  <a:ea typeface="Heiti SC Light" charset="-122"/>
                  <a:sym typeface="Helvetica" panose="020B0604020202020204" pitchFamily="34" charset="0"/>
                </a:rPr>
                <a:t>São Tomé</a:t>
              </a:r>
            </a:p>
            <a:p>
              <a:pPr marL="0" marR="0" lvl="0" indent="0" defTabSz="914400" eaLnBrk="1" fontAlgn="base" latinLnBrk="0" hangingPunct="1">
                <a:lnSpc>
                  <a:spcPct val="80000"/>
                </a:lnSpc>
                <a:spcBef>
                  <a:spcPct val="0"/>
                </a:spcBef>
                <a:spcAft>
                  <a:spcPct val="0"/>
                </a:spcAft>
                <a:buClrTx/>
                <a:buSzTx/>
                <a:buFontTx/>
                <a:buNone/>
                <a:tabLst/>
                <a:defRPr/>
              </a:pPr>
              <a:r>
                <a:rPr kumimoji="0" lang="en-US" altLang="en-US" sz="675" b="1" i="0" u="none" strike="noStrike" kern="0" cap="none" spc="0" normalizeH="0" baseline="0" noProof="0" dirty="0">
                  <a:ln>
                    <a:noFill/>
                  </a:ln>
                  <a:solidFill>
                    <a:srgbClr val="1C1C1C"/>
                  </a:solidFill>
                  <a:effectLst/>
                  <a:uLnTx/>
                  <a:uFillTx/>
                  <a:latin typeface="Helvetica" panose="020B0604020202020204" pitchFamily="34" charset="0"/>
                  <a:ea typeface="Heiti SC Light" charset="-122"/>
                  <a:sym typeface="Helvetica" panose="020B0604020202020204" pitchFamily="34" charset="0"/>
                </a:rPr>
                <a:t>and Príncipe</a:t>
              </a:r>
            </a:p>
          </p:txBody>
        </p:sp>
        <p:sp>
          <p:nvSpPr>
            <p:cNvPr id="424" name="Rectangle 97">
              <a:extLst>
                <a:ext uri="{FF2B5EF4-FFF2-40B4-BE49-F238E27FC236}">
                  <a16:creationId xmlns:a16="http://schemas.microsoft.com/office/drawing/2014/main" id="{E863AA4B-3909-43ED-AA89-EEC50B94097C}"/>
                </a:ext>
              </a:extLst>
            </p:cNvPr>
            <p:cNvSpPr>
              <a:spLocks/>
            </p:cNvSpPr>
            <p:nvPr/>
          </p:nvSpPr>
          <p:spPr bwMode="auto">
            <a:xfrm>
              <a:off x="1006413" y="1980026"/>
              <a:ext cx="512971" cy="162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675"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Senegal</a:t>
              </a:r>
            </a:p>
          </p:txBody>
        </p:sp>
        <p:sp>
          <p:nvSpPr>
            <p:cNvPr id="425" name="Rectangle 98">
              <a:extLst>
                <a:ext uri="{FF2B5EF4-FFF2-40B4-BE49-F238E27FC236}">
                  <a16:creationId xmlns:a16="http://schemas.microsoft.com/office/drawing/2014/main" id="{F67659C3-34C6-42C0-A294-7A521163D83D}"/>
                </a:ext>
              </a:extLst>
            </p:cNvPr>
            <p:cNvSpPr>
              <a:spLocks/>
            </p:cNvSpPr>
            <p:nvPr/>
          </p:nvSpPr>
          <p:spPr bwMode="auto">
            <a:xfrm>
              <a:off x="402396" y="2705052"/>
              <a:ext cx="892123" cy="178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743" b="1" i="0" u="none" strike="noStrike" kern="0" cap="none" spc="0" normalizeH="0" baseline="0" noProof="0" dirty="0">
                  <a:ln>
                    <a:noFill/>
                  </a:ln>
                  <a:solidFill>
                    <a:srgbClr val="1C1C1C"/>
                  </a:solidFill>
                  <a:effectLst/>
                  <a:uLnTx/>
                  <a:uFillTx/>
                  <a:latin typeface="Helvetica" panose="020B0604020202020204" pitchFamily="34" charset="0"/>
                  <a:ea typeface="Heiti SC Light" charset="-122"/>
                  <a:sym typeface="Helvetica" panose="020B0604020202020204" pitchFamily="34" charset="0"/>
                </a:rPr>
                <a:t>Sierra Leone</a:t>
              </a:r>
            </a:p>
          </p:txBody>
        </p:sp>
        <p:sp>
          <p:nvSpPr>
            <p:cNvPr id="426" name="Rectangle 100">
              <a:extLst>
                <a:ext uri="{FF2B5EF4-FFF2-40B4-BE49-F238E27FC236}">
                  <a16:creationId xmlns:a16="http://schemas.microsoft.com/office/drawing/2014/main" id="{D0039931-D5C6-4175-AB7B-00660C4F1E8F}"/>
                </a:ext>
              </a:extLst>
            </p:cNvPr>
            <p:cNvSpPr>
              <a:spLocks/>
            </p:cNvSpPr>
            <p:nvPr/>
          </p:nvSpPr>
          <p:spPr bwMode="auto">
            <a:xfrm>
              <a:off x="4174421" y="6080922"/>
              <a:ext cx="1110197"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946" b="1" i="0" u="none" strike="noStrike" kern="0" cap="none" spc="0" normalizeH="0" baseline="0" noProof="0" dirty="0">
                  <a:ln>
                    <a:noFill/>
                  </a:ln>
                  <a:solidFill>
                    <a:srgbClr val="1C1C1C"/>
                  </a:solidFill>
                  <a:effectLst/>
                  <a:uLnTx/>
                  <a:uFillTx/>
                  <a:latin typeface="Helvetica" panose="020B0604020202020204" pitchFamily="34" charset="0"/>
                  <a:ea typeface="Heiti SC Light" charset="-122"/>
                  <a:sym typeface="Helvetica" panose="020B0604020202020204" pitchFamily="34" charset="0"/>
                </a:rPr>
                <a:t>South Africa</a:t>
              </a:r>
            </a:p>
          </p:txBody>
        </p:sp>
        <p:sp>
          <p:nvSpPr>
            <p:cNvPr id="427" name="Rectangle 101">
              <a:extLst>
                <a:ext uri="{FF2B5EF4-FFF2-40B4-BE49-F238E27FC236}">
                  <a16:creationId xmlns:a16="http://schemas.microsoft.com/office/drawing/2014/main" id="{C3E4BC4A-C628-441E-837E-41FA1C4DD39C}"/>
                </a:ext>
              </a:extLst>
            </p:cNvPr>
            <p:cNvSpPr>
              <a:spLocks/>
            </p:cNvSpPr>
            <p:nvPr/>
          </p:nvSpPr>
          <p:spPr bwMode="auto">
            <a:xfrm>
              <a:off x="4900787" y="2795185"/>
              <a:ext cx="996204" cy="194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810" b="1" i="0" u="none" strike="noStrike" kern="0" cap="none" spc="0" normalizeH="0" baseline="0" noProof="0" dirty="0">
                  <a:ln>
                    <a:noFill/>
                  </a:ln>
                  <a:solidFill>
                    <a:srgbClr val="1C1C1C"/>
                  </a:solidFill>
                  <a:effectLst/>
                  <a:uLnTx/>
                  <a:uFillTx/>
                  <a:latin typeface="Helvetica" panose="020B0604020202020204" pitchFamily="34" charset="0"/>
                  <a:ea typeface="Heiti SC Light" charset="-122"/>
                  <a:sym typeface="Helvetica" panose="020B0604020202020204" pitchFamily="34" charset="0"/>
                </a:rPr>
                <a:t>South Sudan</a:t>
              </a:r>
            </a:p>
          </p:txBody>
        </p:sp>
        <p:sp>
          <p:nvSpPr>
            <p:cNvPr id="428" name="Rectangle 102">
              <a:extLst>
                <a:ext uri="{FF2B5EF4-FFF2-40B4-BE49-F238E27FC236}">
                  <a16:creationId xmlns:a16="http://schemas.microsoft.com/office/drawing/2014/main" id="{A6D355B7-565F-4E39-B3F1-871FBDC8F7FF}"/>
                </a:ext>
              </a:extLst>
            </p:cNvPr>
            <p:cNvSpPr>
              <a:spLocks/>
            </p:cNvSpPr>
            <p:nvPr/>
          </p:nvSpPr>
          <p:spPr bwMode="auto">
            <a:xfrm>
              <a:off x="4970798" y="1999983"/>
              <a:ext cx="569968"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946"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Sudan</a:t>
              </a:r>
            </a:p>
          </p:txBody>
        </p:sp>
        <p:sp>
          <p:nvSpPr>
            <p:cNvPr id="429" name="Rectangle 103">
              <a:extLst>
                <a:ext uri="{FF2B5EF4-FFF2-40B4-BE49-F238E27FC236}">
                  <a16:creationId xmlns:a16="http://schemas.microsoft.com/office/drawing/2014/main" id="{BDFC11A0-1F04-41CD-9D51-28E7ED77F118}"/>
                </a:ext>
              </a:extLst>
            </p:cNvPr>
            <p:cNvSpPr>
              <a:spLocks/>
            </p:cNvSpPr>
            <p:nvPr/>
          </p:nvSpPr>
          <p:spPr bwMode="auto">
            <a:xfrm>
              <a:off x="5528700" y="5839985"/>
              <a:ext cx="617052" cy="178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743"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ESwatini</a:t>
              </a:r>
            </a:p>
          </p:txBody>
        </p:sp>
        <p:sp>
          <p:nvSpPr>
            <p:cNvPr id="430" name="Rectangle 104">
              <a:extLst>
                <a:ext uri="{FF2B5EF4-FFF2-40B4-BE49-F238E27FC236}">
                  <a16:creationId xmlns:a16="http://schemas.microsoft.com/office/drawing/2014/main" id="{07B2D806-5154-4B02-984A-CE38584A7BA0}"/>
                </a:ext>
              </a:extLst>
            </p:cNvPr>
            <p:cNvSpPr>
              <a:spLocks/>
            </p:cNvSpPr>
            <p:nvPr/>
          </p:nvSpPr>
          <p:spPr bwMode="auto">
            <a:xfrm>
              <a:off x="5452126" y="4059845"/>
              <a:ext cx="800433"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946"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Tanzania</a:t>
              </a:r>
            </a:p>
          </p:txBody>
        </p:sp>
        <p:sp>
          <p:nvSpPr>
            <p:cNvPr id="431" name="Rectangle 105">
              <a:extLst>
                <a:ext uri="{FF2B5EF4-FFF2-40B4-BE49-F238E27FC236}">
                  <a16:creationId xmlns:a16="http://schemas.microsoft.com/office/drawing/2014/main" id="{F616F1A4-A240-4E55-BAB5-CC8699C1CD0E}"/>
                </a:ext>
              </a:extLst>
            </p:cNvPr>
            <p:cNvSpPr>
              <a:spLocks/>
            </p:cNvSpPr>
            <p:nvPr/>
          </p:nvSpPr>
          <p:spPr bwMode="auto">
            <a:xfrm rot="5186741">
              <a:off x="2432523" y="2645200"/>
              <a:ext cx="300472" cy="144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608"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Togo</a:t>
              </a:r>
            </a:p>
          </p:txBody>
        </p:sp>
        <p:sp>
          <p:nvSpPr>
            <p:cNvPr id="432" name="Rectangle 106">
              <a:extLst>
                <a:ext uri="{FF2B5EF4-FFF2-40B4-BE49-F238E27FC236}">
                  <a16:creationId xmlns:a16="http://schemas.microsoft.com/office/drawing/2014/main" id="{218F188F-A941-41A6-A583-1A298D81042F}"/>
                </a:ext>
              </a:extLst>
            </p:cNvPr>
            <p:cNvSpPr>
              <a:spLocks/>
            </p:cNvSpPr>
            <p:nvPr/>
          </p:nvSpPr>
          <p:spPr bwMode="auto">
            <a:xfrm rot="17602798">
              <a:off x="3198584" y="261340"/>
              <a:ext cx="520820" cy="1767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743"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Tunisia</a:t>
              </a:r>
            </a:p>
          </p:txBody>
        </p:sp>
        <p:sp>
          <p:nvSpPr>
            <p:cNvPr id="433" name="Rectangle 107">
              <a:extLst>
                <a:ext uri="{FF2B5EF4-FFF2-40B4-BE49-F238E27FC236}">
                  <a16:creationId xmlns:a16="http://schemas.microsoft.com/office/drawing/2014/main" id="{AE2F8512-529B-41B7-8AC0-017AAC8D664F}"/>
                </a:ext>
              </a:extLst>
            </p:cNvPr>
            <p:cNvSpPr>
              <a:spLocks/>
            </p:cNvSpPr>
            <p:nvPr/>
          </p:nvSpPr>
          <p:spPr bwMode="auto">
            <a:xfrm rot="18686377">
              <a:off x="5131027" y="3260012"/>
              <a:ext cx="598441" cy="192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810"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Uganda</a:t>
              </a:r>
            </a:p>
          </p:txBody>
        </p:sp>
        <p:sp>
          <p:nvSpPr>
            <p:cNvPr id="434" name="Rectangle 108">
              <a:extLst>
                <a:ext uri="{FF2B5EF4-FFF2-40B4-BE49-F238E27FC236}">
                  <a16:creationId xmlns:a16="http://schemas.microsoft.com/office/drawing/2014/main" id="{DA445ED8-FAEC-4B63-8DB8-D15C2D1E51B9}"/>
                </a:ext>
              </a:extLst>
            </p:cNvPr>
            <p:cNvSpPr>
              <a:spLocks/>
            </p:cNvSpPr>
            <p:nvPr/>
          </p:nvSpPr>
          <p:spPr bwMode="auto">
            <a:xfrm>
              <a:off x="4629493" y="4677912"/>
              <a:ext cx="654224"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946"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Zambia</a:t>
              </a:r>
            </a:p>
          </p:txBody>
        </p:sp>
        <p:sp>
          <p:nvSpPr>
            <p:cNvPr id="435" name="Rectangle 109">
              <a:extLst>
                <a:ext uri="{FF2B5EF4-FFF2-40B4-BE49-F238E27FC236}">
                  <a16:creationId xmlns:a16="http://schemas.microsoft.com/office/drawing/2014/main" id="{8A9E5C97-69D9-44D3-A411-58B084C46267}"/>
                </a:ext>
              </a:extLst>
            </p:cNvPr>
            <p:cNvSpPr>
              <a:spLocks/>
            </p:cNvSpPr>
            <p:nvPr/>
          </p:nvSpPr>
          <p:spPr bwMode="auto">
            <a:xfrm>
              <a:off x="4865782" y="5114308"/>
              <a:ext cx="788042" cy="194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810"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Zimbabwe</a:t>
              </a:r>
            </a:p>
          </p:txBody>
        </p:sp>
        <p:sp>
          <p:nvSpPr>
            <p:cNvPr id="436" name="Rectangle 111">
              <a:extLst>
                <a:ext uri="{FF2B5EF4-FFF2-40B4-BE49-F238E27FC236}">
                  <a16:creationId xmlns:a16="http://schemas.microsoft.com/office/drawing/2014/main" id="{E8B21CC8-5E50-4DF9-91A8-1DBCF01B337D}"/>
                </a:ext>
              </a:extLst>
            </p:cNvPr>
            <p:cNvSpPr>
              <a:spLocks/>
            </p:cNvSpPr>
            <p:nvPr/>
          </p:nvSpPr>
          <p:spPr bwMode="auto">
            <a:xfrm>
              <a:off x="6581058" y="3713535"/>
              <a:ext cx="619530" cy="194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810"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Burundi</a:t>
              </a:r>
            </a:p>
          </p:txBody>
        </p:sp>
        <p:sp>
          <p:nvSpPr>
            <p:cNvPr id="437" name="Rectangle 112">
              <a:extLst>
                <a:ext uri="{FF2B5EF4-FFF2-40B4-BE49-F238E27FC236}">
                  <a16:creationId xmlns:a16="http://schemas.microsoft.com/office/drawing/2014/main" id="{1015764C-F496-4DE4-BC63-7102E5D8E3A3}"/>
                </a:ext>
              </a:extLst>
            </p:cNvPr>
            <p:cNvSpPr>
              <a:spLocks/>
            </p:cNvSpPr>
            <p:nvPr/>
          </p:nvSpPr>
          <p:spPr bwMode="auto">
            <a:xfrm>
              <a:off x="2123310" y="3183710"/>
              <a:ext cx="1144891" cy="129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80000"/>
                </a:lnSpc>
                <a:spcBef>
                  <a:spcPct val="0"/>
                </a:spcBef>
                <a:spcAft>
                  <a:spcPct val="0"/>
                </a:spcAft>
                <a:buClrTx/>
                <a:buSzTx/>
                <a:buFontTx/>
                <a:buNone/>
                <a:tabLst/>
                <a:defRPr/>
              </a:pPr>
              <a:r>
                <a:rPr kumimoji="0" lang="en-US" altLang="en-US" sz="675"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Equatorial Guinea</a:t>
              </a:r>
            </a:p>
          </p:txBody>
        </p:sp>
        <p:sp>
          <p:nvSpPr>
            <p:cNvPr id="438" name="Rectangle 114">
              <a:extLst>
                <a:ext uri="{FF2B5EF4-FFF2-40B4-BE49-F238E27FC236}">
                  <a16:creationId xmlns:a16="http://schemas.microsoft.com/office/drawing/2014/main" id="{F14E5CD2-07FD-4B89-9C2B-286A5E89F8A0}"/>
                </a:ext>
              </a:extLst>
            </p:cNvPr>
            <p:cNvSpPr>
              <a:spLocks/>
            </p:cNvSpPr>
            <p:nvPr/>
          </p:nvSpPr>
          <p:spPr bwMode="auto">
            <a:xfrm>
              <a:off x="6582151" y="3555464"/>
              <a:ext cx="661658" cy="194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810"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Rwanda</a:t>
              </a:r>
              <a:r>
                <a:rPr kumimoji="0" lang="en-US" altLang="en-US" sz="810" b="0"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 </a:t>
              </a:r>
            </a:p>
          </p:txBody>
        </p:sp>
        <p:sp>
          <p:nvSpPr>
            <p:cNvPr id="439" name="Line 116">
              <a:extLst>
                <a:ext uri="{FF2B5EF4-FFF2-40B4-BE49-F238E27FC236}">
                  <a16:creationId xmlns:a16="http://schemas.microsoft.com/office/drawing/2014/main" id="{19BED9FD-BCF0-4F7D-8157-04A3CA716EBD}"/>
                </a:ext>
              </a:extLst>
            </p:cNvPr>
            <p:cNvSpPr>
              <a:spLocks noChangeShapeType="1"/>
            </p:cNvSpPr>
            <p:nvPr/>
          </p:nvSpPr>
          <p:spPr bwMode="auto">
            <a:xfrm>
              <a:off x="2868273" y="3273223"/>
              <a:ext cx="492266" cy="41569"/>
            </a:xfrm>
            <a:prstGeom prst="line">
              <a:avLst/>
            </a:prstGeom>
            <a:noFill/>
            <a:ln w="6350">
              <a:solidFill>
                <a:sysClr val="windowText" lastClr="000000"/>
              </a:solidFill>
              <a:miter lim="800000"/>
              <a:headEnd/>
              <a:tailEnd/>
            </a:ln>
            <a:extLst>
              <a:ext uri="{909E8E84-426E-40DD-AFC4-6F175D3DCCD1}">
                <a14:hiddenFill xmlns:a14="http://schemas.microsoft.com/office/drawing/2010/main">
                  <a:noFill/>
                </a14:hiddenFill>
              </a:ext>
            </a:extLst>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440" name="Line 117">
              <a:extLst>
                <a:ext uri="{FF2B5EF4-FFF2-40B4-BE49-F238E27FC236}">
                  <a16:creationId xmlns:a16="http://schemas.microsoft.com/office/drawing/2014/main" id="{D5441443-A08C-4E73-9C59-FB4A473AB9AC}"/>
                </a:ext>
              </a:extLst>
            </p:cNvPr>
            <p:cNvSpPr>
              <a:spLocks noChangeShapeType="1"/>
            </p:cNvSpPr>
            <p:nvPr/>
          </p:nvSpPr>
          <p:spPr bwMode="auto">
            <a:xfrm>
              <a:off x="953903" y="2196800"/>
              <a:ext cx="140022" cy="1094"/>
            </a:xfrm>
            <a:prstGeom prst="line">
              <a:avLst/>
            </a:prstGeom>
            <a:noFill/>
            <a:ln w="6350">
              <a:solidFill>
                <a:sysClr val="windowText" lastClr="000000"/>
              </a:solidFill>
              <a:miter lim="800000"/>
              <a:headEnd/>
              <a:tailEnd/>
            </a:ln>
            <a:extLst>
              <a:ext uri="{909E8E84-426E-40DD-AFC4-6F175D3DCCD1}">
                <a14:hiddenFill xmlns:a14="http://schemas.microsoft.com/office/drawing/2010/main">
                  <a:noFill/>
                </a14:hiddenFill>
              </a:ext>
            </a:extLst>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441" name="Line 118">
              <a:extLst>
                <a:ext uri="{FF2B5EF4-FFF2-40B4-BE49-F238E27FC236}">
                  <a16:creationId xmlns:a16="http://schemas.microsoft.com/office/drawing/2014/main" id="{AD59F281-65C3-435E-AF30-5717D2C7CA24}"/>
                </a:ext>
              </a:extLst>
            </p:cNvPr>
            <p:cNvSpPr>
              <a:spLocks noChangeShapeType="1"/>
            </p:cNvSpPr>
            <p:nvPr/>
          </p:nvSpPr>
          <p:spPr bwMode="auto">
            <a:xfrm rot="10800000" flipH="1">
              <a:off x="1021727" y="2366359"/>
              <a:ext cx="136741" cy="29536"/>
            </a:xfrm>
            <a:prstGeom prst="line">
              <a:avLst/>
            </a:prstGeom>
            <a:noFill/>
            <a:ln w="6350">
              <a:solidFill>
                <a:sysClr val="windowText" lastClr="000000"/>
              </a:solidFill>
              <a:miter lim="800000"/>
              <a:headEnd/>
              <a:tailEnd/>
            </a:ln>
            <a:extLst>
              <a:ext uri="{909E8E84-426E-40DD-AFC4-6F175D3DCCD1}">
                <a14:hiddenFill xmlns:a14="http://schemas.microsoft.com/office/drawing/2010/main">
                  <a:noFill/>
                </a14:hiddenFill>
              </a:ext>
            </a:extLst>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442" name="Line 119">
              <a:extLst>
                <a:ext uri="{FF2B5EF4-FFF2-40B4-BE49-F238E27FC236}">
                  <a16:creationId xmlns:a16="http://schemas.microsoft.com/office/drawing/2014/main" id="{6DBD55FB-1209-4785-87CD-4CEFE89355C5}"/>
                </a:ext>
              </a:extLst>
            </p:cNvPr>
            <p:cNvSpPr>
              <a:spLocks noChangeShapeType="1"/>
            </p:cNvSpPr>
            <p:nvPr/>
          </p:nvSpPr>
          <p:spPr bwMode="auto">
            <a:xfrm rot="10800000" flipH="1">
              <a:off x="6344768" y="2231806"/>
              <a:ext cx="124708" cy="131271"/>
            </a:xfrm>
            <a:prstGeom prst="line">
              <a:avLst/>
            </a:prstGeom>
            <a:noFill/>
            <a:ln w="6350">
              <a:solidFill>
                <a:sysClr val="windowText" lastClr="000000"/>
              </a:solidFill>
              <a:miter lim="800000"/>
              <a:headEnd/>
              <a:tailEnd/>
            </a:ln>
            <a:extLst>
              <a:ext uri="{909E8E84-426E-40DD-AFC4-6F175D3DCCD1}">
                <a14:hiddenFill xmlns:a14="http://schemas.microsoft.com/office/drawing/2010/main">
                  <a:noFill/>
                </a14:hiddenFill>
              </a:ext>
            </a:extLst>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443" name="Line 120">
              <a:extLst>
                <a:ext uri="{FF2B5EF4-FFF2-40B4-BE49-F238E27FC236}">
                  <a16:creationId xmlns:a16="http://schemas.microsoft.com/office/drawing/2014/main" id="{3E34A28C-170A-4A8C-BF3C-4183B98FD582}"/>
                </a:ext>
              </a:extLst>
            </p:cNvPr>
            <p:cNvSpPr>
              <a:spLocks noChangeShapeType="1"/>
            </p:cNvSpPr>
            <p:nvPr/>
          </p:nvSpPr>
          <p:spPr bwMode="auto">
            <a:xfrm rot="10800000" flipH="1">
              <a:off x="1277705" y="2705476"/>
              <a:ext cx="148774" cy="77668"/>
            </a:xfrm>
            <a:prstGeom prst="line">
              <a:avLst/>
            </a:prstGeom>
            <a:noFill/>
            <a:ln w="6350">
              <a:solidFill>
                <a:sysClr val="windowText" lastClr="000000"/>
              </a:solidFill>
              <a:miter lim="800000"/>
              <a:headEnd/>
              <a:tailEnd/>
            </a:ln>
            <a:extLst>
              <a:ext uri="{909E8E84-426E-40DD-AFC4-6F175D3DCCD1}">
                <a14:hiddenFill xmlns:a14="http://schemas.microsoft.com/office/drawing/2010/main">
                  <a:noFill/>
                </a14:hiddenFill>
              </a:ext>
            </a:extLst>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444" name="Freeform 123">
              <a:extLst>
                <a:ext uri="{FF2B5EF4-FFF2-40B4-BE49-F238E27FC236}">
                  <a16:creationId xmlns:a16="http://schemas.microsoft.com/office/drawing/2014/main" id="{350E945C-B6F5-40B8-ACE0-AF10382E6927}"/>
                </a:ext>
              </a:extLst>
            </p:cNvPr>
            <p:cNvSpPr>
              <a:spLocks/>
            </p:cNvSpPr>
            <p:nvPr/>
          </p:nvSpPr>
          <p:spPr bwMode="auto">
            <a:xfrm>
              <a:off x="1126744" y="171945"/>
              <a:ext cx="1476799" cy="1279893"/>
            </a:xfrm>
            <a:custGeom>
              <a:avLst/>
              <a:gdLst>
                <a:gd name="T0" fmla="*/ 2147483646 w 21600"/>
                <a:gd name="T1" fmla="*/ 2147483646 h 21600"/>
                <a:gd name="T2" fmla="*/ 0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0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2147483646 w 21600"/>
                <a:gd name="T95" fmla="*/ 2147483646 h 216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1600" h="21600">
                  <a:moveTo>
                    <a:pt x="4682" y="21600"/>
                  </a:moveTo>
                  <a:lnTo>
                    <a:pt x="0" y="21590"/>
                  </a:lnTo>
                  <a:lnTo>
                    <a:pt x="748" y="19131"/>
                  </a:lnTo>
                  <a:lnTo>
                    <a:pt x="1675" y="17589"/>
                  </a:lnTo>
                  <a:lnTo>
                    <a:pt x="2989" y="16572"/>
                  </a:lnTo>
                  <a:lnTo>
                    <a:pt x="3613" y="15377"/>
                  </a:lnTo>
                  <a:lnTo>
                    <a:pt x="4392" y="13885"/>
                  </a:lnTo>
                  <a:lnTo>
                    <a:pt x="5484" y="13225"/>
                  </a:lnTo>
                  <a:lnTo>
                    <a:pt x="6228" y="11993"/>
                  </a:lnTo>
                  <a:lnTo>
                    <a:pt x="6746" y="11338"/>
                  </a:lnTo>
                  <a:lnTo>
                    <a:pt x="8145" y="10883"/>
                  </a:lnTo>
                  <a:lnTo>
                    <a:pt x="9304" y="10206"/>
                  </a:lnTo>
                  <a:lnTo>
                    <a:pt x="10722" y="9151"/>
                  </a:lnTo>
                  <a:lnTo>
                    <a:pt x="11154" y="8123"/>
                  </a:lnTo>
                  <a:lnTo>
                    <a:pt x="11258" y="6609"/>
                  </a:lnTo>
                  <a:lnTo>
                    <a:pt x="11813" y="5116"/>
                  </a:lnTo>
                  <a:lnTo>
                    <a:pt x="12505" y="4019"/>
                  </a:lnTo>
                  <a:lnTo>
                    <a:pt x="13595" y="3400"/>
                  </a:lnTo>
                  <a:lnTo>
                    <a:pt x="14840" y="3040"/>
                  </a:lnTo>
                  <a:lnTo>
                    <a:pt x="15826" y="2062"/>
                  </a:lnTo>
                  <a:lnTo>
                    <a:pt x="16468" y="1128"/>
                  </a:lnTo>
                  <a:lnTo>
                    <a:pt x="16778" y="115"/>
                  </a:lnTo>
                  <a:lnTo>
                    <a:pt x="17619" y="0"/>
                  </a:lnTo>
                  <a:lnTo>
                    <a:pt x="17843" y="868"/>
                  </a:lnTo>
                  <a:lnTo>
                    <a:pt x="19089" y="1125"/>
                  </a:lnTo>
                  <a:lnTo>
                    <a:pt x="20332" y="1245"/>
                  </a:lnTo>
                  <a:lnTo>
                    <a:pt x="20799" y="1366"/>
                  </a:lnTo>
                  <a:lnTo>
                    <a:pt x="21241" y="2525"/>
                  </a:lnTo>
                  <a:lnTo>
                    <a:pt x="21155" y="3009"/>
                  </a:lnTo>
                  <a:lnTo>
                    <a:pt x="21137" y="3999"/>
                  </a:lnTo>
                  <a:lnTo>
                    <a:pt x="21201" y="4702"/>
                  </a:lnTo>
                  <a:lnTo>
                    <a:pt x="21600" y="5293"/>
                  </a:lnTo>
                  <a:lnTo>
                    <a:pt x="21083" y="5932"/>
                  </a:lnTo>
                  <a:lnTo>
                    <a:pt x="19196" y="6140"/>
                  </a:lnTo>
                  <a:lnTo>
                    <a:pt x="18150" y="6545"/>
                  </a:lnTo>
                  <a:lnTo>
                    <a:pt x="18066" y="7572"/>
                  </a:lnTo>
                  <a:lnTo>
                    <a:pt x="16671" y="8179"/>
                  </a:lnTo>
                  <a:lnTo>
                    <a:pt x="15795" y="8941"/>
                  </a:lnTo>
                  <a:lnTo>
                    <a:pt x="14711" y="9144"/>
                  </a:lnTo>
                  <a:lnTo>
                    <a:pt x="13262" y="9477"/>
                  </a:lnTo>
                  <a:lnTo>
                    <a:pt x="11690" y="10670"/>
                  </a:lnTo>
                  <a:lnTo>
                    <a:pt x="10979" y="14522"/>
                  </a:lnTo>
                  <a:lnTo>
                    <a:pt x="7180" y="14586"/>
                  </a:lnTo>
                  <a:lnTo>
                    <a:pt x="6437" y="18436"/>
                  </a:lnTo>
                  <a:lnTo>
                    <a:pt x="5425" y="18793"/>
                  </a:lnTo>
                  <a:lnTo>
                    <a:pt x="4656" y="19708"/>
                  </a:lnTo>
                  <a:lnTo>
                    <a:pt x="4682" y="21600"/>
                  </a:lnTo>
                  <a:close/>
                  <a:moveTo>
                    <a:pt x="4682" y="21600"/>
                  </a:moveTo>
                </a:path>
              </a:pathLst>
            </a:custGeom>
            <a:solidFill>
              <a:srgbClr val="E6E6E6"/>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445" name="Rectangle 124">
              <a:extLst>
                <a:ext uri="{FF2B5EF4-FFF2-40B4-BE49-F238E27FC236}">
                  <a16:creationId xmlns:a16="http://schemas.microsoft.com/office/drawing/2014/main" id="{076578A8-BBDD-4F74-9662-EC2AE8B23D6A}"/>
                </a:ext>
              </a:extLst>
            </p:cNvPr>
            <p:cNvSpPr>
              <a:spLocks/>
            </p:cNvSpPr>
            <p:nvPr/>
          </p:nvSpPr>
          <p:spPr bwMode="auto">
            <a:xfrm rot="19240681">
              <a:off x="1763236" y="376597"/>
              <a:ext cx="778130"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946" b="1" i="0" u="none" strike="noStrike" kern="0" cap="none" spc="0" normalizeH="0" baseline="0" noProof="0" dirty="0">
                  <a:ln>
                    <a:noFill/>
                  </a:ln>
                  <a:solidFill>
                    <a:srgbClr val="1C1C1C"/>
                  </a:solidFill>
                  <a:effectLst/>
                  <a:uLnTx/>
                  <a:uFillTx/>
                  <a:latin typeface="Helvetica" panose="020B0604020202020204" pitchFamily="34" charset="0"/>
                  <a:ea typeface="Heiti SC Light" charset="-122"/>
                  <a:sym typeface="Helvetica" panose="020B0604020202020204" pitchFamily="34" charset="0"/>
                </a:rPr>
                <a:t>Morocco</a:t>
              </a:r>
            </a:p>
          </p:txBody>
        </p:sp>
        <p:sp>
          <p:nvSpPr>
            <p:cNvPr id="446" name="Freeform 125">
              <a:extLst>
                <a:ext uri="{FF2B5EF4-FFF2-40B4-BE49-F238E27FC236}">
                  <a16:creationId xmlns:a16="http://schemas.microsoft.com/office/drawing/2014/main" id="{0950B42C-D3F4-434E-8F5D-C3BFDAE06C94}"/>
                </a:ext>
              </a:extLst>
            </p:cNvPr>
            <p:cNvSpPr>
              <a:spLocks/>
            </p:cNvSpPr>
            <p:nvPr/>
          </p:nvSpPr>
          <p:spPr bwMode="auto">
            <a:xfrm>
              <a:off x="1138778" y="857836"/>
              <a:ext cx="766841" cy="594002"/>
            </a:xfrm>
            <a:custGeom>
              <a:avLst/>
              <a:gdLst>
                <a:gd name="T0" fmla="*/ 0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0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0 w 21600"/>
                <a:gd name="T35" fmla="*/ 2147483646 h 21600"/>
                <a:gd name="T36" fmla="*/ 0 w 21600"/>
                <a:gd name="T37" fmla="*/ 2147483646 h 2160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1600" h="21600">
                  <a:moveTo>
                    <a:pt x="0" y="21600"/>
                  </a:moveTo>
                  <a:lnTo>
                    <a:pt x="8646" y="21510"/>
                  </a:lnTo>
                  <a:lnTo>
                    <a:pt x="8544" y="17818"/>
                  </a:lnTo>
                  <a:lnTo>
                    <a:pt x="10129" y="15464"/>
                  </a:lnTo>
                  <a:lnTo>
                    <a:pt x="12131" y="14592"/>
                  </a:lnTo>
                  <a:lnTo>
                    <a:pt x="13587" y="6654"/>
                  </a:lnTo>
                  <a:lnTo>
                    <a:pt x="20627" y="6782"/>
                  </a:lnTo>
                  <a:lnTo>
                    <a:pt x="21600" y="2879"/>
                  </a:lnTo>
                  <a:lnTo>
                    <a:pt x="21600" y="0"/>
                  </a:lnTo>
                  <a:lnTo>
                    <a:pt x="21073" y="1741"/>
                  </a:lnTo>
                  <a:lnTo>
                    <a:pt x="18109" y="4265"/>
                  </a:lnTo>
                  <a:lnTo>
                    <a:pt x="13498" y="5480"/>
                  </a:lnTo>
                  <a:lnTo>
                    <a:pt x="11898" y="8597"/>
                  </a:lnTo>
                  <a:lnTo>
                    <a:pt x="10377" y="11580"/>
                  </a:lnTo>
                  <a:lnTo>
                    <a:pt x="8086" y="15129"/>
                  </a:lnTo>
                  <a:lnTo>
                    <a:pt x="7323" y="18534"/>
                  </a:lnTo>
                  <a:lnTo>
                    <a:pt x="8827" y="21551"/>
                  </a:lnTo>
                  <a:lnTo>
                    <a:pt x="0" y="21600"/>
                  </a:lnTo>
                  <a:close/>
                  <a:moveTo>
                    <a:pt x="0" y="21600"/>
                  </a:moveTo>
                </a:path>
              </a:pathLst>
            </a:custGeom>
            <a:noFill/>
            <a:ln w="6350" cap="flat">
              <a:solidFill>
                <a:sysClr val="windowText" lastClr="000000"/>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447" name="Rectangle 126">
              <a:extLst>
                <a:ext uri="{FF2B5EF4-FFF2-40B4-BE49-F238E27FC236}">
                  <a16:creationId xmlns:a16="http://schemas.microsoft.com/office/drawing/2014/main" id="{50DD7E4D-BBBC-4846-9588-94646AB0FA3E}"/>
                </a:ext>
              </a:extLst>
            </p:cNvPr>
            <p:cNvSpPr>
              <a:spLocks/>
            </p:cNvSpPr>
            <p:nvPr/>
          </p:nvSpPr>
          <p:spPr bwMode="auto">
            <a:xfrm>
              <a:off x="411316" y="699956"/>
              <a:ext cx="1330751" cy="324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675"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Sahrawi Arab</a:t>
              </a:r>
            </a:p>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675"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Democratic Republic</a:t>
              </a:r>
            </a:p>
          </p:txBody>
        </p:sp>
        <p:sp>
          <p:nvSpPr>
            <p:cNvPr id="448" name="Line 127">
              <a:extLst>
                <a:ext uri="{FF2B5EF4-FFF2-40B4-BE49-F238E27FC236}">
                  <a16:creationId xmlns:a16="http://schemas.microsoft.com/office/drawing/2014/main" id="{3E3D9D70-4755-4C3E-9026-87C69AA938D2}"/>
                </a:ext>
              </a:extLst>
            </p:cNvPr>
            <p:cNvSpPr>
              <a:spLocks noChangeShapeType="1"/>
            </p:cNvSpPr>
            <p:nvPr/>
          </p:nvSpPr>
          <p:spPr bwMode="auto">
            <a:xfrm flipV="1">
              <a:off x="5224588" y="3813622"/>
              <a:ext cx="1357562" cy="22973"/>
            </a:xfrm>
            <a:prstGeom prst="line">
              <a:avLst/>
            </a:prstGeom>
            <a:noFill/>
            <a:ln w="6350">
              <a:solidFill>
                <a:sysClr val="windowText" lastClr="000000"/>
              </a:solidFill>
              <a:miter lim="800000"/>
              <a:headEnd/>
              <a:tailEnd/>
            </a:ln>
            <a:extLst>
              <a:ext uri="{909E8E84-426E-40DD-AFC4-6F175D3DCCD1}">
                <a14:hiddenFill xmlns:a14="http://schemas.microsoft.com/office/drawing/2010/main">
                  <a:noFill/>
                </a14:hiddenFill>
              </a:ext>
            </a:extLst>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449" name="Line 127">
              <a:extLst>
                <a:ext uri="{FF2B5EF4-FFF2-40B4-BE49-F238E27FC236}">
                  <a16:creationId xmlns:a16="http://schemas.microsoft.com/office/drawing/2014/main" id="{31296D0A-E5B8-4BC5-8FF2-4AAF1B4FFC7A}"/>
                </a:ext>
              </a:extLst>
            </p:cNvPr>
            <p:cNvSpPr>
              <a:spLocks noChangeShapeType="1"/>
            </p:cNvSpPr>
            <p:nvPr/>
          </p:nvSpPr>
          <p:spPr bwMode="auto">
            <a:xfrm>
              <a:off x="1238219" y="1010798"/>
              <a:ext cx="201282" cy="271294"/>
            </a:xfrm>
            <a:prstGeom prst="line">
              <a:avLst/>
            </a:prstGeom>
            <a:noFill/>
            <a:ln w="6350">
              <a:solidFill>
                <a:sysClr val="windowText" lastClr="000000"/>
              </a:solidFill>
              <a:miter lim="800000"/>
              <a:headEnd/>
              <a:tailEnd/>
            </a:ln>
            <a:extLst>
              <a:ext uri="{909E8E84-426E-40DD-AFC4-6F175D3DCCD1}">
                <a14:hiddenFill xmlns:a14="http://schemas.microsoft.com/office/drawing/2010/main">
                  <a:noFill/>
                </a14:hiddenFill>
              </a:ext>
            </a:extLst>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450" name="Line 127">
              <a:extLst>
                <a:ext uri="{FF2B5EF4-FFF2-40B4-BE49-F238E27FC236}">
                  <a16:creationId xmlns:a16="http://schemas.microsoft.com/office/drawing/2014/main" id="{DD8371FD-6F85-4FEC-958E-E0F3A63BED33}"/>
                </a:ext>
              </a:extLst>
            </p:cNvPr>
            <p:cNvSpPr>
              <a:spLocks noChangeShapeType="1"/>
            </p:cNvSpPr>
            <p:nvPr/>
          </p:nvSpPr>
          <p:spPr bwMode="auto">
            <a:xfrm flipV="1">
              <a:off x="5208180" y="3661567"/>
              <a:ext cx="1373970" cy="17503"/>
            </a:xfrm>
            <a:prstGeom prst="line">
              <a:avLst/>
            </a:prstGeom>
            <a:noFill/>
            <a:ln w="6350">
              <a:solidFill>
                <a:sysClr val="windowText" lastClr="000000"/>
              </a:solidFill>
              <a:miter lim="800000"/>
              <a:headEnd/>
              <a:tailEnd/>
            </a:ln>
            <a:extLst>
              <a:ext uri="{909E8E84-426E-40DD-AFC4-6F175D3DCCD1}">
                <a14:hiddenFill xmlns:a14="http://schemas.microsoft.com/office/drawing/2010/main">
                  <a:noFill/>
                </a14:hiddenFill>
              </a:ext>
            </a:extLst>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451" name="Rectangle 113">
              <a:extLst>
                <a:ext uri="{FF2B5EF4-FFF2-40B4-BE49-F238E27FC236}">
                  <a16:creationId xmlns:a16="http://schemas.microsoft.com/office/drawing/2014/main" id="{8FB43C37-6F87-4CF3-83C7-184DBE97AC48}"/>
                </a:ext>
              </a:extLst>
            </p:cNvPr>
            <p:cNvSpPr>
              <a:spLocks/>
            </p:cNvSpPr>
            <p:nvPr/>
          </p:nvSpPr>
          <p:spPr bwMode="auto">
            <a:xfrm>
              <a:off x="5437905" y="6357518"/>
              <a:ext cx="569968" cy="178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743" b="1" i="0" u="none" strike="noStrike" kern="0" cap="none" spc="0" normalizeH="0" baseline="0" noProof="0" dirty="0">
                  <a:ln>
                    <a:noFill/>
                  </a:ln>
                  <a:solidFill>
                    <a:prstClr val="black"/>
                  </a:solidFill>
                  <a:effectLst/>
                  <a:uLnTx/>
                  <a:uFillTx/>
                  <a:latin typeface="Helvetica" panose="020B0604020202020204" pitchFamily="34" charset="0"/>
                  <a:ea typeface="Heiti SC Light" charset="-122"/>
                  <a:sym typeface="Helvetica" panose="020B0604020202020204" pitchFamily="34" charset="0"/>
                </a:rPr>
                <a:t>Lesotho</a:t>
              </a:r>
            </a:p>
          </p:txBody>
        </p:sp>
        <p:sp>
          <p:nvSpPr>
            <p:cNvPr id="452" name="Freeform 26">
              <a:extLst>
                <a:ext uri="{FF2B5EF4-FFF2-40B4-BE49-F238E27FC236}">
                  <a16:creationId xmlns:a16="http://schemas.microsoft.com/office/drawing/2014/main" id="{8DF05F86-3206-4F46-8CB1-CE79BEFD9AA5}"/>
                </a:ext>
              </a:extLst>
            </p:cNvPr>
            <p:cNvSpPr>
              <a:spLocks/>
            </p:cNvSpPr>
            <p:nvPr/>
          </p:nvSpPr>
          <p:spPr bwMode="auto">
            <a:xfrm>
              <a:off x="6216779" y="2347762"/>
              <a:ext cx="899207" cy="1288644"/>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0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0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2147483646 w 21600"/>
                <a:gd name="T99" fmla="*/ 2147483646 h 21600"/>
                <a:gd name="T100" fmla="*/ 2147483646 w 21600"/>
                <a:gd name="T101" fmla="*/ 2147483646 h 21600"/>
                <a:gd name="T102" fmla="*/ 2147483646 w 21600"/>
                <a:gd name="T103" fmla="*/ 2147483646 h 21600"/>
                <a:gd name="T104" fmla="*/ 2147483646 w 21600"/>
                <a:gd name="T105" fmla="*/ 2147483646 h 21600"/>
                <a:gd name="T106" fmla="*/ 2147483646 w 21600"/>
                <a:gd name="T107" fmla="*/ 2147483646 h 21600"/>
                <a:gd name="T108" fmla="*/ 2147483646 w 21600"/>
                <a:gd name="T109" fmla="*/ 2147483646 h 21600"/>
                <a:gd name="T110" fmla="*/ 2147483646 w 21600"/>
                <a:gd name="T111" fmla="*/ 2147483646 h 21600"/>
                <a:gd name="T112" fmla="*/ 2147483646 w 21600"/>
                <a:gd name="T113" fmla="*/ 2147483646 h 21600"/>
                <a:gd name="T114" fmla="*/ 2147483646 w 21600"/>
                <a:gd name="T115" fmla="*/ 2147483646 h 21600"/>
                <a:gd name="T116" fmla="*/ 2147483646 w 21600"/>
                <a:gd name="T117" fmla="*/ 2147483646 h 21600"/>
                <a:gd name="T118" fmla="*/ 2147483646 w 21600"/>
                <a:gd name="T119" fmla="*/ 2147483646 h 2160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1600" h="21600">
                  <a:moveTo>
                    <a:pt x="1701" y="21600"/>
                  </a:moveTo>
                  <a:lnTo>
                    <a:pt x="474" y="20662"/>
                  </a:lnTo>
                  <a:lnTo>
                    <a:pt x="346" y="19592"/>
                  </a:lnTo>
                  <a:lnTo>
                    <a:pt x="346" y="17819"/>
                  </a:lnTo>
                  <a:lnTo>
                    <a:pt x="387" y="15988"/>
                  </a:lnTo>
                  <a:lnTo>
                    <a:pt x="0" y="14688"/>
                  </a:lnTo>
                  <a:lnTo>
                    <a:pt x="1167" y="14108"/>
                  </a:lnTo>
                  <a:lnTo>
                    <a:pt x="1743" y="13271"/>
                  </a:lnTo>
                  <a:lnTo>
                    <a:pt x="2245" y="12467"/>
                  </a:lnTo>
                  <a:lnTo>
                    <a:pt x="4089" y="12364"/>
                  </a:lnTo>
                  <a:lnTo>
                    <a:pt x="4794" y="11870"/>
                  </a:lnTo>
                  <a:lnTo>
                    <a:pt x="5836" y="11375"/>
                  </a:lnTo>
                  <a:lnTo>
                    <a:pt x="8602" y="11155"/>
                  </a:lnTo>
                  <a:lnTo>
                    <a:pt x="11481" y="9308"/>
                  </a:lnTo>
                  <a:lnTo>
                    <a:pt x="13183" y="7846"/>
                  </a:lnTo>
                  <a:lnTo>
                    <a:pt x="14791" y="6583"/>
                  </a:lnTo>
                  <a:lnTo>
                    <a:pt x="12221" y="6219"/>
                  </a:lnTo>
                  <a:lnTo>
                    <a:pt x="9588" y="5768"/>
                  </a:lnTo>
                  <a:lnTo>
                    <a:pt x="7124" y="5185"/>
                  </a:lnTo>
                  <a:lnTo>
                    <a:pt x="5876" y="4424"/>
                  </a:lnTo>
                  <a:lnTo>
                    <a:pt x="4691" y="3715"/>
                  </a:lnTo>
                  <a:lnTo>
                    <a:pt x="3655" y="2836"/>
                  </a:lnTo>
                  <a:lnTo>
                    <a:pt x="3819" y="1895"/>
                  </a:lnTo>
                  <a:lnTo>
                    <a:pt x="4638" y="1241"/>
                  </a:lnTo>
                  <a:lnTo>
                    <a:pt x="5548" y="1957"/>
                  </a:lnTo>
                  <a:lnTo>
                    <a:pt x="7021" y="3122"/>
                  </a:lnTo>
                  <a:lnTo>
                    <a:pt x="8139" y="2666"/>
                  </a:lnTo>
                  <a:lnTo>
                    <a:pt x="9831" y="1979"/>
                  </a:lnTo>
                  <a:lnTo>
                    <a:pt x="11185" y="2090"/>
                  </a:lnTo>
                  <a:lnTo>
                    <a:pt x="12739" y="1566"/>
                  </a:lnTo>
                  <a:lnTo>
                    <a:pt x="13892" y="1418"/>
                  </a:lnTo>
                  <a:lnTo>
                    <a:pt x="15457" y="1292"/>
                  </a:lnTo>
                  <a:lnTo>
                    <a:pt x="16599" y="1041"/>
                  </a:lnTo>
                  <a:lnTo>
                    <a:pt x="18132" y="724"/>
                  </a:lnTo>
                  <a:lnTo>
                    <a:pt x="19444" y="244"/>
                  </a:lnTo>
                  <a:lnTo>
                    <a:pt x="20712" y="0"/>
                  </a:lnTo>
                  <a:lnTo>
                    <a:pt x="21600" y="517"/>
                  </a:lnTo>
                  <a:lnTo>
                    <a:pt x="21399" y="1588"/>
                  </a:lnTo>
                  <a:lnTo>
                    <a:pt x="21357" y="2674"/>
                  </a:lnTo>
                  <a:lnTo>
                    <a:pt x="20997" y="3818"/>
                  </a:lnTo>
                  <a:lnTo>
                    <a:pt x="20257" y="4807"/>
                  </a:lnTo>
                  <a:lnTo>
                    <a:pt x="19496" y="6181"/>
                  </a:lnTo>
                  <a:lnTo>
                    <a:pt x="18607" y="7207"/>
                  </a:lnTo>
                  <a:lnTo>
                    <a:pt x="17941" y="8463"/>
                  </a:lnTo>
                  <a:lnTo>
                    <a:pt x="17402" y="9693"/>
                  </a:lnTo>
                  <a:lnTo>
                    <a:pt x="16566" y="10528"/>
                  </a:lnTo>
                  <a:lnTo>
                    <a:pt x="15509" y="11665"/>
                  </a:lnTo>
                  <a:lnTo>
                    <a:pt x="14652" y="12652"/>
                  </a:lnTo>
                  <a:lnTo>
                    <a:pt x="13541" y="13583"/>
                  </a:lnTo>
                  <a:lnTo>
                    <a:pt x="12198" y="14646"/>
                  </a:lnTo>
                  <a:lnTo>
                    <a:pt x="11014" y="15429"/>
                  </a:lnTo>
                  <a:lnTo>
                    <a:pt x="9682" y="15961"/>
                  </a:lnTo>
                  <a:lnTo>
                    <a:pt x="8275" y="16541"/>
                  </a:lnTo>
                  <a:lnTo>
                    <a:pt x="7112" y="17235"/>
                  </a:lnTo>
                  <a:lnTo>
                    <a:pt x="5938" y="17989"/>
                  </a:lnTo>
                  <a:lnTo>
                    <a:pt x="4711" y="18941"/>
                  </a:lnTo>
                  <a:lnTo>
                    <a:pt x="3539" y="19769"/>
                  </a:lnTo>
                  <a:lnTo>
                    <a:pt x="2429" y="20567"/>
                  </a:lnTo>
                  <a:lnTo>
                    <a:pt x="1701" y="21600"/>
                  </a:lnTo>
                  <a:close/>
                  <a:moveTo>
                    <a:pt x="1701" y="21600"/>
                  </a:moveTo>
                </a:path>
              </a:pathLst>
            </a:custGeom>
            <a:solidFill>
              <a:srgbClr val="E6E6E6"/>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453" name="Rectangle 99">
              <a:extLst>
                <a:ext uri="{FF2B5EF4-FFF2-40B4-BE49-F238E27FC236}">
                  <a16:creationId xmlns:a16="http://schemas.microsoft.com/office/drawing/2014/main" id="{7B634CAF-BBFE-4311-B955-617C6983826B}"/>
                </a:ext>
              </a:extLst>
            </p:cNvPr>
            <p:cNvSpPr>
              <a:spLocks/>
            </p:cNvSpPr>
            <p:nvPr/>
          </p:nvSpPr>
          <p:spPr bwMode="auto">
            <a:xfrm rot="19399379">
              <a:off x="6154598" y="3079689"/>
              <a:ext cx="716177"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946"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Somalia</a:t>
              </a:r>
            </a:p>
          </p:txBody>
        </p:sp>
        <p:sp>
          <p:nvSpPr>
            <p:cNvPr id="454" name="Line 127">
              <a:extLst>
                <a:ext uri="{FF2B5EF4-FFF2-40B4-BE49-F238E27FC236}">
                  <a16:creationId xmlns:a16="http://schemas.microsoft.com/office/drawing/2014/main" id="{70E4BB4E-43D1-4255-96F8-A39D3C4370CA}"/>
                </a:ext>
              </a:extLst>
            </p:cNvPr>
            <p:cNvSpPr>
              <a:spLocks noChangeShapeType="1"/>
            </p:cNvSpPr>
            <p:nvPr/>
          </p:nvSpPr>
          <p:spPr bwMode="auto">
            <a:xfrm flipV="1">
              <a:off x="4869713" y="6444354"/>
              <a:ext cx="452884" cy="13127"/>
            </a:xfrm>
            <a:prstGeom prst="line">
              <a:avLst/>
            </a:prstGeom>
            <a:noFill/>
            <a:ln w="6350">
              <a:solidFill>
                <a:sysClr val="windowText" lastClr="000000"/>
              </a:solidFill>
              <a:miter lim="800000"/>
              <a:headEnd/>
              <a:tailEnd/>
            </a:ln>
            <a:extLst>
              <a:ext uri="{909E8E84-426E-40DD-AFC4-6F175D3DCCD1}">
                <a14:hiddenFill xmlns:a14="http://schemas.microsoft.com/office/drawing/2010/main">
                  <a:noFill/>
                </a14:hiddenFill>
              </a:ext>
            </a:extLst>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455" name="Line 127">
              <a:extLst>
                <a:ext uri="{FF2B5EF4-FFF2-40B4-BE49-F238E27FC236}">
                  <a16:creationId xmlns:a16="http://schemas.microsoft.com/office/drawing/2014/main" id="{52704A96-6D1B-41B4-B95E-BF8A9995DB7D}"/>
                </a:ext>
              </a:extLst>
            </p:cNvPr>
            <p:cNvSpPr>
              <a:spLocks noChangeShapeType="1"/>
            </p:cNvSpPr>
            <p:nvPr/>
          </p:nvSpPr>
          <p:spPr bwMode="auto">
            <a:xfrm flipV="1">
              <a:off x="5270534" y="5932556"/>
              <a:ext cx="229724" cy="14221"/>
            </a:xfrm>
            <a:prstGeom prst="line">
              <a:avLst/>
            </a:prstGeom>
            <a:noFill/>
            <a:ln w="6350">
              <a:solidFill>
                <a:sysClr val="windowText" lastClr="000000"/>
              </a:solidFill>
              <a:miter lim="800000"/>
              <a:headEnd/>
              <a:tailEnd/>
            </a:ln>
            <a:extLst>
              <a:ext uri="{909E8E84-426E-40DD-AFC4-6F175D3DCCD1}">
                <a14:hiddenFill xmlns:a14="http://schemas.microsoft.com/office/drawing/2010/main">
                  <a:noFill/>
                </a14:hiddenFill>
              </a:ext>
            </a:extLst>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grpSp>
      <p:sp>
        <p:nvSpPr>
          <p:cNvPr id="456" name="Rectangle 455">
            <a:extLst>
              <a:ext uri="{FF2B5EF4-FFF2-40B4-BE49-F238E27FC236}">
                <a16:creationId xmlns:a16="http://schemas.microsoft.com/office/drawing/2014/main" id="{CEF281C5-3492-4543-814A-E466145F7BBE}"/>
              </a:ext>
            </a:extLst>
          </p:cNvPr>
          <p:cNvSpPr/>
          <p:nvPr/>
        </p:nvSpPr>
        <p:spPr>
          <a:xfrm>
            <a:off x="4614708" y="5899755"/>
            <a:ext cx="210951" cy="190220"/>
          </a:xfrm>
          <a:prstGeom prst="rect">
            <a:avLst/>
          </a:prstGeom>
          <a:solidFill>
            <a:sysClr val="window" lastClr="FFFFFF">
              <a:lumMod val="75000"/>
            </a:sysClr>
          </a:solidFill>
          <a:ln w="9525" cap="flat" cmpd="sng" algn="ctr">
            <a:solidFill>
              <a:srgbClr val="39302A">
                <a:lumMod val="10000"/>
                <a:lumOff val="90000"/>
              </a:srgbClr>
            </a:solidFill>
            <a:prstDash val="solid"/>
          </a:ln>
          <a:effectLst/>
        </p:spPr>
        <p:txBody>
          <a:bodyPr anchor="ctr"/>
          <a:lstStyle/>
          <a:p>
            <a:pPr marL="0" marR="0" lvl="0" indent="0" algn="ctr" defTabSz="896070" eaLnBrk="1" fontAlgn="auto" latinLnBrk="0" hangingPunct="1">
              <a:lnSpc>
                <a:spcPct val="100000"/>
              </a:lnSpc>
              <a:spcBef>
                <a:spcPts val="0"/>
              </a:spcBef>
              <a:spcAft>
                <a:spcPts val="0"/>
              </a:spcAft>
              <a:buClrTx/>
              <a:buSzTx/>
              <a:buFontTx/>
              <a:buNone/>
              <a:tabLst/>
              <a:defRPr/>
            </a:pPr>
            <a:endParaRPr kumimoji="0" lang="en-US" sz="2161" b="0" i="0" u="none" strike="noStrike" kern="0" cap="none" spc="0" normalizeH="0" baseline="0" noProof="0" dirty="0" err="1">
              <a:ln>
                <a:noFill/>
              </a:ln>
              <a:solidFill>
                <a:prstClr val="black"/>
              </a:solidFill>
              <a:effectLst/>
              <a:uLnTx/>
              <a:uFillTx/>
              <a:latin typeface="Arial"/>
              <a:sym typeface="Gill Sans" panose="020B0502020104020203" pitchFamily="34" charset="-79"/>
            </a:endParaRPr>
          </a:p>
        </p:txBody>
      </p:sp>
      <p:sp>
        <p:nvSpPr>
          <p:cNvPr id="457" name="TextBox 456">
            <a:extLst>
              <a:ext uri="{FF2B5EF4-FFF2-40B4-BE49-F238E27FC236}">
                <a16:creationId xmlns:a16="http://schemas.microsoft.com/office/drawing/2014/main" id="{EBC16C0C-5E39-42A9-B7A0-DBB3AFFD2A54}"/>
              </a:ext>
            </a:extLst>
          </p:cNvPr>
          <p:cNvSpPr txBox="1"/>
          <p:nvPr/>
        </p:nvSpPr>
        <p:spPr>
          <a:xfrm>
            <a:off x="4853851" y="4610370"/>
            <a:ext cx="1266693" cy="213007"/>
          </a:xfrm>
          <a:prstGeom prst="rect">
            <a:avLst/>
          </a:prstGeom>
          <a:noFill/>
        </p:spPr>
        <p:txBody>
          <a:bodyPr wrap="none" rtlCol="0">
            <a:spAutoFit/>
          </a:bodyPr>
          <a:lstStyle/>
          <a:p>
            <a:pPr defTabSz="914206" fontAlgn="base">
              <a:spcBef>
                <a:spcPct val="0"/>
              </a:spcBef>
              <a:spcAft>
                <a:spcPct val="0"/>
              </a:spcAft>
              <a:defRPr/>
            </a:pPr>
            <a:r>
              <a:rPr lang="en-US" sz="784" kern="0" dirty="0">
                <a:solidFill>
                  <a:prstClr val="black"/>
                </a:solidFill>
              </a:rPr>
              <a:t>Paludisme</a:t>
            </a:r>
            <a:r>
              <a:rPr lang="en-US" sz="784" kern="0" dirty="0">
                <a:solidFill>
                  <a:prstClr val="black"/>
                </a:solidFill>
                <a:latin typeface="Arial" charset="0"/>
              </a:rPr>
              <a:t> and </a:t>
            </a:r>
            <a:r>
              <a:rPr lang="en-US" sz="784" kern="0" dirty="0">
                <a:solidFill>
                  <a:prstClr val="black"/>
                </a:solidFill>
              </a:rPr>
              <a:t>SRMNIA</a:t>
            </a:r>
            <a:endParaRPr lang="en-US" sz="784" kern="0" dirty="0">
              <a:solidFill>
                <a:prstClr val="black"/>
              </a:solidFill>
              <a:latin typeface="Arial" charset="0"/>
            </a:endParaRPr>
          </a:p>
        </p:txBody>
      </p:sp>
      <p:sp>
        <p:nvSpPr>
          <p:cNvPr id="458" name="TextBox 457">
            <a:extLst>
              <a:ext uri="{FF2B5EF4-FFF2-40B4-BE49-F238E27FC236}">
                <a16:creationId xmlns:a16="http://schemas.microsoft.com/office/drawing/2014/main" id="{0D05FFDA-E5BC-44ED-8E80-BE1BFE3575AC}"/>
              </a:ext>
            </a:extLst>
          </p:cNvPr>
          <p:cNvSpPr txBox="1"/>
          <p:nvPr/>
        </p:nvSpPr>
        <p:spPr>
          <a:xfrm>
            <a:off x="4853851" y="5126124"/>
            <a:ext cx="574196" cy="213007"/>
          </a:xfrm>
          <a:prstGeom prst="rect">
            <a:avLst/>
          </a:prstGeom>
          <a:noFill/>
        </p:spPr>
        <p:txBody>
          <a:bodyPr wrap="none" rtlCol="0">
            <a:spAutoFit/>
          </a:bodyPr>
          <a:lstStyle/>
          <a:p>
            <a:pPr defTabSz="914206" fontAlgn="base">
              <a:spcBef>
                <a:spcPct val="0"/>
              </a:spcBef>
              <a:spcAft>
                <a:spcPct val="0"/>
              </a:spcAft>
              <a:defRPr/>
            </a:pPr>
            <a:r>
              <a:rPr lang="en-US" sz="784" kern="0" dirty="0">
                <a:solidFill>
                  <a:prstClr val="black"/>
                </a:solidFill>
              </a:rPr>
              <a:t>SRMNIA</a:t>
            </a:r>
            <a:endParaRPr lang="en-US" sz="784" kern="0" dirty="0">
              <a:solidFill>
                <a:prstClr val="black"/>
              </a:solidFill>
              <a:latin typeface="Arial" charset="0"/>
            </a:endParaRPr>
          </a:p>
        </p:txBody>
      </p:sp>
      <p:sp>
        <p:nvSpPr>
          <p:cNvPr id="459" name="TextBox 458">
            <a:extLst>
              <a:ext uri="{FF2B5EF4-FFF2-40B4-BE49-F238E27FC236}">
                <a16:creationId xmlns:a16="http://schemas.microsoft.com/office/drawing/2014/main" id="{B8C92F6F-3304-45F9-B044-E90FCE7C3D14}"/>
              </a:ext>
            </a:extLst>
          </p:cNvPr>
          <p:cNvSpPr txBox="1"/>
          <p:nvPr/>
        </p:nvSpPr>
        <p:spPr>
          <a:xfrm>
            <a:off x="4853851" y="5641878"/>
            <a:ext cx="401072" cy="213007"/>
          </a:xfrm>
          <a:prstGeom prst="rect">
            <a:avLst/>
          </a:prstGeom>
          <a:noFill/>
        </p:spPr>
        <p:txBody>
          <a:bodyPr wrap="none" rtlCol="0">
            <a:spAutoFit/>
          </a:bodyPr>
          <a:lstStyle/>
          <a:p>
            <a:pPr defTabSz="914206" fontAlgn="base">
              <a:spcBef>
                <a:spcPct val="0"/>
              </a:spcBef>
              <a:spcAft>
                <a:spcPct val="0"/>
              </a:spcAft>
              <a:defRPr/>
            </a:pPr>
            <a:r>
              <a:rPr lang="en-US" sz="784" kern="0" dirty="0">
                <a:solidFill>
                  <a:prstClr val="black"/>
                </a:solidFill>
              </a:rPr>
              <a:t>MTN</a:t>
            </a:r>
            <a:endParaRPr lang="en-US" sz="784" kern="0" dirty="0">
              <a:solidFill>
                <a:prstClr val="black"/>
              </a:solidFill>
              <a:latin typeface="Arial" charset="0"/>
            </a:endParaRPr>
          </a:p>
        </p:txBody>
      </p:sp>
      <p:sp>
        <p:nvSpPr>
          <p:cNvPr id="460" name="5-Point Star 154">
            <a:extLst>
              <a:ext uri="{FF2B5EF4-FFF2-40B4-BE49-F238E27FC236}">
                <a16:creationId xmlns:a16="http://schemas.microsoft.com/office/drawing/2014/main" id="{26B2F7FA-186D-4A98-83DE-A9B8DDE2E259}"/>
              </a:ext>
            </a:extLst>
          </p:cNvPr>
          <p:cNvSpPr/>
          <p:nvPr/>
        </p:nvSpPr>
        <p:spPr bwMode="auto">
          <a:xfrm>
            <a:off x="4641858" y="5672613"/>
            <a:ext cx="156650" cy="140065"/>
          </a:xfrm>
          <a:prstGeom prst="star5">
            <a:avLst>
              <a:gd name="adj" fmla="val 12874"/>
              <a:gd name="hf" fmla="val 105146"/>
              <a:gd name="vf" fmla="val 110557"/>
            </a:avLst>
          </a:prstGeom>
          <a:solidFill>
            <a:srgbClr val="FF0000"/>
          </a:solidFill>
          <a:ln w="9525" cap="flat" cmpd="sng" algn="ctr">
            <a:solidFill>
              <a:sysClr val="windowText" lastClr="000000"/>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marL="0" marR="0" lvl="0" indent="0" algn="ctr" defTabSz="890973" eaLnBrk="1" fontAlgn="base" latinLnBrk="0" hangingPunct="1">
              <a:lnSpc>
                <a:spcPct val="100000"/>
              </a:lnSpc>
              <a:spcBef>
                <a:spcPct val="0"/>
              </a:spcBef>
              <a:spcAft>
                <a:spcPct val="0"/>
              </a:spcAft>
              <a:buClrTx/>
              <a:buSzTx/>
              <a:buFontTx/>
              <a:buNone/>
              <a:tabLst/>
              <a:defRPr/>
            </a:pPr>
            <a:endParaRPr kumimoji="0" lang="en-GB" sz="1289" b="0" i="0" u="none" strike="noStrike" kern="0" cap="none" spc="0" normalizeH="0" baseline="0" noProof="0">
              <a:ln>
                <a:noFill/>
              </a:ln>
              <a:solidFill>
                <a:srgbClr val="000000"/>
              </a:solidFill>
              <a:effectLst/>
              <a:uLnTx/>
              <a:uFillTx/>
              <a:latin typeface="Arial" charset="0"/>
            </a:endParaRPr>
          </a:p>
        </p:txBody>
      </p:sp>
      <p:sp>
        <p:nvSpPr>
          <p:cNvPr id="461" name="5-Point Star 154">
            <a:extLst>
              <a:ext uri="{FF2B5EF4-FFF2-40B4-BE49-F238E27FC236}">
                <a16:creationId xmlns:a16="http://schemas.microsoft.com/office/drawing/2014/main" id="{422D9196-2A67-4303-B6E3-DD8B931C2643}"/>
              </a:ext>
            </a:extLst>
          </p:cNvPr>
          <p:cNvSpPr/>
          <p:nvPr/>
        </p:nvSpPr>
        <p:spPr bwMode="auto">
          <a:xfrm>
            <a:off x="6557891" y="3603598"/>
            <a:ext cx="173815" cy="145516"/>
          </a:xfrm>
          <a:prstGeom prst="star5">
            <a:avLst>
              <a:gd name="adj" fmla="val 12874"/>
              <a:gd name="hf" fmla="val 105146"/>
              <a:gd name="vf" fmla="val 110557"/>
            </a:avLst>
          </a:prstGeom>
          <a:solidFill>
            <a:srgbClr val="FF0000"/>
          </a:solidFill>
          <a:ln w="9525" cap="flat" cmpd="sng" algn="ctr">
            <a:solidFill>
              <a:sysClr val="windowText" lastClr="000000"/>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marL="0" marR="0" lvl="0" indent="0" algn="ctr" defTabSz="890973" eaLnBrk="1" fontAlgn="base" latinLnBrk="0" hangingPunct="1">
              <a:lnSpc>
                <a:spcPct val="100000"/>
              </a:lnSpc>
              <a:spcBef>
                <a:spcPct val="0"/>
              </a:spcBef>
              <a:spcAft>
                <a:spcPct val="0"/>
              </a:spcAft>
              <a:buClrTx/>
              <a:buSzTx/>
              <a:buFontTx/>
              <a:buNone/>
              <a:tabLst/>
              <a:defRPr/>
            </a:pPr>
            <a:endParaRPr kumimoji="0" lang="en-GB" sz="1289" b="0" i="0" u="none" strike="noStrike" kern="0" cap="none" spc="0" normalizeH="0" baseline="0" noProof="0">
              <a:ln>
                <a:noFill/>
              </a:ln>
              <a:solidFill>
                <a:srgbClr val="000000"/>
              </a:solidFill>
              <a:effectLst/>
              <a:uLnTx/>
              <a:uFillTx/>
              <a:latin typeface="Arial" charset="0"/>
            </a:endParaRPr>
          </a:p>
        </p:txBody>
      </p:sp>
      <p:sp>
        <p:nvSpPr>
          <p:cNvPr id="462" name="5-Point Star 154">
            <a:extLst>
              <a:ext uri="{FF2B5EF4-FFF2-40B4-BE49-F238E27FC236}">
                <a16:creationId xmlns:a16="http://schemas.microsoft.com/office/drawing/2014/main" id="{23D1CDAE-8606-4EF2-BB94-B6730A950E95}"/>
              </a:ext>
            </a:extLst>
          </p:cNvPr>
          <p:cNvSpPr/>
          <p:nvPr/>
        </p:nvSpPr>
        <p:spPr bwMode="auto">
          <a:xfrm>
            <a:off x="6673151" y="5055874"/>
            <a:ext cx="173815" cy="145516"/>
          </a:xfrm>
          <a:prstGeom prst="star5">
            <a:avLst>
              <a:gd name="adj" fmla="val 12874"/>
              <a:gd name="hf" fmla="val 105146"/>
              <a:gd name="vf" fmla="val 110557"/>
            </a:avLst>
          </a:prstGeom>
          <a:solidFill>
            <a:srgbClr val="FF0000"/>
          </a:solidFill>
          <a:ln w="9525" cap="flat" cmpd="sng" algn="ctr">
            <a:solidFill>
              <a:sysClr val="windowText" lastClr="000000"/>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marL="0" marR="0" lvl="0" indent="0" algn="ctr" defTabSz="890973" eaLnBrk="1" fontAlgn="base" latinLnBrk="0" hangingPunct="1">
              <a:lnSpc>
                <a:spcPct val="100000"/>
              </a:lnSpc>
              <a:spcBef>
                <a:spcPct val="0"/>
              </a:spcBef>
              <a:spcAft>
                <a:spcPct val="0"/>
              </a:spcAft>
              <a:buClrTx/>
              <a:buSzTx/>
              <a:buFontTx/>
              <a:buNone/>
              <a:tabLst/>
              <a:defRPr/>
            </a:pPr>
            <a:endParaRPr kumimoji="0" lang="en-GB" sz="1289" b="0" i="0" u="none" strike="noStrike" kern="0" cap="none" spc="0" normalizeH="0" baseline="0" noProof="0">
              <a:ln>
                <a:noFill/>
              </a:ln>
              <a:solidFill>
                <a:srgbClr val="000000"/>
              </a:solidFill>
              <a:effectLst/>
              <a:uLnTx/>
              <a:uFillTx/>
              <a:latin typeface="Arial" charset="0"/>
            </a:endParaRPr>
          </a:p>
        </p:txBody>
      </p:sp>
      <p:sp>
        <p:nvSpPr>
          <p:cNvPr id="463" name="5-Point Star 154">
            <a:extLst>
              <a:ext uri="{FF2B5EF4-FFF2-40B4-BE49-F238E27FC236}">
                <a16:creationId xmlns:a16="http://schemas.microsoft.com/office/drawing/2014/main" id="{439625DE-0EA4-4C03-94DD-054CD06AB9F9}"/>
              </a:ext>
            </a:extLst>
          </p:cNvPr>
          <p:cNvSpPr/>
          <p:nvPr/>
        </p:nvSpPr>
        <p:spPr bwMode="auto">
          <a:xfrm>
            <a:off x="7372395" y="2573942"/>
            <a:ext cx="173815" cy="145516"/>
          </a:xfrm>
          <a:prstGeom prst="star5">
            <a:avLst>
              <a:gd name="adj" fmla="val 12874"/>
              <a:gd name="hf" fmla="val 105146"/>
              <a:gd name="vf" fmla="val 110557"/>
            </a:avLst>
          </a:prstGeom>
          <a:solidFill>
            <a:srgbClr val="FF0000"/>
          </a:solidFill>
          <a:ln w="9525" cap="flat" cmpd="sng" algn="ctr">
            <a:solidFill>
              <a:sysClr val="windowText" lastClr="000000"/>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marL="0" marR="0" lvl="0" indent="0" algn="ctr" defTabSz="890973" eaLnBrk="1" fontAlgn="base" latinLnBrk="0" hangingPunct="1">
              <a:lnSpc>
                <a:spcPct val="100000"/>
              </a:lnSpc>
              <a:spcBef>
                <a:spcPct val="0"/>
              </a:spcBef>
              <a:spcAft>
                <a:spcPct val="0"/>
              </a:spcAft>
              <a:buClrTx/>
              <a:buSzTx/>
              <a:buFontTx/>
              <a:buNone/>
              <a:tabLst/>
              <a:defRPr/>
            </a:pPr>
            <a:endParaRPr kumimoji="0" lang="en-GB" sz="1289" b="0" i="0" u="none" strike="noStrike" kern="0" cap="none" spc="0" normalizeH="0" baseline="0" noProof="0">
              <a:ln>
                <a:noFill/>
              </a:ln>
              <a:solidFill>
                <a:srgbClr val="000000"/>
              </a:solidFill>
              <a:effectLst/>
              <a:uLnTx/>
              <a:uFillTx/>
              <a:latin typeface="Arial" charset="0"/>
            </a:endParaRPr>
          </a:p>
        </p:txBody>
      </p:sp>
      <p:sp>
        <p:nvSpPr>
          <p:cNvPr id="464" name="5-Point Star 154">
            <a:extLst>
              <a:ext uri="{FF2B5EF4-FFF2-40B4-BE49-F238E27FC236}">
                <a16:creationId xmlns:a16="http://schemas.microsoft.com/office/drawing/2014/main" id="{FDE1B86C-FF09-42A6-8931-20584B22D9DA}"/>
              </a:ext>
            </a:extLst>
          </p:cNvPr>
          <p:cNvSpPr/>
          <p:nvPr/>
        </p:nvSpPr>
        <p:spPr bwMode="auto">
          <a:xfrm>
            <a:off x="7644258" y="4394883"/>
            <a:ext cx="173815" cy="145516"/>
          </a:xfrm>
          <a:prstGeom prst="star5">
            <a:avLst>
              <a:gd name="adj" fmla="val 12874"/>
              <a:gd name="hf" fmla="val 105146"/>
              <a:gd name="vf" fmla="val 110557"/>
            </a:avLst>
          </a:prstGeom>
          <a:solidFill>
            <a:srgbClr val="FF0000"/>
          </a:solidFill>
          <a:ln w="9525" cap="flat" cmpd="sng" algn="ctr">
            <a:solidFill>
              <a:sysClr val="windowText" lastClr="000000"/>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marL="0" marR="0" lvl="0" indent="0" algn="ctr" defTabSz="890973" eaLnBrk="1" fontAlgn="base" latinLnBrk="0" hangingPunct="1">
              <a:lnSpc>
                <a:spcPct val="100000"/>
              </a:lnSpc>
              <a:spcBef>
                <a:spcPct val="0"/>
              </a:spcBef>
              <a:spcAft>
                <a:spcPct val="0"/>
              </a:spcAft>
              <a:buClrTx/>
              <a:buSzTx/>
              <a:buFontTx/>
              <a:buNone/>
              <a:tabLst/>
              <a:defRPr/>
            </a:pPr>
            <a:endParaRPr kumimoji="0" lang="en-GB" sz="1289" b="0" i="0" u="none" strike="noStrike" kern="0" cap="none" spc="0" normalizeH="0" baseline="0" noProof="0">
              <a:ln>
                <a:noFill/>
              </a:ln>
              <a:solidFill>
                <a:srgbClr val="000000"/>
              </a:solidFill>
              <a:effectLst/>
              <a:uLnTx/>
              <a:uFillTx/>
              <a:latin typeface="Arial" charset="0"/>
            </a:endParaRPr>
          </a:p>
        </p:txBody>
      </p:sp>
      <p:sp>
        <p:nvSpPr>
          <p:cNvPr id="465" name="5-Point Star 154">
            <a:extLst>
              <a:ext uri="{FF2B5EF4-FFF2-40B4-BE49-F238E27FC236}">
                <a16:creationId xmlns:a16="http://schemas.microsoft.com/office/drawing/2014/main" id="{998F5BD5-E259-439B-90EF-6402DA3CEA8A}"/>
              </a:ext>
            </a:extLst>
          </p:cNvPr>
          <p:cNvSpPr/>
          <p:nvPr/>
        </p:nvSpPr>
        <p:spPr bwMode="auto">
          <a:xfrm>
            <a:off x="6015699" y="2761008"/>
            <a:ext cx="173815" cy="145516"/>
          </a:xfrm>
          <a:prstGeom prst="star5">
            <a:avLst>
              <a:gd name="adj" fmla="val 12874"/>
              <a:gd name="hf" fmla="val 105146"/>
              <a:gd name="vf" fmla="val 110557"/>
            </a:avLst>
          </a:prstGeom>
          <a:solidFill>
            <a:srgbClr val="FF0000"/>
          </a:solidFill>
          <a:ln w="9525" cap="flat" cmpd="sng" algn="ctr">
            <a:solidFill>
              <a:sysClr val="windowText" lastClr="000000"/>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marL="0" marR="0" lvl="0" indent="0" algn="ctr" defTabSz="890973" eaLnBrk="1" fontAlgn="base" latinLnBrk="0" hangingPunct="1">
              <a:lnSpc>
                <a:spcPct val="100000"/>
              </a:lnSpc>
              <a:spcBef>
                <a:spcPct val="0"/>
              </a:spcBef>
              <a:spcAft>
                <a:spcPct val="0"/>
              </a:spcAft>
              <a:buClrTx/>
              <a:buSzTx/>
              <a:buFontTx/>
              <a:buNone/>
              <a:tabLst/>
              <a:defRPr/>
            </a:pPr>
            <a:endParaRPr kumimoji="0" lang="en-GB" sz="1289" b="0" i="0" u="none" strike="noStrike" kern="0" cap="none" spc="0" normalizeH="0" baseline="0" noProof="0">
              <a:ln>
                <a:noFill/>
              </a:ln>
              <a:solidFill>
                <a:srgbClr val="000000"/>
              </a:solidFill>
              <a:effectLst/>
              <a:uLnTx/>
              <a:uFillTx/>
              <a:latin typeface="Arial" charset="0"/>
            </a:endParaRPr>
          </a:p>
        </p:txBody>
      </p:sp>
      <p:sp>
        <p:nvSpPr>
          <p:cNvPr id="466" name="5-Point Star 154">
            <a:extLst>
              <a:ext uri="{FF2B5EF4-FFF2-40B4-BE49-F238E27FC236}">
                <a16:creationId xmlns:a16="http://schemas.microsoft.com/office/drawing/2014/main" id="{A8845F46-0709-47C1-9DFB-BFBD1C048D5E}"/>
              </a:ext>
            </a:extLst>
          </p:cNvPr>
          <p:cNvSpPr/>
          <p:nvPr/>
        </p:nvSpPr>
        <p:spPr bwMode="auto">
          <a:xfrm>
            <a:off x="7402523" y="3773652"/>
            <a:ext cx="173815" cy="145516"/>
          </a:xfrm>
          <a:prstGeom prst="star5">
            <a:avLst>
              <a:gd name="adj" fmla="val 12874"/>
              <a:gd name="hf" fmla="val 105146"/>
              <a:gd name="vf" fmla="val 110557"/>
            </a:avLst>
          </a:prstGeom>
          <a:solidFill>
            <a:srgbClr val="FF0000"/>
          </a:solidFill>
          <a:ln w="9525" cap="flat" cmpd="sng" algn="ctr">
            <a:solidFill>
              <a:sysClr val="windowText" lastClr="000000"/>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marL="0" marR="0" lvl="0" indent="0" algn="ctr" defTabSz="890973" eaLnBrk="1" fontAlgn="base" latinLnBrk="0" hangingPunct="1">
              <a:lnSpc>
                <a:spcPct val="100000"/>
              </a:lnSpc>
              <a:spcBef>
                <a:spcPct val="0"/>
              </a:spcBef>
              <a:spcAft>
                <a:spcPct val="0"/>
              </a:spcAft>
              <a:buClrTx/>
              <a:buSzTx/>
              <a:buFontTx/>
              <a:buNone/>
              <a:tabLst/>
              <a:defRPr/>
            </a:pPr>
            <a:endParaRPr kumimoji="0" lang="en-GB" sz="1289" b="0" i="0" u="none" strike="noStrike" kern="0" cap="none" spc="0" normalizeH="0" baseline="0" noProof="0">
              <a:ln>
                <a:noFill/>
              </a:ln>
              <a:solidFill>
                <a:srgbClr val="000000"/>
              </a:solidFill>
              <a:effectLst/>
              <a:uLnTx/>
              <a:uFillTx/>
              <a:latin typeface="Arial" charset="0"/>
            </a:endParaRPr>
          </a:p>
        </p:txBody>
      </p:sp>
      <p:sp>
        <p:nvSpPr>
          <p:cNvPr id="467" name="TextBox 466">
            <a:extLst>
              <a:ext uri="{FF2B5EF4-FFF2-40B4-BE49-F238E27FC236}">
                <a16:creationId xmlns:a16="http://schemas.microsoft.com/office/drawing/2014/main" id="{F0AF47E0-25F5-4954-B911-E7572C5D057C}"/>
              </a:ext>
            </a:extLst>
          </p:cNvPr>
          <p:cNvSpPr txBox="1"/>
          <p:nvPr/>
        </p:nvSpPr>
        <p:spPr>
          <a:xfrm>
            <a:off x="4853851" y="5384001"/>
            <a:ext cx="1712328" cy="213007"/>
          </a:xfrm>
          <a:prstGeom prst="rect">
            <a:avLst/>
          </a:prstGeom>
          <a:noFill/>
        </p:spPr>
        <p:txBody>
          <a:bodyPr wrap="none" rtlCol="0">
            <a:spAutoFit/>
          </a:bodyPr>
          <a:lstStyle/>
          <a:p>
            <a:pPr defTabSz="914206" fontAlgn="base">
              <a:spcBef>
                <a:spcPct val="0"/>
              </a:spcBef>
              <a:spcAft>
                <a:spcPct val="0"/>
              </a:spcAft>
              <a:defRPr/>
            </a:pPr>
            <a:r>
              <a:rPr lang="en-US" sz="784" kern="0" dirty="0">
                <a:solidFill>
                  <a:prstClr val="black"/>
                </a:solidFill>
                <a:latin typeface="Arial" charset="0"/>
              </a:rPr>
              <a:t>Carte de Score de la </a:t>
            </a:r>
            <a:r>
              <a:rPr lang="en-US" sz="784" kern="0" dirty="0" err="1">
                <a:solidFill>
                  <a:prstClr val="black"/>
                </a:solidFill>
                <a:latin typeface="Arial" charset="0"/>
              </a:rPr>
              <a:t>communauté</a:t>
            </a:r>
            <a:endParaRPr lang="en-US" sz="784" kern="0" dirty="0">
              <a:solidFill>
                <a:prstClr val="black"/>
              </a:solidFill>
              <a:latin typeface="Arial" charset="0"/>
            </a:endParaRPr>
          </a:p>
        </p:txBody>
      </p:sp>
      <p:sp>
        <p:nvSpPr>
          <p:cNvPr id="468" name="5-Point Star 154">
            <a:extLst>
              <a:ext uri="{FF2B5EF4-FFF2-40B4-BE49-F238E27FC236}">
                <a16:creationId xmlns:a16="http://schemas.microsoft.com/office/drawing/2014/main" id="{AFC6107E-EA11-43EB-A7CF-D1E901BD2F7A}"/>
              </a:ext>
            </a:extLst>
          </p:cNvPr>
          <p:cNvSpPr/>
          <p:nvPr/>
        </p:nvSpPr>
        <p:spPr bwMode="auto">
          <a:xfrm>
            <a:off x="4633276" y="5440022"/>
            <a:ext cx="173815" cy="145516"/>
          </a:xfrm>
          <a:prstGeom prst="star5">
            <a:avLst>
              <a:gd name="adj" fmla="val 12874"/>
              <a:gd name="hf" fmla="val 105146"/>
              <a:gd name="vf" fmla="val 110557"/>
            </a:avLst>
          </a:prstGeom>
          <a:solidFill>
            <a:srgbClr val="00B0F0"/>
          </a:solidFill>
          <a:ln w="9525" cap="flat" cmpd="sng" algn="ctr">
            <a:solidFill>
              <a:sysClr val="windowText" lastClr="000000"/>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marL="0" marR="0" lvl="0" indent="0" algn="ctr" defTabSz="890973" eaLnBrk="1" fontAlgn="base" latinLnBrk="0" hangingPunct="1">
              <a:lnSpc>
                <a:spcPct val="100000"/>
              </a:lnSpc>
              <a:spcBef>
                <a:spcPct val="0"/>
              </a:spcBef>
              <a:spcAft>
                <a:spcPct val="0"/>
              </a:spcAft>
              <a:buClrTx/>
              <a:buSzTx/>
              <a:buFontTx/>
              <a:buNone/>
              <a:tabLst/>
              <a:defRPr/>
            </a:pPr>
            <a:endParaRPr kumimoji="0" lang="en-GB" sz="1289" b="0" i="0" u="none" strike="noStrike" kern="0" cap="none" spc="0" normalizeH="0" baseline="0" noProof="0">
              <a:ln>
                <a:noFill/>
              </a:ln>
              <a:solidFill>
                <a:srgbClr val="000000"/>
              </a:solidFill>
              <a:effectLst/>
              <a:uLnTx/>
              <a:uFillTx/>
              <a:latin typeface="Arial" charset="0"/>
            </a:endParaRPr>
          </a:p>
        </p:txBody>
      </p:sp>
      <p:sp>
        <p:nvSpPr>
          <p:cNvPr id="469" name="5-Point Star 154">
            <a:extLst>
              <a:ext uri="{FF2B5EF4-FFF2-40B4-BE49-F238E27FC236}">
                <a16:creationId xmlns:a16="http://schemas.microsoft.com/office/drawing/2014/main" id="{28F56F9A-A56C-48D3-BAEB-B03595FD7E6B}"/>
              </a:ext>
            </a:extLst>
          </p:cNvPr>
          <p:cNvSpPr/>
          <p:nvPr/>
        </p:nvSpPr>
        <p:spPr bwMode="auto">
          <a:xfrm>
            <a:off x="5570824" y="3109553"/>
            <a:ext cx="173815" cy="145516"/>
          </a:xfrm>
          <a:prstGeom prst="star5">
            <a:avLst>
              <a:gd name="adj" fmla="val 12874"/>
              <a:gd name="hf" fmla="val 105146"/>
              <a:gd name="vf" fmla="val 110557"/>
            </a:avLst>
          </a:prstGeom>
          <a:solidFill>
            <a:srgbClr val="00B0F0"/>
          </a:solidFill>
          <a:ln w="9525" cap="flat" cmpd="sng" algn="ctr">
            <a:solidFill>
              <a:sysClr val="windowText" lastClr="000000"/>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marL="0" marR="0" lvl="0" indent="0" algn="ctr" defTabSz="890973" eaLnBrk="1" fontAlgn="base" latinLnBrk="0" hangingPunct="1">
              <a:lnSpc>
                <a:spcPct val="100000"/>
              </a:lnSpc>
              <a:spcBef>
                <a:spcPct val="0"/>
              </a:spcBef>
              <a:spcAft>
                <a:spcPct val="0"/>
              </a:spcAft>
              <a:buClrTx/>
              <a:buSzTx/>
              <a:buFontTx/>
              <a:buNone/>
              <a:tabLst/>
              <a:defRPr/>
            </a:pPr>
            <a:endParaRPr kumimoji="0" lang="en-GB" sz="1289" b="0" i="0" u="none" strike="noStrike" kern="0" cap="none" spc="0" normalizeH="0" baseline="0" noProof="0">
              <a:ln>
                <a:noFill/>
              </a:ln>
              <a:solidFill>
                <a:srgbClr val="000000"/>
              </a:solidFill>
              <a:effectLst/>
              <a:uLnTx/>
              <a:uFillTx/>
              <a:latin typeface="Arial" charset="0"/>
            </a:endParaRPr>
          </a:p>
        </p:txBody>
      </p:sp>
      <p:sp>
        <p:nvSpPr>
          <p:cNvPr id="470" name="5-Point Star 154">
            <a:extLst>
              <a:ext uri="{FF2B5EF4-FFF2-40B4-BE49-F238E27FC236}">
                <a16:creationId xmlns:a16="http://schemas.microsoft.com/office/drawing/2014/main" id="{A5E73CD2-DB03-4CEE-ABDC-63C2220D2A2C}"/>
              </a:ext>
            </a:extLst>
          </p:cNvPr>
          <p:cNvSpPr/>
          <p:nvPr/>
        </p:nvSpPr>
        <p:spPr bwMode="auto">
          <a:xfrm>
            <a:off x="7952525" y="3003227"/>
            <a:ext cx="173815" cy="145516"/>
          </a:xfrm>
          <a:prstGeom prst="star5">
            <a:avLst>
              <a:gd name="adj" fmla="val 12874"/>
              <a:gd name="hf" fmla="val 105146"/>
              <a:gd name="vf" fmla="val 110557"/>
            </a:avLst>
          </a:prstGeom>
          <a:solidFill>
            <a:srgbClr val="00B0F0"/>
          </a:solidFill>
          <a:ln w="9525" cap="flat" cmpd="sng" algn="ctr">
            <a:solidFill>
              <a:sysClr val="windowText" lastClr="000000"/>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marL="0" marR="0" lvl="0" indent="0" algn="ctr" defTabSz="890973" eaLnBrk="1" fontAlgn="base" latinLnBrk="0" hangingPunct="1">
              <a:lnSpc>
                <a:spcPct val="100000"/>
              </a:lnSpc>
              <a:spcBef>
                <a:spcPct val="0"/>
              </a:spcBef>
              <a:spcAft>
                <a:spcPct val="0"/>
              </a:spcAft>
              <a:buClrTx/>
              <a:buSzTx/>
              <a:buFontTx/>
              <a:buNone/>
              <a:tabLst/>
              <a:defRPr/>
            </a:pPr>
            <a:endParaRPr kumimoji="0" lang="en-GB" sz="1289" b="0" i="0" u="none" strike="noStrike" kern="0" cap="none" spc="0" normalizeH="0" baseline="0" noProof="0">
              <a:ln>
                <a:noFill/>
              </a:ln>
              <a:solidFill>
                <a:srgbClr val="000000"/>
              </a:solidFill>
              <a:effectLst/>
              <a:uLnTx/>
              <a:uFillTx/>
              <a:latin typeface="Arial" charset="0"/>
            </a:endParaRPr>
          </a:p>
        </p:txBody>
      </p:sp>
      <p:sp>
        <p:nvSpPr>
          <p:cNvPr id="471" name="5-Point Star 154">
            <a:extLst>
              <a:ext uri="{FF2B5EF4-FFF2-40B4-BE49-F238E27FC236}">
                <a16:creationId xmlns:a16="http://schemas.microsoft.com/office/drawing/2014/main" id="{7F48711F-120A-4267-88CE-59284B4F4BFC}"/>
              </a:ext>
            </a:extLst>
          </p:cNvPr>
          <p:cNvSpPr/>
          <p:nvPr/>
        </p:nvSpPr>
        <p:spPr bwMode="auto">
          <a:xfrm>
            <a:off x="7660127" y="4497107"/>
            <a:ext cx="173815" cy="145516"/>
          </a:xfrm>
          <a:prstGeom prst="star5">
            <a:avLst>
              <a:gd name="adj" fmla="val 12874"/>
              <a:gd name="hf" fmla="val 105146"/>
              <a:gd name="vf" fmla="val 110557"/>
            </a:avLst>
          </a:prstGeom>
          <a:solidFill>
            <a:srgbClr val="00B0F0"/>
          </a:solidFill>
          <a:ln w="9525" cap="flat" cmpd="sng" algn="ctr">
            <a:solidFill>
              <a:sysClr val="windowText" lastClr="000000"/>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marL="0" marR="0" lvl="0" indent="0" algn="ctr" defTabSz="890973" eaLnBrk="1" fontAlgn="base" latinLnBrk="0" hangingPunct="1">
              <a:lnSpc>
                <a:spcPct val="100000"/>
              </a:lnSpc>
              <a:spcBef>
                <a:spcPct val="0"/>
              </a:spcBef>
              <a:spcAft>
                <a:spcPct val="0"/>
              </a:spcAft>
              <a:buClrTx/>
              <a:buSzTx/>
              <a:buFontTx/>
              <a:buNone/>
              <a:tabLst/>
              <a:defRPr/>
            </a:pPr>
            <a:endParaRPr kumimoji="0" lang="en-GB" sz="1289" b="0" i="0" u="none" strike="noStrike" kern="0" cap="none" spc="0" normalizeH="0" baseline="0" noProof="0">
              <a:ln>
                <a:noFill/>
              </a:ln>
              <a:solidFill>
                <a:srgbClr val="000000"/>
              </a:solidFill>
              <a:effectLst/>
              <a:uLnTx/>
              <a:uFillTx/>
              <a:latin typeface="Arial" charset="0"/>
            </a:endParaRPr>
          </a:p>
        </p:txBody>
      </p:sp>
      <p:sp>
        <p:nvSpPr>
          <p:cNvPr id="472" name="5-Point Star 154">
            <a:extLst>
              <a:ext uri="{FF2B5EF4-FFF2-40B4-BE49-F238E27FC236}">
                <a16:creationId xmlns:a16="http://schemas.microsoft.com/office/drawing/2014/main" id="{370F9CCE-2B9A-4407-8338-01146168F9D2}"/>
              </a:ext>
            </a:extLst>
          </p:cNvPr>
          <p:cNvSpPr/>
          <p:nvPr/>
        </p:nvSpPr>
        <p:spPr bwMode="auto">
          <a:xfrm>
            <a:off x="7112550" y="4566220"/>
            <a:ext cx="173815" cy="145516"/>
          </a:xfrm>
          <a:prstGeom prst="star5">
            <a:avLst>
              <a:gd name="adj" fmla="val 12874"/>
              <a:gd name="hf" fmla="val 105146"/>
              <a:gd name="vf" fmla="val 110557"/>
            </a:avLst>
          </a:prstGeom>
          <a:solidFill>
            <a:srgbClr val="00B0F0"/>
          </a:solidFill>
          <a:ln w="9525" cap="flat" cmpd="sng" algn="ctr">
            <a:solidFill>
              <a:sysClr val="windowText" lastClr="000000"/>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marL="0" marR="0" lvl="0" indent="0" algn="ctr" defTabSz="890973" eaLnBrk="1" fontAlgn="base" latinLnBrk="0" hangingPunct="1">
              <a:lnSpc>
                <a:spcPct val="100000"/>
              </a:lnSpc>
              <a:spcBef>
                <a:spcPct val="0"/>
              </a:spcBef>
              <a:spcAft>
                <a:spcPct val="0"/>
              </a:spcAft>
              <a:buClrTx/>
              <a:buSzTx/>
              <a:buFontTx/>
              <a:buNone/>
              <a:tabLst/>
              <a:defRPr/>
            </a:pPr>
            <a:endParaRPr kumimoji="0" lang="en-GB" sz="1289" b="0" i="0" u="none" strike="noStrike" kern="0" cap="none" spc="0" normalizeH="0" baseline="0" noProof="0">
              <a:ln>
                <a:noFill/>
              </a:ln>
              <a:solidFill>
                <a:srgbClr val="000000"/>
              </a:solidFill>
              <a:effectLst/>
              <a:uLnTx/>
              <a:uFillTx/>
              <a:latin typeface="Arial" charset="0"/>
            </a:endParaRPr>
          </a:p>
        </p:txBody>
      </p:sp>
      <p:sp>
        <p:nvSpPr>
          <p:cNvPr id="473" name="5-Point Star 154">
            <a:extLst>
              <a:ext uri="{FF2B5EF4-FFF2-40B4-BE49-F238E27FC236}">
                <a16:creationId xmlns:a16="http://schemas.microsoft.com/office/drawing/2014/main" id="{166B3E43-52DA-44F4-B1F0-FC40377270E1}"/>
              </a:ext>
            </a:extLst>
          </p:cNvPr>
          <p:cNvSpPr/>
          <p:nvPr/>
        </p:nvSpPr>
        <p:spPr bwMode="auto">
          <a:xfrm>
            <a:off x="4805277" y="2726781"/>
            <a:ext cx="173815" cy="145516"/>
          </a:xfrm>
          <a:prstGeom prst="star5">
            <a:avLst>
              <a:gd name="adj" fmla="val 12874"/>
              <a:gd name="hf" fmla="val 105146"/>
              <a:gd name="vf" fmla="val 110557"/>
            </a:avLst>
          </a:prstGeom>
          <a:solidFill>
            <a:srgbClr val="00B0F0"/>
          </a:solidFill>
          <a:ln w="9525" cap="flat" cmpd="sng" algn="ctr">
            <a:solidFill>
              <a:sysClr val="windowText" lastClr="000000"/>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marL="0" marR="0" lvl="0" indent="0" algn="ctr" defTabSz="890973" eaLnBrk="1" fontAlgn="base" latinLnBrk="0" hangingPunct="1">
              <a:lnSpc>
                <a:spcPct val="100000"/>
              </a:lnSpc>
              <a:spcBef>
                <a:spcPct val="0"/>
              </a:spcBef>
              <a:spcAft>
                <a:spcPct val="0"/>
              </a:spcAft>
              <a:buClrTx/>
              <a:buSzTx/>
              <a:buFontTx/>
              <a:buNone/>
              <a:tabLst/>
              <a:defRPr/>
            </a:pPr>
            <a:endParaRPr kumimoji="0" lang="en-GB" sz="1289" b="0" i="0" u="none" strike="noStrike" kern="0" cap="none" spc="0" normalizeH="0" baseline="0" noProof="0">
              <a:ln>
                <a:noFill/>
              </a:ln>
              <a:solidFill>
                <a:srgbClr val="000000"/>
              </a:solidFill>
              <a:effectLst/>
              <a:uLnTx/>
              <a:uFillTx/>
              <a:latin typeface="Arial" charset="0"/>
            </a:endParaRPr>
          </a:p>
        </p:txBody>
      </p:sp>
    </p:spTree>
    <p:custDataLst>
      <p:tags r:id="rId1"/>
    </p:custDataLst>
    <p:extLst>
      <p:ext uri="{BB962C8B-B14F-4D97-AF65-F5344CB8AC3E}">
        <p14:creationId xmlns:p14="http://schemas.microsoft.com/office/powerpoint/2010/main" val="4180964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8AF855-51A3-4214-A72C-A6C555D18924}"/>
              </a:ext>
            </a:extLst>
          </p:cNvPr>
          <p:cNvSpPr>
            <a:spLocks noGrp="1"/>
          </p:cNvSpPr>
          <p:nvPr>
            <p:ph type="title"/>
          </p:nvPr>
        </p:nvSpPr>
        <p:spPr>
          <a:xfrm>
            <a:off x="799735" y="422771"/>
            <a:ext cx="8618536" cy="714741"/>
          </a:xfrm>
        </p:spPr>
        <p:txBody>
          <a:bodyPr/>
          <a:lstStyle/>
          <a:p>
            <a:r>
              <a:rPr lang="en-US" sz="2744" dirty="0" err="1"/>
              <a:t>Contexte</a:t>
            </a:r>
            <a:r>
              <a:rPr lang="en-US" sz="2744" dirty="0"/>
              <a:t> carte de score SRMNIA du Burundi</a:t>
            </a:r>
            <a:br>
              <a:rPr lang="en-US" dirty="0"/>
            </a:br>
            <a:endParaRPr lang="en-US" dirty="0"/>
          </a:p>
        </p:txBody>
      </p:sp>
      <p:sp>
        <p:nvSpPr>
          <p:cNvPr id="3" name="Rectangle 2">
            <a:extLst>
              <a:ext uri="{FF2B5EF4-FFF2-40B4-BE49-F238E27FC236}">
                <a16:creationId xmlns:a16="http://schemas.microsoft.com/office/drawing/2014/main" id="{C9B12611-67F0-4F4A-A3F1-B108B42C33D1}"/>
              </a:ext>
            </a:extLst>
          </p:cNvPr>
          <p:cNvSpPr/>
          <p:nvPr/>
        </p:nvSpPr>
        <p:spPr>
          <a:xfrm>
            <a:off x="450986" y="1164641"/>
            <a:ext cx="8109135" cy="4776692"/>
          </a:xfrm>
          <a:prstGeom prst="rect">
            <a:avLst/>
          </a:prstGeom>
        </p:spPr>
        <p:txBody>
          <a:bodyPr wrap="square">
            <a:spAutoFit/>
          </a:bodyPr>
          <a:lstStyle/>
          <a:p>
            <a:pPr marL="280035" indent="-280035">
              <a:spcBef>
                <a:spcPts val="1176"/>
              </a:spcBef>
              <a:buFont typeface="Arial" panose="020B0604020202020204" pitchFamily="34" charset="0"/>
              <a:buChar char="•"/>
            </a:pPr>
            <a:r>
              <a:rPr lang="fr-FR" sz="1960" b="1" dirty="0"/>
              <a:t>Octobre 2014 : </a:t>
            </a:r>
            <a:r>
              <a:rPr lang="fr-FR" sz="1960" dirty="0"/>
              <a:t>Le </a:t>
            </a:r>
            <a:r>
              <a:rPr lang="fr-FR" sz="1960" dirty="0" err="1"/>
              <a:t>MdSP</a:t>
            </a:r>
            <a:r>
              <a:rPr lang="fr-FR" sz="1960" dirty="0"/>
              <a:t> Burundi, avec l'appui de l'ALMA et d'autres partenaires (OMS, USAID, UNICEF et UNFPA), a développé un outil de gestion des cartes de score pour la santé reproductive, mère, nouveau-né, enfant et adolescent (SRMNIA). Le résultat final : un tableau de bord trimestriel composé de 16 indicateurs régionaux et de district répartis en 6 catégories et de 7 indicateurs nationaux, couvrant le continuum des soins et le système de santé.</a:t>
            </a:r>
          </a:p>
          <a:p>
            <a:pPr marL="280035" indent="-280035">
              <a:spcBef>
                <a:spcPts val="1176"/>
              </a:spcBef>
              <a:buFont typeface="Arial" panose="020B0604020202020204" pitchFamily="34" charset="0"/>
              <a:buChar char="•"/>
            </a:pPr>
            <a:r>
              <a:rPr lang="fr-FR" sz="1960" b="1" dirty="0"/>
              <a:t>Juin 2018 : </a:t>
            </a:r>
            <a:r>
              <a:rPr lang="fr-FR" sz="1960" dirty="0"/>
              <a:t>Visite de soutien à l'ALMA pour identifier les possibilités de renforcer l'utilisation de la carte de score et d'apprendre les bonnes pratiques. Comprenant la révision des indicateurs de la carte de score, l'établissement d'un lien avec le système DHIS2 et une formation supplémentaire sur la plate-forme Web.</a:t>
            </a:r>
          </a:p>
          <a:p>
            <a:pPr marL="280035" indent="-280035">
              <a:spcBef>
                <a:spcPts val="1176"/>
              </a:spcBef>
              <a:buFont typeface="Arial" panose="020B0604020202020204" pitchFamily="34" charset="0"/>
              <a:buChar char="•"/>
            </a:pPr>
            <a:r>
              <a:rPr lang="fr-FR" sz="1960" b="1" dirty="0"/>
              <a:t>Juillet 2019 : </a:t>
            </a:r>
            <a:r>
              <a:rPr lang="fr-FR" sz="1960" dirty="0"/>
              <a:t>Visite de suivi de l'ALMA</a:t>
            </a:r>
          </a:p>
          <a:p>
            <a:pPr marL="280035" indent="-280035">
              <a:spcBef>
                <a:spcPts val="1176"/>
              </a:spcBef>
              <a:buFont typeface="Arial" panose="020B0604020202020204" pitchFamily="34" charset="0"/>
              <a:buChar char="•"/>
            </a:pPr>
            <a:r>
              <a:rPr lang="fr-FR" sz="1960" b="1" dirty="0"/>
              <a:t>Juin 2021: </a:t>
            </a:r>
            <a:r>
              <a:rPr lang="fr-FR" sz="1960" dirty="0"/>
              <a:t>révision des indicateurs</a:t>
            </a:r>
            <a:endParaRPr lang="en-US" sz="1960" dirty="0"/>
          </a:p>
        </p:txBody>
      </p:sp>
    </p:spTree>
    <p:extLst>
      <p:ext uri="{BB962C8B-B14F-4D97-AF65-F5344CB8AC3E}">
        <p14:creationId xmlns:p14="http://schemas.microsoft.com/office/powerpoint/2010/main" val="24179656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sp>
        <p:nvSpPr>
          <p:cNvPr id="11" name="TextBox 10">
            <a:extLst>
              <a:ext uri="{FF2B5EF4-FFF2-40B4-BE49-F238E27FC236}">
                <a16:creationId xmlns:a16="http://schemas.microsoft.com/office/drawing/2014/main" id="{3096C8CA-BA43-4F5A-855F-30F86DB8F4B7}"/>
              </a:ext>
            </a:extLst>
          </p:cNvPr>
          <p:cNvSpPr txBox="1"/>
          <p:nvPr/>
        </p:nvSpPr>
        <p:spPr>
          <a:xfrm>
            <a:off x="118473" y="601795"/>
            <a:ext cx="5587132" cy="338554"/>
          </a:xfrm>
          <a:prstGeom prst="rect">
            <a:avLst/>
          </a:prstGeom>
          <a:noFill/>
        </p:spPr>
        <p:txBody>
          <a:bodyPr wrap="square" rtlCol="0">
            <a:spAutoFit/>
          </a:bodyPr>
          <a:lstStyle/>
          <a:p>
            <a:r>
              <a:rPr lang="en-US" dirty="0"/>
              <a:t>Extrait - Carte de score de SRMNIA Burundi T1 2021</a:t>
            </a:r>
            <a:endParaRPr lang="fr-FR" dirty="0"/>
          </a:p>
        </p:txBody>
      </p:sp>
      <p:pic>
        <p:nvPicPr>
          <p:cNvPr id="3" name="Picture 2">
            <a:extLst>
              <a:ext uri="{FF2B5EF4-FFF2-40B4-BE49-F238E27FC236}">
                <a16:creationId xmlns:a16="http://schemas.microsoft.com/office/drawing/2014/main" id="{139EE3B4-3C0D-4AA0-BD59-1BEA0B99DBA0}"/>
              </a:ext>
            </a:extLst>
          </p:cNvPr>
          <p:cNvPicPr>
            <a:picLocks noChangeAspect="1"/>
          </p:cNvPicPr>
          <p:nvPr/>
        </p:nvPicPr>
        <p:blipFill>
          <a:blip r:embed="rId3"/>
          <a:stretch>
            <a:fillRect/>
          </a:stretch>
        </p:blipFill>
        <p:spPr>
          <a:xfrm>
            <a:off x="-794" y="1304961"/>
            <a:ext cx="8961438" cy="5102370"/>
          </a:xfrm>
          <a:prstGeom prst="rect">
            <a:avLst/>
          </a:prstGeom>
        </p:spPr>
      </p:pic>
    </p:spTree>
    <p:extLst>
      <p:ext uri="{BB962C8B-B14F-4D97-AF65-F5344CB8AC3E}">
        <p14:creationId xmlns:p14="http://schemas.microsoft.com/office/powerpoint/2010/main" val="1326785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sp>
        <p:nvSpPr>
          <p:cNvPr id="11" name="TextBox 10">
            <a:extLst>
              <a:ext uri="{FF2B5EF4-FFF2-40B4-BE49-F238E27FC236}">
                <a16:creationId xmlns:a16="http://schemas.microsoft.com/office/drawing/2014/main" id="{3096C8CA-BA43-4F5A-855F-30F86DB8F4B7}"/>
              </a:ext>
            </a:extLst>
          </p:cNvPr>
          <p:cNvSpPr txBox="1"/>
          <p:nvPr/>
        </p:nvSpPr>
        <p:spPr>
          <a:xfrm>
            <a:off x="828493" y="439718"/>
            <a:ext cx="8132945" cy="369332"/>
          </a:xfrm>
          <a:prstGeom prst="rect">
            <a:avLst/>
          </a:prstGeom>
          <a:noFill/>
        </p:spPr>
        <p:txBody>
          <a:bodyPr wrap="square" rtlCol="0">
            <a:spAutoFit/>
          </a:bodyPr>
          <a:lstStyle/>
          <a:p>
            <a:r>
              <a:rPr lang="fr-FR" sz="1800" b="1" dirty="0">
                <a:solidFill>
                  <a:srgbClr val="000000"/>
                </a:solidFill>
                <a:effectLst/>
                <a:latin typeface="+mj-lt"/>
                <a:ea typeface="Times New Roman" panose="02020603050405020304" pitchFamily="18" charset="0"/>
              </a:rPr>
              <a:t>VIDEO: Vue d’ensemble de la plate-forme web de la carte de score</a:t>
            </a:r>
            <a:endParaRPr lang="fr-FR" b="1" dirty="0">
              <a:latin typeface="+mj-lt"/>
            </a:endParaRPr>
          </a:p>
        </p:txBody>
      </p:sp>
      <p:pic>
        <p:nvPicPr>
          <p:cNvPr id="2" name="Online Media 1" title="Vue d’ensemble de la plate forme Web de la carte de score">
            <a:hlinkClick r:id="" action="ppaction://media"/>
            <a:extLst>
              <a:ext uri="{FF2B5EF4-FFF2-40B4-BE49-F238E27FC236}">
                <a16:creationId xmlns:a16="http://schemas.microsoft.com/office/drawing/2014/main" id="{B8FB563D-0C8B-4F35-AEAD-0931E995B94C}"/>
              </a:ext>
            </a:extLst>
          </p:cNvPr>
          <p:cNvPicPr>
            <a:picLocks noRot="1" noChangeAspect="1"/>
          </p:cNvPicPr>
          <p:nvPr>
            <a:videoFile r:link="rId1"/>
          </p:nvPr>
        </p:nvPicPr>
        <p:blipFill>
          <a:blip r:embed="rId4"/>
          <a:stretch>
            <a:fillRect/>
          </a:stretch>
        </p:blipFill>
        <p:spPr>
          <a:xfrm>
            <a:off x="874474" y="891059"/>
            <a:ext cx="7210902" cy="5408176"/>
          </a:xfrm>
          <a:prstGeom prst="rect">
            <a:avLst/>
          </a:prstGeom>
        </p:spPr>
      </p:pic>
      <p:sp>
        <p:nvSpPr>
          <p:cNvPr id="6" name="TextBox 5">
            <a:extLst>
              <a:ext uri="{FF2B5EF4-FFF2-40B4-BE49-F238E27FC236}">
                <a16:creationId xmlns:a16="http://schemas.microsoft.com/office/drawing/2014/main" id="{9876B0EC-0B7F-4E5A-95D1-665192EF47E7}"/>
              </a:ext>
            </a:extLst>
          </p:cNvPr>
          <p:cNvSpPr txBox="1"/>
          <p:nvPr/>
        </p:nvSpPr>
        <p:spPr>
          <a:xfrm>
            <a:off x="0" y="6381245"/>
            <a:ext cx="6532880" cy="369332"/>
          </a:xfrm>
          <a:prstGeom prst="rect">
            <a:avLst/>
          </a:prstGeom>
          <a:noFill/>
        </p:spPr>
        <p:txBody>
          <a:bodyPr wrap="square" rtlCol="0">
            <a:spAutoFit/>
          </a:bodyPr>
          <a:lstStyle/>
          <a:p>
            <a:r>
              <a:rPr lang="fr-FR" sz="1800" dirty="0">
                <a:hlinkClick r:id="rId5">
                  <a:extLst>
                    <a:ext uri="{A12FA001-AC4F-418D-AE19-62706E023703}">
                      <ahyp:hlinkClr xmlns:ahyp="http://schemas.microsoft.com/office/drawing/2018/hyperlinkcolor" val="tx"/>
                    </a:ext>
                  </a:extLst>
                </a:hlinkClick>
              </a:rPr>
              <a:t>Télécharger la vidéo </a:t>
            </a:r>
            <a:endParaRPr lang="fr-FR" sz="1800" dirty="0"/>
          </a:p>
        </p:txBody>
      </p:sp>
    </p:spTree>
    <p:extLst>
      <p:ext uri="{BB962C8B-B14F-4D97-AF65-F5344CB8AC3E}">
        <p14:creationId xmlns:p14="http://schemas.microsoft.com/office/powerpoint/2010/main" val="1619404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854" y="1787"/>
          <a:ext cx="1587" cy="1587"/>
        </p:xfrm>
        <a:graphic>
          <a:graphicData uri="http://schemas.openxmlformats.org/presentationml/2006/ole">
            <mc:AlternateContent xmlns:mc="http://schemas.openxmlformats.org/markup-compatibility/2006">
              <mc:Choice xmlns:v="urn:schemas-microsoft-com:vml" Requires="v">
                <p:oleObj spid="_x0000_s13313" name="think-cell Slide" r:id="rId4" imgW="360" imgH="360" progId="TCLayout.ActiveDocument.1">
                  <p:embed/>
                </p:oleObj>
              </mc:Choice>
              <mc:Fallback>
                <p:oleObj name="think-cell Slide" r:id="rId4" imgW="360" imgH="360" progId="TCLayout.ActiveDocument.1">
                  <p:embed/>
                  <p:pic>
                    <p:nvPicPr>
                      <p:cNvPr id="14" name="Object 1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54" y="1787"/>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2" name="Title 1">
            <a:extLst>
              <a:ext uri="{FF2B5EF4-FFF2-40B4-BE49-F238E27FC236}">
                <a16:creationId xmlns:a16="http://schemas.microsoft.com/office/drawing/2014/main" id="{83D1E52C-BC42-B74C-98EE-EBCED29AE471}"/>
              </a:ext>
            </a:extLst>
          </p:cNvPr>
          <p:cNvSpPr>
            <a:spLocks noGrp="1"/>
          </p:cNvSpPr>
          <p:nvPr>
            <p:ph type="title"/>
          </p:nvPr>
        </p:nvSpPr>
        <p:spPr bwMode="gray">
          <a:xfrm>
            <a:off x="317070" y="127258"/>
            <a:ext cx="7260524" cy="90486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r>
              <a:rPr lang="fr-FR" sz="1960" b="0" dirty="0"/>
              <a:t>L'outil de gestion carte de score en ligne (plate-forme Web) comprend diverses fonctionnalités de </a:t>
            </a:r>
            <a:r>
              <a:rPr lang="fr-FR" sz="1960" b="0" u="sng" dirty="0"/>
              <a:t>visualisation de données</a:t>
            </a:r>
            <a:r>
              <a:rPr lang="fr-FR" sz="1960" b="0" dirty="0"/>
              <a:t> et </a:t>
            </a:r>
            <a:r>
              <a:rPr lang="fr-FR" sz="1960" b="0" u="sng" dirty="0"/>
              <a:t>gestion </a:t>
            </a:r>
            <a:endParaRPr lang="en-US" sz="1960" b="0" u="sng" dirty="0"/>
          </a:p>
        </p:txBody>
      </p:sp>
      <p:sp>
        <p:nvSpPr>
          <p:cNvPr id="12" name="Rectangle 11">
            <a:extLst>
              <a:ext uri="{FF2B5EF4-FFF2-40B4-BE49-F238E27FC236}">
                <a16:creationId xmlns:a16="http://schemas.microsoft.com/office/drawing/2014/main" id="{8B0811B4-00ED-684C-A508-08C82EDD3E93}"/>
              </a:ext>
            </a:extLst>
          </p:cNvPr>
          <p:cNvSpPr/>
          <p:nvPr/>
        </p:nvSpPr>
        <p:spPr>
          <a:xfrm>
            <a:off x="7706730" y="1016252"/>
            <a:ext cx="61740" cy="26430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defRPr/>
            </a:pPr>
            <a:endParaRPr lang="en-US" sz="1200" dirty="0" err="1">
              <a:solidFill>
                <a:prstClr val="black"/>
              </a:solidFill>
              <a:latin typeface="Arial"/>
            </a:endParaRPr>
          </a:p>
        </p:txBody>
      </p:sp>
      <p:sp>
        <p:nvSpPr>
          <p:cNvPr id="18" name="Rectangle 17">
            <a:extLst>
              <a:ext uri="{FF2B5EF4-FFF2-40B4-BE49-F238E27FC236}">
                <a16:creationId xmlns:a16="http://schemas.microsoft.com/office/drawing/2014/main" id="{753F45C4-8B79-284B-B54F-771C0A401C20}"/>
              </a:ext>
            </a:extLst>
          </p:cNvPr>
          <p:cNvSpPr/>
          <p:nvPr/>
        </p:nvSpPr>
        <p:spPr>
          <a:xfrm>
            <a:off x="317069" y="5933883"/>
            <a:ext cx="8327300" cy="282250"/>
          </a:xfrm>
          <a:prstGeom prst="rect">
            <a:avLst/>
          </a:prstGeom>
          <a:solidFill>
            <a:schemeClr val="accent1"/>
          </a:solid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61728" rIns="61728" bIns="61728" rtlCol="0" anchor="ctr"/>
          <a:lstStyle/>
          <a:p>
            <a:pPr algn="ctr" defTabSz="969766" fontAlgn="auto">
              <a:spcBef>
                <a:spcPts val="294"/>
              </a:spcBef>
              <a:spcAft>
                <a:spcPts val="588"/>
              </a:spcAft>
              <a:buClr>
                <a:srgbClr val="FFD200"/>
              </a:buClr>
              <a:buSzPct val="70000"/>
              <a:defRPr/>
            </a:pPr>
            <a:r>
              <a:rPr lang="fr-FR" sz="1372" dirty="0">
                <a:solidFill>
                  <a:prstClr val="black"/>
                </a:solidFill>
              </a:rPr>
              <a:t>Accédez au site avec votre compte personnel: </a:t>
            </a:r>
            <a:r>
              <a:rPr lang="en-GB" sz="1372" dirty="0">
                <a:solidFill>
                  <a:prstClr val="black"/>
                </a:solidFill>
                <a:latin typeface="Arial"/>
              </a:rPr>
              <a:t>www.rmncah.org</a:t>
            </a:r>
          </a:p>
        </p:txBody>
      </p:sp>
      <p:sp>
        <p:nvSpPr>
          <p:cNvPr id="20" name="Rectangle 19">
            <a:extLst>
              <a:ext uri="{FF2B5EF4-FFF2-40B4-BE49-F238E27FC236}">
                <a16:creationId xmlns:a16="http://schemas.microsoft.com/office/drawing/2014/main" id="{B505A635-FF86-F745-AD73-1B96252CB89F}"/>
              </a:ext>
            </a:extLst>
          </p:cNvPr>
          <p:cNvSpPr/>
          <p:nvPr/>
        </p:nvSpPr>
        <p:spPr>
          <a:xfrm>
            <a:off x="317069" y="2876346"/>
            <a:ext cx="1411250" cy="2991533"/>
          </a:xfrm>
          <a:prstGeom prst="rect">
            <a:avLst/>
          </a:prstGeom>
          <a:no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141125" rIns="61728" bIns="61728" rtlCol="0" anchor="t"/>
          <a:lstStyle/>
          <a:p>
            <a:pPr algn="ctr" defTabSz="896112" fontAlgn="auto">
              <a:spcBef>
                <a:spcPts val="294"/>
              </a:spcBef>
              <a:spcAft>
                <a:spcPts val="588"/>
              </a:spcAft>
              <a:defRPr/>
            </a:pPr>
            <a:r>
              <a:rPr lang="fr-FR" sz="1300" dirty="0">
                <a:solidFill>
                  <a:prstClr val="black"/>
                </a:solidFill>
              </a:rPr>
              <a:t>La carte de score indique la performance trimestrielle des indicateurs de priorité aux niveaux national, régional et des districts.</a:t>
            </a:r>
            <a:r>
              <a:rPr lang="en-GB" sz="980" dirty="0">
                <a:solidFill>
                  <a:prstClr val="black"/>
                </a:solidFill>
                <a:latin typeface="Arial"/>
              </a:rPr>
              <a:t> </a:t>
            </a:r>
          </a:p>
        </p:txBody>
      </p:sp>
      <p:sp>
        <p:nvSpPr>
          <p:cNvPr id="21" name="Rectangle 20">
            <a:extLst>
              <a:ext uri="{FF2B5EF4-FFF2-40B4-BE49-F238E27FC236}">
                <a16:creationId xmlns:a16="http://schemas.microsoft.com/office/drawing/2014/main" id="{55302494-5AA2-7747-A28D-09BF7ED86756}"/>
              </a:ext>
            </a:extLst>
          </p:cNvPr>
          <p:cNvSpPr/>
          <p:nvPr/>
        </p:nvSpPr>
        <p:spPr>
          <a:xfrm>
            <a:off x="7261499" y="2876347"/>
            <a:ext cx="1411250" cy="2977394"/>
          </a:xfrm>
          <a:prstGeom prst="rect">
            <a:avLst/>
          </a:prstGeom>
          <a:no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141125" rIns="61728" bIns="61728" rtlCol="0" anchor="t"/>
          <a:lstStyle/>
          <a:p>
            <a:pPr algn="ctr" defTabSz="969766" fontAlgn="auto">
              <a:spcBef>
                <a:spcPts val="294"/>
              </a:spcBef>
              <a:spcAft>
                <a:spcPts val="588"/>
              </a:spcAft>
              <a:buClr>
                <a:srgbClr val="FFD200"/>
              </a:buClr>
              <a:buSzPct val="70000"/>
              <a:defRPr/>
            </a:pPr>
            <a:r>
              <a:rPr lang="fr-FR" sz="1300" dirty="0">
                <a:solidFill>
                  <a:prstClr val="black"/>
                </a:solidFill>
              </a:rPr>
              <a:t>Un système automatisé de notification par SMS alerte les propriétaires d'actions sur les actions en attente et les échéances à venir</a:t>
            </a:r>
            <a:endParaRPr lang="en-GB" sz="1300" dirty="0">
              <a:solidFill>
                <a:prstClr val="black"/>
              </a:solidFill>
              <a:latin typeface="Arial"/>
            </a:endParaRPr>
          </a:p>
        </p:txBody>
      </p:sp>
      <p:sp>
        <p:nvSpPr>
          <p:cNvPr id="23" name="Rectangle 22">
            <a:extLst>
              <a:ext uri="{FF2B5EF4-FFF2-40B4-BE49-F238E27FC236}">
                <a16:creationId xmlns:a16="http://schemas.microsoft.com/office/drawing/2014/main" id="{664DD281-0CAC-C542-9C3F-F60D7EBC944D}"/>
              </a:ext>
            </a:extLst>
          </p:cNvPr>
          <p:cNvSpPr/>
          <p:nvPr/>
        </p:nvSpPr>
        <p:spPr>
          <a:xfrm>
            <a:off x="2025214" y="2886154"/>
            <a:ext cx="1411250" cy="2981726"/>
          </a:xfrm>
          <a:prstGeom prst="rect">
            <a:avLst/>
          </a:prstGeom>
          <a:no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141125" rIns="61728" bIns="61728" rtlCol="0" anchor="t"/>
          <a:lstStyle/>
          <a:p>
            <a:pPr algn="ctr" defTabSz="896112" fontAlgn="auto">
              <a:spcBef>
                <a:spcPts val="294"/>
              </a:spcBef>
              <a:spcAft>
                <a:spcPts val="588"/>
              </a:spcAft>
              <a:defRPr/>
            </a:pPr>
            <a:r>
              <a:rPr lang="fr-FR" sz="1300" dirty="0">
                <a:solidFill>
                  <a:prstClr val="black"/>
                </a:solidFill>
              </a:rPr>
              <a:t>Les graphiques, cartes, vues sous-nationales et vues d’indicateurs fournissent un contexte supplémentaire en montrant la performance des indicateurs dans le temps</a:t>
            </a:r>
            <a:endParaRPr lang="en-US" sz="1300" i="1" dirty="0">
              <a:solidFill>
                <a:prstClr val="black"/>
              </a:solidFill>
              <a:latin typeface="Arial"/>
            </a:endParaRPr>
          </a:p>
        </p:txBody>
      </p:sp>
      <p:sp>
        <p:nvSpPr>
          <p:cNvPr id="24" name="Rectangle 23">
            <a:extLst>
              <a:ext uri="{FF2B5EF4-FFF2-40B4-BE49-F238E27FC236}">
                <a16:creationId xmlns:a16="http://schemas.microsoft.com/office/drawing/2014/main" id="{5D2AEBFD-D95F-1D41-B05C-C201261CCE1D}"/>
              </a:ext>
            </a:extLst>
          </p:cNvPr>
          <p:cNvSpPr/>
          <p:nvPr/>
        </p:nvSpPr>
        <p:spPr>
          <a:xfrm>
            <a:off x="317069" y="1212893"/>
            <a:ext cx="1411250" cy="352813"/>
          </a:xfrm>
          <a:prstGeom prst="rect">
            <a:avLst/>
          </a:prstGeom>
          <a:solidFill>
            <a:srgbClr val="FFC000"/>
          </a:solid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61728" rIns="61728" bIns="61728" rtlCol="0" anchor="ctr"/>
          <a:lstStyle/>
          <a:p>
            <a:pPr algn="ctr" defTabSz="969766" fontAlgn="auto">
              <a:spcBef>
                <a:spcPts val="294"/>
              </a:spcBef>
              <a:spcAft>
                <a:spcPts val="588"/>
              </a:spcAft>
              <a:buClr>
                <a:srgbClr val="FFD200"/>
              </a:buClr>
              <a:buSzPct val="70000"/>
              <a:defRPr/>
            </a:pPr>
            <a:r>
              <a:rPr lang="en-US" sz="980" b="1" dirty="0">
                <a:solidFill>
                  <a:prstClr val="black"/>
                </a:solidFill>
                <a:latin typeface="Arial"/>
              </a:rPr>
              <a:t>Carte de score</a:t>
            </a:r>
          </a:p>
        </p:txBody>
      </p:sp>
      <p:sp>
        <p:nvSpPr>
          <p:cNvPr id="26" name="Rectangle 25">
            <a:extLst>
              <a:ext uri="{FF2B5EF4-FFF2-40B4-BE49-F238E27FC236}">
                <a16:creationId xmlns:a16="http://schemas.microsoft.com/office/drawing/2014/main" id="{F4603912-B6E3-3F46-B5E2-40D2A23F1829}"/>
              </a:ext>
            </a:extLst>
          </p:cNvPr>
          <p:cNvSpPr/>
          <p:nvPr/>
        </p:nvSpPr>
        <p:spPr>
          <a:xfrm>
            <a:off x="7261350" y="1212893"/>
            <a:ext cx="1411250" cy="352813"/>
          </a:xfrm>
          <a:prstGeom prst="rect">
            <a:avLst/>
          </a:prstGeom>
          <a:solidFill>
            <a:srgbClr val="FFC000"/>
          </a:solid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61728" rIns="61728" bIns="61728" rtlCol="0" anchor="ctr"/>
          <a:lstStyle/>
          <a:p>
            <a:pPr algn="ctr" defTabSz="969766" fontAlgn="auto">
              <a:spcBef>
                <a:spcPts val="294"/>
              </a:spcBef>
              <a:spcAft>
                <a:spcPts val="588"/>
              </a:spcAft>
              <a:buClr>
                <a:srgbClr val="FFD200"/>
              </a:buClr>
              <a:buSzPct val="70000"/>
              <a:defRPr/>
            </a:pPr>
            <a:r>
              <a:rPr lang="en-US" sz="980" b="1" dirty="0">
                <a:solidFill>
                  <a:prstClr val="black"/>
                </a:solidFill>
              </a:rPr>
              <a:t>Notifications SMS</a:t>
            </a:r>
            <a:endParaRPr lang="en-US" sz="980" b="1" dirty="0">
              <a:solidFill>
                <a:prstClr val="black"/>
              </a:solidFill>
              <a:latin typeface="Arial"/>
            </a:endParaRPr>
          </a:p>
        </p:txBody>
      </p:sp>
      <p:sp>
        <p:nvSpPr>
          <p:cNvPr id="27" name="Rectangle 26">
            <a:extLst>
              <a:ext uri="{FF2B5EF4-FFF2-40B4-BE49-F238E27FC236}">
                <a16:creationId xmlns:a16="http://schemas.microsoft.com/office/drawing/2014/main" id="{DEA3F949-1FE2-B64E-8EE1-6DDCAE6D02CF}"/>
              </a:ext>
            </a:extLst>
          </p:cNvPr>
          <p:cNvSpPr/>
          <p:nvPr/>
        </p:nvSpPr>
        <p:spPr>
          <a:xfrm>
            <a:off x="2025016" y="1212893"/>
            <a:ext cx="1411250" cy="352813"/>
          </a:xfrm>
          <a:prstGeom prst="rect">
            <a:avLst/>
          </a:prstGeom>
          <a:solidFill>
            <a:srgbClr val="FFC000"/>
          </a:solid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61728" rIns="61728" bIns="61728" rtlCol="0" anchor="ctr"/>
          <a:lstStyle/>
          <a:p>
            <a:pPr algn="ctr" defTabSz="969766" fontAlgn="auto">
              <a:spcBef>
                <a:spcPts val="294"/>
              </a:spcBef>
              <a:spcAft>
                <a:spcPts val="588"/>
              </a:spcAft>
              <a:buClr>
                <a:srgbClr val="FFD200"/>
              </a:buClr>
              <a:buSzPct val="70000"/>
              <a:defRPr/>
            </a:pPr>
            <a:r>
              <a:rPr lang="en-US" sz="980" b="1" dirty="0" err="1">
                <a:solidFill>
                  <a:prstClr val="black"/>
                </a:solidFill>
              </a:rPr>
              <a:t>Visualisation</a:t>
            </a:r>
            <a:r>
              <a:rPr lang="en-US" sz="980" b="1" dirty="0">
                <a:solidFill>
                  <a:prstClr val="black"/>
                </a:solidFill>
              </a:rPr>
              <a:t> de </a:t>
            </a:r>
            <a:r>
              <a:rPr lang="en-US" sz="980" b="1" dirty="0" err="1">
                <a:solidFill>
                  <a:prstClr val="black"/>
                </a:solidFill>
              </a:rPr>
              <a:t>données</a:t>
            </a:r>
            <a:r>
              <a:rPr lang="en-US" sz="980" b="1" dirty="0">
                <a:solidFill>
                  <a:prstClr val="black"/>
                </a:solidFill>
              </a:rPr>
              <a:t> </a:t>
            </a:r>
            <a:endParaRPr lang="en-US" sz="980" b="1" dirty="0">
              <a:solidFill>
                <a:prstClr val="black"/>
              </a:solidFill>
              <a:latin typeface="Arial"/>
            </a:endParaRPr>
          </a:p>
        </p:txBody>
      </p:sp>
      <p:grpSp>
        <p:nvGrpSpPr>
          <p:cNvPr id="42" name="Group 41">
            <a:extLst>
              <a:ext uri="{FF2B5EF4-FFF2-40B4-BE49-F238E27FC236}">
                <a16:creationId xmlns:a16="http://schemas.microsoft.com/office/drawing/2014/main" id="{1F1157EB-9756-7340-BA35-77F58ED12FA6}"/>
              </a:ext>
            </a:extLst>
          </p:cNvPr>
          <p:cNvGrpSpPr/>
          <p:nvPr/>
        </p:nvGrpSpPr>
        <p:grpSpPr>
          <a:xfrm>
            <a:off x="317069" y="1575774"/>
            <a:ext cx="1411150" cy="1196366"/>
            <a:chOff x="133644" y="914400"/>
            <a:chExt cx="8827794" cy="4722437"/>
          </a:xfrm>
        </p:grpSpPr>
        <p:pic>
          <p:nvPicPr>
            <p:cNvPr id="43" name="Picture 42">
              <a:extLst>
                <a:ext uri="{FF2B5EF4-FFF2-40B4-BE49-F238E27FC236}">
                  <a16:creationId xmlns:a16="http://schemas.microsoft.com/office/drawing/2014/main" id="{53F40169-1E32-E94F-B408-FD9922B4606F}"/>
                </a:ext>
              </a:extLst>
            </p:cNvPr>
            <p:cNvPicPr>
              <a:picLocks noChangeAspect="1"/>
            </p:cNvPicPr>
            <p:nvPr/>
          </p:nvPicPr>
          <p:blipFill>
            <a:blip r:embed="rId6"/>
            <a:stretch>
              <a:fillRect/>
            </a:stretch>
          </p:blipFill>
          <p:spPr>
            <a:xfrm>
              <a:off x="133644" y="1152525"/>
              <a:ext cx="8827794" cy="4484312"/>
            </a:xfrm>
            <a:prstGeom prst="rect">
              <a:avLst/>
            </a:prstGeom>
          </p:spPr>
        </p:pic>
        <p:sp>
          <p:nvSpPr>
            <p:cNvPr id="44" name="Rectangle 43">
              <a:extLst>
                <a:ext uri="{FF2B5EF4-FFF2-40B4-BE49-F238E27FC236}">
                  <a16:creationId xmlns:a16="http://schemas.microsoft.com/office/drawing/2014/main" id="{08365004-4028-B544-AE2E-5E5726633752}"/>
                </a:ext>
              </a:extLst>
            </p:cNvPr>
            <p:cNvSpPr/>
            <p:nvPr/>
          </p:nvSpPr>
          <p:spPr>
            <a:xfrm>
              <a:off x="8096250" y="914400"/>
              <a:ext cx="855663" cy="79057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defRPr/>
              </a:pPr>
              <a:endParaRPr lang="en-GB" sz="1800" dirty="0" err="1">
                <a:solidFill>
                  <a:prstClr val="black"/>
                </a:solidFill>
                <a:latin typeface="Arial"/>
              </a:endParaRPr>
            </a:p>
          </p:txBody>
        </p:sp>
      </p:grpSp>
      <p:grpSp>
        <p:nvGrpSpPr>
          <p:cNvPr id="45" name="Group 44">
            <a:extLst>
              <a:ext uri="{FF2B5EF4-FFF2-40B4-BE49-F238E27FC236}">
                <a16:creationId xmlns:a16="http://schemas.microsoft.com/office/drawing/2014/main" id="{07C9B54F-DE5B-8C4E-88ED-61AA0F43D8D5}"/>
              </a:ext>
            </a:extLst>
          </p:cNvPr>
          <p:cNvGrpSpPr/>
          <p:nvPr/>
        </p:nvGrpSpPr>
        <p:grpSpPr>
          <a:xfrm>
            <a:off x="7421296" y="1734735"/>
            <a:ext cx="1103527" cy="802435"/>
            <a:chOff x="5798774" y="1916033"/>
            <a:chExt cx="1174861" cy="1151364"/>
          </a:xfrm>
        </p:grpSpPr>
        <p:pic>
          <p:nvPicPr>
            <p:cNvPr id="46" name="Picture 145" descr="Image result for mobile phone">
              <a:extLst>
                <a:ext uri="{FF2B5EF4-FFF2-40B4-BE49-F238E27FC236}">
                  <a16:creationId xmlns:a16="http://schemas.microsoft.com/office/drawing/2014/main" id="{CEB5CE35-30DF-604D-AE1D-3216B3AF82D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798774" y="1916033"/>
              <a:ext cx="1174861" cy="1151364"/>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6">
              <a:extLst>
                <a:ext uri="{FF2B5EF4-FFF2-40B4-BE49-F238E27FC236}">
                  <a16:creationId xmlns:a16="http://schemas.microsoft.com/office/drawing/2014/main" id="{D4939547-7A5F-7543-BCD9-CDCFBC05C382}"/>
                </a:ext>
              </a:extLst>
            </p:cNvPr>
            <p:cNvPicPr>
              <a:picLocks noChangeAspect="1"/>
            </p:cNvPicPr>
            <p:nvPr/>
          </p:nvPicPr>
          <p:blipFill>
            <a:blip r:embed="rId8" cstate="print"/>
            <a:stretch>
              <a:fillRect/>
            </a:stretch>
          </p:blipFill>
          <p:spPr>
            <a:xfrm>
              <a:off x="5852597" y="2051954"/>
              <a:ext cx="507668" cy="879521"/>
            </a:xfrm>
            <a:prstGeom prst="rect">
              <a:avLst/>
            </a:prstGeom>
          </p:spPr>
        </p:pic>
        <p:pic>
          <p:nvPicPr>
            <p:cNvPr id="48" name="Picture 47">
              <a:extLst>
                <a:ext uri="{FF2B5EF4-FFF2-40B4-BE49-F238E27FC236}">
                  <a16:creationId xmlns:a16="http://schemas.microsoft.com/office/drawing/2014/main" id="{E23D3A25-7CBE-154C-A1BB-541C522B3AF4}"/>
                </a:ext>
              </a:extLst>
            </p:cNvPr>
            <p:cNvPicPr>
              <a:picLocks noChangeAspect="1"/>
            </p:cNvPicPr>
            <p:nvPr/>
          </p:nvPicPr>
          <p:blipFill>
            <a:blip r:embed="rId9" cstate="print"/>
            <a:stretch>
              <a:fillRect/>
            </a:stretch>
          </p:blipFill>
          <p:spPr>
            <a:xfrm>
              <a:off x="6428445" y="2051954"/>
              <a:ext cx="502013" cy="879521"/>
            </a:xfrm>
            <a:prstGeom prst="rect">
              <a:avLst/>
            </a:prstGeom>
          </p:spPr>
        </p:pic>
      </p:grpSp>
      <p:pic>
        <p:nvPicPr>
          <p:cNvPr id="57" name="Picture 56">
            <a:extLst>
              <a:ext uri="{FF2B5EF4-FFF2-40B4-BE49-F238E27FC236}">
                <a16:creationId xmlns:a16="http://schemas.microsoft.com/office/drawing/2014/main" id="{635CE2C2-7240-6D40-986B-B90824D92D4B}"/>
              </a:ext>
            </a:extLst>
          </p:cNvPr>
          <p:cNvPicPr>
            <a:picLocks noChangeAspect="1"/>
          </p:cNvPicPr>
          <p:nvPr/>
        </p:nvPicPr>
        <p:blipFill rotWithShape="1">
          <a:blip r:embed="rId10"/>
          <a:srcRect b="25469"/>
          <a:stretch/>
        </p:blipFill>
        <p:spPr>
          <a:xfrm>
            <a:off x="1959622" y="1709488"/>
            <a:ext cx="1542039" cy="976369"/>
          </a:xfrm>
          <a:prstGeom prst="rect">
            <a:avLst/>
          </a:prstGeom>
        </p:spPr>
      </p:pic>
      <p:sp>
        <p:nvSpPr>
          <p:cNvPr id="34" name="Rectangle 33">
            <a:extLst>
              <a:ext uri="{FF2B5EF4-FFF2-40B4-BE49-F238E27FC236}">
                <a16:creationId xmlns:a16="http://schemas.microsoft.com/office/drawing/2014/main" id="{50AB8655-8F57-460E-860E-676AB9FB4B43}"/>
              </a:ext>
            </a:extLst>
          </p:cNvPr>
          <p:cNvSpPr/>
          <p:nvPr/>
        </p:nvSpPr>
        <p:spPr>
          <a:xfrm>
            <a:off x="5478298" y="2876347"/>
            <a:ext cx="1576802" cy="2977394"/>
          </a:xfrm>
          <a:prstGeom prst="rect">
            <a:avLst/>
          </a:prstGeom>
          <a:no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141125" rIns="61728" bIns="61728" rtlCol="0" anchor="t"/>
          <a:lstStyle/>
          <a:p>
            <a:pPr algn="ctr" defTabSz="969766" fontAlgn="auto">
              <a:spcBef>
                <a:spcPts val="294"/>
              </a:spcBef>
              <a:spcAft>
                <a:spcPts val="588"/>
              </a:spcAft>
              <a:buClr>
                <a:srgbClr val="FFD200"/>
              </a:buClr>
              <a:buSzPct val="70000"/>
              <a:defRPr/>
            </a:pPr>
            <a:r>
              <a:rPr lang="fr-FR" sz="1300" dirty="0">
                <a:solidFill>
                  <a:prstClr val="black"/>
                </a:solidFill>
              </a:rPr>
              <a:t>La fonction « Plan de travail » montre la mise en œuvre des plans de travail annuels, en répertoriant l'avancement des actions, avec des propriétaires et des délais clairs, et un système de notification automatisé</a:t>
            </a:r>
            <a:endParaRPr lang="en-GB" sz="1300" dirty="0">
              <a:solidFill>
                <a:prstClr val="black"/>
              </a:solidFill>
              <a:latin typeface="Arial"/>
            </a:endParaRPr>
          </a:p>
        </p:txBody>
      </p:sp>
      <p:sp>
        <p:nvSpPr>
          <p:cNvPr id="35" name="Rectangle 34">
            <a:extLst>
              <a:ext uri="{FF2B5EF4-FFF2-40B4-BE49-F238E27FC236}">
                <a16:creationId xmlns:a16="http://schemas.microsoft.com/office/drawing/2014/main" id="{2C3F8DC1-CEFC-4780-BBCC-2FB6DF6A03DE}"/>
              </a:ext>
            </a:extLst>
          </p:cNvPr>
          <p:cNvSpPr/>
          <p:nvPr/>
        </p:nvSpPr>
        <p:spPr>
          <a:xfrm>
            <a:off x="5508578" y="1212893"/>
            <a:ext cx="1411250" cy="352813"/>
          </a:xfrm>
          <a:prstGeom prst="rect">
            <a:avLst/>
          </a:prstGeom>
          <a:solidFill>
            <a:srgbClr val="FFC000"/>
          </a:solid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61728" rIns="61728" bIns="61728" rtlCol="0" anchor="ctr"/>
          <a:lstStyle/>
          <a:p>
            <a:pPr algn="ctr" defTabSz="969766" fontAlgn="auto">
              <a:spcBef>
                <a:spcPts val="294"/>
              </a:spcBef>
              <a:spcAft>
                <a:spcPts val="588"/>
              </a:spcAft>
              <a:buClr>
                <a:srgbClr val="FFD200"/>
              </a:buClr>
              <a:buSzPct val="70000"/>
              <a:defRPr/>
            </a:pPr>
            <a:r>
              <a:rPr lang="en-US" sz="980" b="1" dirty="0">
                <a:solidFill>
                  <a:prstClr val="black"/>
                </a:solidFill>
                <a:latin typeface="Arial"/>
              </a:rPr>
              <a:t>Plan de travail</a:t>
            </a:r>
          </a:p>
        </p:txBody>
      </p:sp>
      <p:sp>
        <p:nvSpPr>
          <p:cNvPr id="41" name="Rectangle 40">
            <a:extLst>
              <a:ext uri="{FF2B5EF4-FFF2-40B4-BE49-F238E27FC236}">
                <a16:creationId xmlns:a16="http://schemas.microsoft.com/office/drawing/2014/main" id="{318B47A0-D52F-426D-A1EF-DB8CF6EDA89B}"/>
              </a:ext>
            </a:extLst>
          </p:cNvPr>
          <p:cNvSpPr/>
          <p:nvPr/>
        </p:nvSpPr>
        <p:spPr>
          <a:xfrm>
            <a:off x="3779557" y="1212893"/>
            <a:ext cx="1411250" cy="352813"/>
          </a:xfrm>
          <a:prstGeom prst="rect">
            <a:avLst/>
          </a:prstGeom>
          <a:no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61728" rIns="61728" bIns="61728" rtlCol="0" anchor="ctr"/>
          <a:lstStyle/>
          <a:p>
            <a:pPr algn="ctr" defTabSz="969766" fontAlgn="auto">
              <a:spcBef>
                <a:spcPts val="294"/>
              </a:spcBef>
              <a:spcAft>
                <a:spcPts val="588"/>
              </a:spcAft>
              <a:buClr>
                <a:srgbClr val="FFD200"/>
              </a:buClr>
              <a:buSzPct val="70000"/>
              <a:defRPr/>
            </a:pPr>
            <a:endParaRPr lang="en-US" sz="980" b="1" dirty="0">
              <a:solidFill>
                <a:prstClr val="white">
                  <a:lumMod val="75000"/>
                </a:prstClr>
              </a:solidFill>
              <a:latin typeface="Arial"/>
            </a:endParaRPr>
          </a:p>
        </p:txBody>
      </p:sp>
      <p:sp>
        <p:nvSpPr>
          <p:cNvPr id="49" name="Rectangle 48">
            <a:extLst>
              <a:ext uri="{FF2B5EF4-FFF2-40B4-BE49-F238E27FC236}">
                <a16:creationId xmlns:a16="http://schemas.microsoft.com/office/drawing/2014/main" id="{E9EB6557-9ECE-43B6-BCB6-6193193F0127}"/>
              </a:ext>
            </a:extLst>
          </p:cNvPr>
          <p:cNvSpPr/>
          <p:nvPr/>
        </p:nvSpPr>
        <p:spPr>
          <a:xfrm>
            <a:off x="3677242" y="2886154"/>
            <a:ext cx="1576802" cy="2967587"/>
          </a:xfrm>
          <a:prstGeom prst="rect">
            <a:avLst/>
          </a:prstGeom>
          <a:no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141125" rIns="61728" bIns="61728" rtlCol="0" anchor="t"/>
          <a:lstStyle/>
          <a:p>
            <a:pPr algn="ctr" defTabSz="969766" fontAlgn="auto">
              <a:spcBef>
                <a:spcPts val="294"/>
              </a:spcBef>
              <a:spcAft>
                <a:spcPts val="588"/>
              </a:spcAft>
              <a:buClr>
                <a:srgbClr val="FFD200"/>
              </a:buClr>
              <a:buSzPct val="70000"/>
              <a:defRPr/>
            </a:pPr>
            <a:r>
              <a:rPr lang="fr-FR" sz="1300" dirty="0">
                <a:solidFill>
                  <a:prstClr val="black"/>
                </a:solidFill>
              </a:rPr>
              <a:t>La fonctionnalité de suivi des actions est utilisée pour attribuer des actions avec des délais à des «propriétaires». Il montre le statut de mise en œuvre des actions et génère des notifications automatisées</a:t>
            </a:r>
            <a:endParaRPr lang="en-US" sz="1300" dirty="0">
              <a:solidFill>
                <a:prstClr val="black"/>
              </a:solidFill>
              <a:latin typeface="Arial"/>
            </a:endParaRPr>
          </a:p>
        </p:txBody>
      </p:sp>
      <p:sp>
        <p:nvSpPr>
          <p:cNvPr id="53" name="Rectangle 52">
            <a:extLst>
              <a:ext uri="{FF2B5EF4-FFF2-40B4-BE49-F238E27FC236}">
                <a16:creationId xmlns:a16="http://schemas.microsoft.com/office/drawing/2014/main" id="{E9589E54-17A6-488B-AB65-27C5708AB91B}"/>
              </a:ext>
            </a:extLst>
          </p:cNvPr>
          <p:cNvSpPr/>
          <p:nvPr/>
        </p:nvSpPr>
        <p:spPr>
          <a:xfrm>
            <a:off x="3779557" y="1213557"/>
            <a:ext cx="1411250" cy="352813"/>
          </a:xfrm>
          <a:prstGeom prst="rect">
            <a:avLst/>
          </a:prstGeom>
          <a:solidFill>
            <a:srgbClr val="FFC000"/>
          </a:solid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61728" rIns="61728" bIns="61728" rtlCol="0" anchor="ctr"/>
          <a:lstStyle/>
          <a:p>
            <a:pPr algn="ctr" defTabSz="969766" fontAlgn="auto">
              <a:spcBef>
                <a:spcPts val="294"/>
              </a:spcBef>
              <a:spcAft>
                <a:spcPts val="588"/>
              </a:spcAft>
              <a:buClr>
                <a:srgbClr val="FFD200"/>
              </a:buClr>
              <a:buSzPct val="70000"/>
              <a:defRPr/>
            </a:pPr>
            <a:r>
              <a:rPr lang="en-US" sz="980" b="1" dirty="0">
                <a:solidFill>
                  <a:prstClr val="black"/>
                </a:solidFill>
              </a:rPr>
              <a:t>Suivi des actions </a:t>
            </a:r>
            <a:endParaRPr lang="en-US" sz="980" b="1" dirty="0">
              <a:solidFill>
                <a:prstClr val="black"/>
              </a:solidFill>
              <a:latin typeface="Arial"/>
            </a:endParaRPr>
          </a:p>
        </p:txBody>
      </p:sp>
      <p:pic>
        <p:nvPicPr>
          <p:cNvPr id="60" name="Picture 59">
            <a:extLst>
              <a:ext uri="{FF2B5EF4-FFF2-40B4-BE49-F238E27FC236}">
                <a16:creationId xmlns:a16="http://schemas.microsoft.com/office/drawing/2014/main" id="{C50FDE11-B109-4BAD-80E2-360DFC508CDF}"/>
              </a:ext>
            </a:extLst>
          </p:cNvPr>
          <p:cNvPicPr>
            <a:picLocks noChangeAspect="1"/>
          </p:cNvPicPr>
          <p:nvPr/>
        </p:nvPicPr>
        <p:blipFill>
          <a:blip r:embed="rId11"/>
          <a:stretch>
            <a:fillRect/>
          </a:stretch>
        </p:blipFill>
        <p:spPr>
          <a:xfrm>
            <a:off x="3779515" y="1685147"/>
            <a:ext cx="1411250" cy="972288"/>
          </a:xfrm>
          <a:prstGeom prst="rect">
            <a:avLst/>
          </a:prstGeom>
        </p:spPr>
      </p:pic>
      <p:pic>
        <p:nvPicPr>
          <p:cNvPr id="61" name="Picture 60">
            <a:extLst>
              <a:ext uri="{FF2B5EF4-FFF2-40B4-BE49-F238E27FC236}">
                <a16:creationId xmlns:a16="http://schemas.microsoft.com/office/drawing/2014/main" id="{B45E42BD-E7BB-4969-965C-53BEA5C2E12D}"/>
              </a:ext>
            </a:extLst>
          </p:cNvPr>
          <p:cNvPicPr>
            <a:picLocks noChangeAspect="1"/>
          </p:cNvPicPr>
          <p:nvPr/>
        </p:nvPicPr>
        <p:blipFill rotWithShape="1">
          <a:blip r:embed="rId12"/>
          <a:srcRect t="14220" r="63586" b="29390"/>
          <a:stretch/>
        </p:blipFill>
        <p:spPr>
          <a:xfrm>
            <a:off x="5537584" y="1734735"/>
            <a:ext cx="1376299" cy="851019"/>
          </a:xfrm>
          <a:prstGeom prst="rect">
            <a:avLst/>
          </a:prstGeom>
        </p:spPr>
      </p:pic>
      <p:pic>
        <p:nvPicPr>
          <p:cNvPr id="62" name="Picture 61">
            <a:extLst>
              <a:ext uri="{FF2B5EF4-FFF2-40B4-BE49-F238E27FC236}">
                <a16:creationId xmlns:a16="http://schemas.microsoft.com/office/drawing/2014/main" id="{1BCAB4A0-3D57-4DFF-9DB6-ABC18AC57CBE}"/>
              </a:ext>
            </a:extLst>
          </p:cNvPr>
          <p:cNvPicPr>
            <a:picLocks noChangeAspect="1"/>
          </p:cNvPicPr>
          <p:nvPr/>
        </p:nvPicPr>
        <p:blipFill rotWithShape="1">
          <a:blip r:embed="rId12"/>
          <a:srcRect t="14220" r="87705" b="75011"/>
          <a:stretch/>
        </p:blipFill>
        <p:spPr>
          <a:xfrm>
            <a:off x="5451362" y="1674191"/>
            <a:ext cx="974191" cy="262019"/>
          </a:xfrm>
          <a:prstGeom prst="rect">
            <a:avLst/>
          </a:prstGeom>
        </p:spPr>
      </p:pic>
    </p:spTree>
    <p:extLst>
      <p:ext uri="{BB962C8B-B14F-4D97-AF65-F5344CB8AC3E}">
        <p14:creationId xmlns:p14="http://schemas.microsoft.com/office/powerpoint/2010/main" val="39567831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14B578-D4BC-4423-937B-C2B6E9B83CF2}"/>
              </a:ext>
            </a:extLst>
          </p:cNvPr>
          <p:cNvSpPr>
            <a:spLocks noGrp="1"/>
          </p:cNvSpPr>
          <p:nvPr>
            <p:ph type="ctrTitle"/>
          </p:nvPr>
        </p:nvSpPr>
        <p:spPr>
          <a:xfrm>
            <a:off x="1337002" y="3589020"/>
            <a:ext cx="6606540" cy="1969770"/>
          </a:xfrm>
        </p:spPr>
        <p:txBody>
          <a:bodyPr/>
          <a:lstStyle/>
          <a:p>
            <a:pPr algn="ctr"/>
            <a:r>
              <a:rPr lang="fr-FR" sz="3200" dirty="0">
                <a:solidFill>
                  <a:schemeClr val="tx1"/>
                </a:solidFill>
              </a:rPr>
              <a:t>Démonstration: Indicateurs et seuils de couleur </a:t>
            </a:r>
            <a:br>
              <a:rPr lang="fr-FR" sz="3200" dirty="0">
                <a:solidFill>
                  <a:schemeClr val="tx1"/>
                </a:solidFill>
              </a:rPr>
            </a:br>
            <a:r>
              <a:rPr lang="fr-FR" sz="3200" dirty="0">
                <a:solidFill>
                  <a:schemeClr val="tx1"/>
                </a:solidFill>
              </a:rPr>
              <a:t>dans la plate-forme Web</a:t>
            </a:r>
            <a:br>
              <a:rPr lang="fr-FR" sz="3200" dirty="0">
                <a:solidFill>
                  <a:schemeClr val="tx1"/>
                </a:solidFill>
              </a:rPr>
            </a:br>
            <a:r>
              <a:rPr lang="fr-FR" sz="3200" dirty="0">
                <a:solidFill>
                  <a:schemeClr val="accent5">
                    <a:lumMod val="75000"/>
                    <a:lumOff val="25000"/>
                  </a:schemeClr>
                </a:solidFill>
                <a:hlinkClick r:id="rId2">
                  <a:extLst>
                    <a:ext uri="{A12FA001-AC4F-418D-AE19-62706E023703}">
                      <ahyp:hlinkClr xmlns:ahyp="http://schemas.microsoft.com/office/drawing/2018/hyperlinkcolor" val="tx"/>
                    </a:ext>
                  </a:extLst>
                </a:hlinkClick>
              </a:rPr>
              <a:t>www.rmncah.org</a:t>
            </a:r>
            <a:r>
              <a:rPr lang="fr-FR" sz="3200" dirty="0">
                <a:solidFill>
                  <a:schemeClr val="accent5">
                    <a:lumMod val="75000"/>
                    <a:lumOff val="25000"/>
                  </a:schemeClr>
                </a:solidFill>
              </a:rPr>
              <a:t> </a:t>
            </a:r>
            <a:endParaRPr lang="en-US" sz="3200" dirty="0">
              <a:solidFill>
                <a:schemeClr val="accent5">
                  <a:lumMod val="75000"/>
                  <a:lumOff val="25000"/>
                </a:schemeClr>
              </a:solidFill>
            </a:endParaRPr>
          </a:p>
        </p:txBody>
      </p:sp>
      <p:pic>
        <p:nvPicPr>
          <p:cNvPr id="9" name="Picture 8">
            <a:extLst>
              <a:ext uri="{FF2B5EF4-FFF2-40B4-BE49-F238E27FC236}">
                <a16:creationId xmlns:a16="http://schemas.microsoft.com/office/drawing/2014/main" id="{B066E8DD-24CA-49A9-8B6F-F3CFAC61DF2C}"/>
              </a:ext>
            </a:extLst>
          </p:cNvPr>
          <p:cNvPicPr>
            <a:picLocks noChangeAspect="1"/>
          </p:cNvPicPr>
          <p:nvPr/>
        </p:nvPicPr>
        <p:blipFill>
          <a:blip r:embed="rId3"/>
          <a:stretch>
            <a:fillRect/>
          </a:stretch>
        </p:blipFill>
        <p:spPr>
          <a:xfrm>
            <a:off x="2974876" y="410120"/>
            <a:ext cx="3011685" cy="3036071"/>
          </a:xfrm>
          <a:prstGeom prst="rect">
            <a:avLst/>
          </a:prstGeom>
        </p:spPr>
      </p:pic>
      <p:sp>
        <p:nvSpPr>
          <p:cNvPr id="4" name="Rectangle 3">
            <a:extLst>
              <a:ext uri="{FF2B5EF4-FFF2-40B4-BE49-F238E27FC236}">
                <a16:creationId xmlns:a16="http://schemas.microsoft.com/office/drawing/2014/main" id="{451D8EAA-6032-4EC6-8588-C4E4F948E1D2}"/>
              </a:ext>
            </a:extLst>
          </p:cNvPr>
          <p:cNvSpPr/>
          <p:nvPr/>
        </p:nvSpPr>
        <p:spPr>
          <a:xfrm>
            <a:off x="0" y="5701619"/>
            <a:ext cx="8961438" cy="514514"/>
          </a:xfrm>
          <a:prstGeom prst="rect">
            <a:avLst/>
          </a:prstGeom>
          <a:solidFill>
            <a:schemeClr val="accent1"/>
          </a:solid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61728" rIns="61728" bIns="61728" rtlCol="0" anchor="ctr"/>
          <a:lstStyle/>
          <a:p>
            <a:pPr algn="ctr" defTabSz="969766" fontAlgn="auto">
              <a:spcBef>
                <a:spcPts val="294"/>
              </a:spcBef>
              <a:spcAft>
                <a:spcPts val="588"/>
              </a:spcAft>
              <a:buClr>
                <a:srgbClr val="FFD200"/>
              </a:buClr>
              <a:buSzPct val="70000"/>
              <a:defRPr/>
            </a:pPr>
            <a:r>
              <a:rPr lang="fr-FR" sz="1372" dirty="0">
                <a:solidFill>
                  <a:prstClr val="black"/>
                </a:solidFill>
              </a:rPr>
              <a:t>Facilitateur: Accédez à la plateforme Web et cliquez sur chaque colonne d'indicateur. Dans le panneau de droite, lisez le nom de l'indicateur et les seuils de couleur.</a:t>
            </a:r>
            <a:endParaRPr lang="en-GB" sz="1372" dirty="0">
              <a:solidFill>
                <a:prstClr val="black"/>
              </a:solidFill>
              <a:latin typeface="Arial"/>
            </a:endParaRPr>
          </a:p>
        </p:txBody>
      </p:sp>
    </p:spTree>
    <p:extLst>
      <p:ext uri="{BB962C8B-B14F-4D97-AF65-F5344CB8AC3E}">
        <p14:creationId xmlns:p14="http://schemas.microsoft.com/office/powerpoint/2010/main" val="38392088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258193" y="4243090"/>
            <a:ext cx="6858728" cy="1447704"/>
          </a:xfrm>
        </p:spPr>
        <p:txBody>
          <a:bodyPr/>
          <a:lstStyle/>
          <a:p>
            <a:pPr algn="ctr"/>
            <a:r>
              <a:rPr lang="fr-FR" sz="3136" dirty="0">
                <a:solidFill>
                  <a:schemeClr val="tx1"/>
                </a:solidFill>
              </a:rPr>
              <a:t>Comment analyser la carte de score</a:t>
            </a:r>
            <a:br>
              <a:rPr lang="fr-FR" sz="3136" dirty="0">
                <a:solidFill>
                  <a:schemeClr val="tx1"/>
                </a:solidFill>
              </a:rPr>
            </a:br>
            <a:br>
              <a:rPr lang="fr-FR" sz="3136" dirty="0">
                <a:solidFill>
                  <a:schemeClr val="tx1"/>
                </a:solidFill>
              </a:rPr>
            </a:br>
            <a:endParaRPr lang="en-US" sz="3136" dirty="0">
              <a:solidFill>
                <a:schemeClr val="tx1"/>
              </a:solidFill>
            </a:endParaRPr>
          </a:p>
        </p:txBody>
      </p:sp>
      <p:sp>
        <p:nvSpPr>
          <p:cNvPr id="3" name="Subtitle 2"/>
          <p:cNvSpPr>
            <a:spLocks noGrp="1"/>
          </p:cNvSpPr>
          <p:nvPr>
            <p:ph type="subTitle" idx="1"/>
          </p:nvPr>
        </p:nvSpPr>
        <p:spPr>
          <a:xfrm>
            <a:off x="3881392" y="5352240"/>
            <a:ext cx="2355102" cy="338554"/>
          </a:xfrm>
        </p:spPr>
        <p:txBody>
          <a:bodyPr/>
          <a:lstStyle/>
          <a:p>
            <a:r>
              <a:rPr lang="en-US" dirty="0" err="1"/>
              <a:t>Juin</a:t>
            </a:r>
            <a:r>
              <a:rPr lang="en-US" dirty="0"/>
              <a:t> 2021</a:t>
            </a: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11" name="Picture 10">
            <a:extLst>
              <a:ext uri="{FF2B5EF4-FFF2-40B4-BE49-F238E27FC236}">
                <a16:creationId xmlns:a16="http://schemas.microsoft.com/office/drawing/2014/main" id="{AEFAF877-1B6C-442E-96F7-286FCB10AE57}"/>
              </a:ext>
            </a:extLst>
          </p:cNvPr>
          <p:cNvPicPr>
            <a:picLocks noChangeAspect="1"/>
          </p:cNvPicPr>
          <p:nvPr/>
        </p:nvPicPr>
        <p:blipFill>
          <a:blip r:embed="rId3"/>
          <a:stretch>
            <a:fillRect/>
          </a:stretch>
        </p:blipFill>
        <p:spPr>
          <a:xfrm>
            <a:off x="3049343" y="769225"/>
            <a:ext cx="3011685" cy="3036071"/>
          </a:xfrm>
          <a:prstGeom prst="rect">
            <a:avLst/>
          </a:prstGeom>
        </p:spPr>
      </p:pic>
    </p:spTree>
    <p:extLst>
      <p:ext uri="{BB962C8B-B14F-4D97-AF65-F5344CB8AC3E}">
        <p14:creationId xmlns:p14="http://schemas.microsoft.com/office/powerpoint/2010/main" val="4722628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sp>
        <p:nvSpPr>
          <p:cNvPr id="7" name="TextBox 6">
            <a:extLst>
              <a:ext uri="{FF2B5EF4-FFF2-40B4-BE49-F238E27FC236}">
                <a16:creationId xmlns:a16="http://schemas.microsoft.com/office/drawing/2014/main" id="{D304F9F0-7FBD-4A16-909C-6A9C2946E174}"/>
              </a:ext>
            </a:extLst>
          </p:cNvPr>
          <p:cNvSpPr txBox="1"/>
          <p:nvPr/>
        </p:nvSpPr>
        <p:spPr>
          <a:xfrm>
            <a:off x="620455" y="250984"/>
            <a:ext cx="4480560" cy="338554"/>
          </a:xfrm>
          <a:prstGeom prst="rect">
            <a:avLst/>
          </a:prstGeom>
          <a:noFill/>
        </p:spPr>
        <p:txBody>
          <a:bodyPr wrap="square">
            <a:spAutoFit/>
          </a:bodyPr>
          <a:lstStyle/>
          <a:p>
            <a:r>
              <a:rPr lang="fr-FR" b="1" i="0" dirty="0">
                <a:solidFill>
                  <a:srgbClr val="1B2733"/>
                </a:solidFill>
                <a:effectLst/>
                <a:latin typeface="AtlasGrotesk"/>
              </a:rPr>
              <a:t>Comment analyser une carte de score</a:t>
            </a:r>
            <a:endParaRPr lang="fr-FR" dirty="0"/>
          </a:p>
        </p:txBody>
      </p:sp>
      <p:pic>
        <p:nvPicPr>
          <p:cNvPr id="3" name="Online Media 2" title="Comment analyser une carte de score">
            <a:hlinkClick r:id="" action="ppaction://media"/>
            <a:extLst>
              <a:ext uri="{FF2B5EF4-FFF2-40B4-BE49-F238E27FC236}">
                <a16:creationId xmlns:a16="http://schemas.microsoft.com/office/drawing/2014/main" id="{3F600835-576D-4CF6-B55F-F0826C8E8721}"/>
              </a:ext>
            </a:extLst>
          </p:cNvPr>
          <p:cNvPicPr>
            <a:picLocks noRot="1" noChangeAspect="1"/>
          </p:cNvPicPr>
          <p:nvPr>
            <a:videoFile r:link="rId1"/>
          </p:nvPr>
        </p:nvPicPr>
        <p:blipFill>
          <a:blip r:embed="rId4"/>
          <a:stretch>
            <a:fillRect/>
          </a:stretch>
        </p:blipFill>
        <p:spPr>
          <a:xfrm>
            <a:off x="620455" y="695814"/>
            <a:ext cx="7815403" cy="5549438"/>
          </a:xfrm>
          <a:prstGeom prst="rect">
            <a:avLst/>
          </a:prstGeom>
        </p:spPr>
      </p:pic>
      <p:sp>
        <p:nvSpPr>
          <p:cNvPr id="6" name="TextBox 5">
            <a:extLst>
              <a:ext uri="{FF2B5EF4-FFF2-40B4-BE49-F238E27FC236}">
                <a16:creationId xmlns:a16="http://schemas.microsoft.com/office/drawing/2014/main" id="{55ED62F7-A561-4CB7-8D17-A86ABC14A13C}"/>
              </a:ext>
            </a:extLst>
          </p:cNvPr>
          <p:cNvSpPr txBox="1"/>
          <p:nvPr/>
        </p:nvSpPr>
        <p:spPr>
          <a:xfrm>
            <a:off x="216176" y="6364139"/>
            <a:ext cx="4487516" cy="338554"/>
          </a:xfrm>
          <a:prstGeom prst="rect">
            <a:avLst/>
          </a:prstGeom>
          <a:noFill/>
        </p:spPr>
        <p:txBody>
          <a:bodyPr wrap="square">
            <a:spAutoFit/>
          </a:bodyPr>
          <a:lstStyle/>
          <a:p>
            <a:r>
              <a:rPr lang="fr-FR" sz="1600" dirty="0">
                <a:hlinkClick r:id="rId5">
                  <a:extLst>
                    <a:ext uri="{A12FA001-AC4F-418D-AE19-62706E023703}">
                      <ahyp:hlinkClr xmlns:ahyp="http://schemas.microsoft.com/office/drawing/2018/hyperlinkcolor" val="tx"/>
                    </a:ext>
                  </a:extLst>
                </a:hlinkClick>
              </a:rPr>
              <a:t>Télécharger la vidéo </a:t>
            </a:r>
            <a:endParaRPr lang="fr-FR" sz="1600" dirty="0"/>
          </a:p>
        </p:txBody>
      </p:sp>
    </p:spTree>
    <p:extLst>
      <p:ext uri="{BB962C8B-B14F-4D97-AF65-F5344CB8AC3E}">
        <p14:creationId xmlns:p14="http://schemas.microsoft.com/office/powerpoint/2010/main" val="16287655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19115" y="1015600"/>
            <a:ext cx="5256451" cy="25370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endParaRPr lang="en-GB" sz="1568" dirty="0">
              <a:solidFill>
                <a:schemeClr val="tx1"/>
              </a:solidFill>
            </a:endParaRPr>
          </a:p>
        </p:txBody>
      </p:sp>
      <p:sp>
        <p:nvSpPr>
          <p:cNvPr id="5" name="Title 1"/>
          <p:cNvSpPr txBox="1">
            <a:spLocks/>
          </p:cNvSpPr>
          <p:nvPr>
            <p:custDataLst>
              <p:tags r:id="rId1"/>
            </p:custDataLst>
          </p:nvPr>
        </p:nvSpPr>
        <p:spPr bwMode="auto">
          <a:xfrm>
            <a:off x="193162" y="39545"/>
            <a:ext cx="7390051" cy="60324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US" sz="1960" dirty="0"/>
              <a:t>La carte de score </a:t>
            </a:r>
            <a:r>
              <a:rPr lang="en-US" sz="1960" dirty="0" err="1"/>
              <a:t>soutient</a:t>
            </a:r>
            <a:r>
              <a:rPr lang="en-US" sz="1960" dirty="0"/>
              <a:t> les </a:t>
            </a:r>
            <a:r>
              <a:rPr lang="en-US" sz="1960" dirty="0" err="1"/>
              <a:t>mécanismes</a:t>
            </a:r>
            <a:r>
              <a:rPr lang="en-US" sz="1960" dirty="0"/>
              <a:t> </a:t>
            </a:r>
            <a:r>
              <a:rPr lang="en-US" sz="1960" dirty="0" err="1"/>
              <a:t>d'action</a:t>
            </a:r>
            <a:r>
              <a:rPr lang="en-US" sz="1960" dirty="0"/>
              <a:t> et de </a:t>
            </a:r>
            <a:r>
              <a:rPr lang="en-US" sz="1960" dirty="0" err="1"/>
              <a:t>redevabilité</a:t>
            </a:r>
            <a:r>
              <a:rPr lang="en-US" sz="1960" dirty="0"/>
              <a:t> </a:t>
            </a:r>
            <a:r>
              <a:rPr lang="en-US" sz="1960" dirty="0" err="1"/>
              <a:t>existants</a:t>
            </a:r>
            <a:endParaRPr lang="en-US" sz="1862" kern="0" dirty="0"/>
          </a:p>
        </p:txBody>
      </p:sp>
      <p:sp>
        <p:nvSpPr>
          <p:cNvPr id="49" name="TextBox 33"/>
          <p:cNvSpPr txBox="1"/>
          <p:nvPr>
            <p:custDataLst>
              <p:tags r:id="rId2"/>
            </p:custDataLst>
          </p:nvPr>
        </p:nvSpPr>
        <p:spPr>
          <a:xfrm>
            <a:off x="160755" y="806178"/>
            <a:ext cx="3727433" cy="2574243"/>
          </a:xfrm>
          <a:prstGeom prst="rect">
            <a:avLst/>
          </a:prstGeom>
          <a:solidFill>
            <a:schemeClr val="accent1"/>
          </a:solidFill>
          <a:ln>
            <a:noFill/>
          </a:ln>
          <a:effectLst>
            <a:outerShdw blurRad="50800" dist="38100" dir="5400000" algn="t" rotWithShape="0">
              <a:prstClr val="black">
                <a:alpha val="40000"/>
              </a:prstClr>
            </a:outerShdw>
          </a:effectLst>
        </p:spPr>
        <p:txBody>
          <a:bodyPr vert="horz" lIns="76187" tIns="76187" rIns="76187" bIns="76187"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endParaRPr lang="en-US" sz="1568"/>
          </a:p>
        </p:txBody>
      </p:sp>
      <p:pic>
        <p:nvPicPr>
          <p:cNvPr id="50" name="Picture 49"/>
          <p:cNvPicPr>
            <a:picLocks noChangeAspect="1"/>
          </p:cNvPicPr>
          <p:nvPr/>
        </p:nvPicPr>
        <p:blipFill rotWithShape="1">
          <a:blip r:embed="rId8"/>
          <a:srcRect l="1472" r="359"/>
          <a:stretch/>
        </p:blipFill>
        <p:spPr>
          <a:xfrm>
            <a:off x="384863" y="1636203"/>
            <a:ext cx="3078774" cy="1670799"/>
          </a:xfrm>
          <a:prstGeom prst="rect">
            <a:avLst/>
          </a:prstGeom>
          <a:noFill/>
          <a:effectLst>
            <a:outerShdw blurRad="50800" dist="38100" dir="5400000" algn="t" rotWithShape="0">
              <a:prstClr val="black">
                <a:alpha val="40000"/>
              </a:prstClr>
            </a:outerShdw>
          </a:effectLst>
        </p:spPr>
      </p:pic>
      <p:sp>
        <p:nvSpPr>
          <p:cNvPr id="51" name="TextBox 33"/>
          <p:cNvSpPr txBox="1"/>
          <p:nvPr>
            <p:custDataLst>
              <p:tags r:id="rId3"/>
            </p:custDataLst>
          </p:nvPr>
        </p:nvSpPr>
        <p:spPr>
          <a:xfrm>
            <a:off x="5237591" y="3766570"/>
            <a:ext cx="3563093" cy="2365967"/>
          </a:xfrm>
          <a:prstGeom prst="rect">
            <a:avLst/>
          </a:prstGeom>
          <a:solidFill>
            <a:schemeClr val="accent3"/>
          </a:solidFill>
          <a:ln>
            <a:noFill/>
          </a:ln>
          <a:effectLst>
            <a:outerShdw blurRad="50800" dist="38100" dir="5400000" algn="t" rotWithShape="0">
              <a:prstClr val="black">
                <a:alpha val="40000"/>
              </a:prstClr>
            </a:outerShdw>
          </a:effectLst>
        </p:spPr>
        <p:txBody>
          <a:bodyPr vert="horz" lIns="76187" tIns="76187" rIns="76187" bIns="76187"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endParaRPr lang="en-US" sz="1568"/>
          </a:p>
        </p:txBody>
      </p:sp>
      <p:sp>
        <p:nvSpPr>
          <p:cNvPr id="52" name="TextBox 33"/>
          <p:cNvSpPr txBox="1"/>
          <p:nvPr>
            <p:custDataLst>
              <p:tags r:id="rId4"/>
            </p:custDataLst>
          </p:nvPr>
        </p:nvSpPr>
        <p:spPr>
          <a:xfrm>
            <a:off x="160755" y="3766570"/>
            <a:ext cx="3563093" cy="2365967"/>
          </a:xfrm>
          <a:prstGeom prst="rect">
            <a:avLst/>
          </a:prstGeom>
          <a:solidFill>
            <a:schemeClr val="accent4"/>
          </a:solidFill>
          <a:ln>
            <a:noFill/>
          </a:ln>
          <a:effectLst>
            <a:outerShdw blurRad="50800" dist="38100" dir="5400000" algn="t" rotWithShape="0">
              <a:prstClr val="black">
                <a:alpha val="40000"/>
              </a:prstClr>
            </a:outerShdw>
          </a:effectLst>
        </p:spPr>
        <p:txBody>
          <a:bodyPr vert="horz" lIns="76187" tIns="76187" rIns="76187" bIns="76187"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endParaRPr lang="en-US" sz="1568"/>
          </a:p>
        </p:txBody>
      </p:sp>
      <p:sp>
        <p:nvSpPr>
          <p:cNvPr id="53" name="TextBox 33"/>
          <p:cNvSpPr txBox="1"/>
          <p:nvPr>
            <p:custDataLst>
              <p:tags r:id="rId5"/>
            </p:custDataLst>
          </p:nvPr>
        </p:nvSpPr>
        <p:spPr>
          <a:xfrm>
            <a:off x="5237592" y="806178"/>
            <a:ext cx="3563093" cy="2574244"/>
          </a:xfrm>
          <a:prstGeom prst="rect">
            <a:avLst/>
          </a:prstGeom>
          <a:solidFill>
            <a:schemeClr val="accent2"/>
          </a:solidFill>
          <a:ln>
            <a:noFill/>
          </a:ln>
          <a:effectLst>
            <a:outerShdw blurRad="50800" dist="38100" dir="5400000" algn="t" rotWithShape="0">
              <a:prstClr val="black">
                <a:alpha val="40000"/>
              </a:prstClr>
            </a:outerShdw>
          </a:effectLst>
        </p:spPr>
        <p:txBody>
          <a:bodyPr vert="horz" lIns="76187" tIns="76187" rIns="76187" bIns="76187"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endParaRPr lang="en-US" sz="1568"/>
          </a:p>
        </p:txBody>
      </p:sp>
      <p:pic>
        <p:nvPicPr>
          <p:cNvPr id="54" name="Picture 20" descr="http://akros.com/wp-content/uploads/2015/06/DSCF7493.jpg"/>
          <p:cNvPicPr>
            <a:picLocks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122214" y="3872094"/>
            <a:ext cx="2427967" cy="1617538"/>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xmlns="">
                <a:solidFill>
                  <a:srgbClr val="FFFFFF"/>
                </a:solidFill>
              </a14:hiddenFill>
            </a:ext>
          </a:extLst>
        </p:spPr>
      </p:pic>
      <p:pic>
        <p:nvPicPr>
          <p:cNvPr id="55" name="Picture 23" descr="https://www.volkswagenstiftung.de/uploads/tx_itaofundinginitiative/Subsahara_01.jpg"/>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84864" y="3835375"/>
            <a:ext cx="2427967" cy="1617538"/>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xmlns="">
                <a:solidFill>
                  <a:srgbClr val="FFFFFF"/>
                </a:solidFill>
              </a14:hiddenFill>
            </a:ext>
          </a:extLst>
        </p:spPr>
      </p:pic>
      <p:pic>
        <p:nvPicPr>
          <p:cNvPr id="56" name="Picture 55"/>
          <p:cNvPicPr>
            <a:picLocks noChangeAspect="1"/>
          </p:cNvPicPr>
          <p:nvPr/>
        </p:nvPicPr>
        <p:blipFill>
          <a:blip r:embed="rId11"/>
          <a:stretch>
            <a:fillRect/>
          </a:stretch>
        </p:blipFill>
        <p:spPr>
          <a:xfrm>
            <a:off x="6031678" y="2028233"/>
            <a:ext cx="806740" cy="1241186"/>
          </a:xfrm>
          <a:prstGeom prst="rect">
            <a:avLst/>
          </a:prstGeom>
          <a:noFill/>
          <a:effectLst>
            <a:outerShdw blurRad="50800" dist="38100" dir="5400000" algn="t" rotWithShape="0">
              <a:prstClr val="black">
                <a:alpha val="40000"/>
              </a:prstClr>
            </a:outerShdw>
          </a:effectLst>
        </p:spPr>
      </p:pic>
      <p:pic>
        <p:nvPicPr>
          <p:cNvPr id="57" name="Picture 56"/>
          <p:cNvPicPr>
            <a:picLocks/>
          </p:cNvPicPr>
          <p:nvPr/>
        </p:nvPicPr>
        <p:blipFill>
          <a:blip r:embed="rId12"/>
          <a:stretch>
            <a:fillRect/>
          </a:stretch>
        </p:blipFill>
        <p:spPr>
          <a:xfrm>
            <a:off x="6923553" y="2198958"/>
            <a:ext cx="1766545" cy="920037"/>
          </a:xfrm>
          <a:prstGeom prst="rect">
            <a:avLst/>
          </a:prstGeom>
        </p:spPr>
      </p:pic>
      <p:sp>
        <p:nvSpPr>
          <p:cNvPr id="58" name="Rectangle 27"/>
          <p:cNvSpPr txBox="1"/>
          <p:nvPr/>
        </p:nvSpPr>
        <p:spPr>
          <a:xfrm>
            <a:off x="285587" y="1122087"/>
            <a:ext cx="3304662" cy="452432"/>
          </a:xfrm>
          <a:prstGeom prst="rect">
            <a:avLst/>
          </a:prstGeom>
          <a:solidFill>
            <a:schemeClr val="accent1">
              <a:alpha val="71000"/>
            </a:schemeClr>
          </a:solidFill>
        </p:spPr>
        <p:txBody>
          <a:bodyPr vert="horz" wrap="square" lIns="0" tIns="0" rIns="0" bIns="0" rtlCol="0">
            <a:spAutoFit/>
          </a:bodyPr>
          <a:lstStyle>
            <a:defPPr>
              <a:defRPr lang="en-US"/>
            </a:defPPr>
            <a:lvl1pPr marL="0" lvl="0" indent="0" defTabSz="895350" eaLnBrk="1" hangingPunct="1">
              <a:buClr>
                <a:schemeClr val="tx2"/>
              </a:buClr>
              <a:defRPr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470" dirty="0"/>
              <a:t>Les </a:t>
            </a:r>
            <a:r>
              <a:rPr lang="en-US" sz="1470" dirty="0" err="1"/>
              <a:t>données</a:t>
            </a:r>
            <a:r>
              <a:rPr lang="en-US" sz="1470" dirty="0"/>
              <a:t> d’DHIS2 </a:t>
            </a:r>
            <a:r>
              <a:rPr lang="en-US" sz="1470" dirty="0" err="1"/>
              <a:t>sont</a:t>
            </a:r>
            <a:r>
              <a:rPr lang="en-US" sz="1470" dirty="0"/>
              <a:t> </a:t>
            </a:r>
            <a:r>
              <a:rPr lang="en-US" sz="1470" dirty="0" err="1"/>
              <a:t>chargées</a:t>
            </a:r>
            <a:r>
              <a:rPr lang="en-US" sz="1470" dirty="0"/>
              <a:t> dans la carte de score</a:t>
            </a:r>
          </a:p>
        </p:txBody>
      </p:sp>
      <p:sp>
        <p:nvSpPr>
          <p:cNvPr id="59" name="Rectangle 27"/>
          <p:cNvSpPr txBox="1"/>
          <p:nvPr/>
        </p:nvSpPr>
        <p:spPr>
          <a:xfrm>
            <a:off x="5453814" y="1020842"/>
            <a:ext cx="3222037" cy="1055738"/>
          </a:xfrm>
          <a:prstGeom prst="rect">
            <a:avLst/>
          </a:prstGeom>
          <a:solidFill>
            <a:schemeClr val="accent2">
              <a:alpha val="71000"/>
            </a:schemeClr>
          </a:solidFill>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372" b="1" dirty="0">
                <a:solidFill>
                  <a:schemeClr val="bg1"/>
                </a:solidFill>
              </a:rPr>
              <a:t>Les </a:t>
            </a:r>
            <a:r>
              <a:rPr lang="en-US" sz="1372" b="1" dirty="0" err="1">
                <a:solidFill>
                  <a:schemeClr val="bg1"/>
                </a:solidFill>
              </a:rPr>
              <a:t>processus</a:t>
            </a:r>
            <a:r>
              <a:rPr lang="en-US" sz="1372" b="1" dirty="0">
                <a:solidFill>
                  <a:schemeClr val="bg1"/>
                </a:solidFill>
              </a:rPr>
              <a:t> de gestion </a:t>
            </a:r>
            <a:r>
              <a:rPr lang="en-US" sz="1372" b="1" dirty="0" err="1">
                <a:solidFill>
                  <a:schemeClr val="bg1"/>
                </a:solidFill>
              </a:rPr>
              <a:t>existants</a:t>
            </a:r>
            <a:r>
              <a:rPr lang="en-US" sz="1372" b="1" dirty="0">
                <a:solidFill>
                  <a:schemeClr val="bg1"/>
                </a:solidFill>
              </a:rPr>
              <a:t> </a:t>
            </a:r>
            <a:r>
              <a:rPr lang="en-US" sz="1372" b="1" dirty="0" err="1">
                <a:solidFill>
                  <a:schemeClr val="bg1"/>
                </a:solidFill>
              </a:rPr>
              <a:t>examinent</a:t>
            </a:r>
            <a:r>
              <a:rPr lang="en-US" sz="1372" b="1" dirty="0">
                <a:solidFill>
                  <a:schemeClr val="bg1"/>
                </a:solidFill>
              </a:rPr>
              <a:t> la carte de score et </a:t>
            </a:r>
            <a:r>
              <a:rPr lang="en-US" sz="1372" b="1" dirty="0" err="1">
                <a:solidFill>
                  <a:schemeClr val="bg1"/>
                </a:solidFill>
              </a:rPr>
              <a:t>documentent</a:t>
            </a:r>
            <a:r>
              <a:rPr lang="en-US" sz="1372" b="1" dirty="0">
                <a:solidFill>
                  <a:schemeClr val="bg1"/>
                </a:solidFill>
              </a:rPr>
              <a:t> les </a:t>
            </a:r>
            <a:r>
              <a:rPr lang="en-US" sz="1372" b="1" dirty="0" err="1">
                <a:solidFill>
                  <a:schemeClr val="bg1"/>
                </a:solidFill>
              </a:rPr>
              <a:t>mesures</a:t>
            </a:r>
            <a:r>
              <a:rPr lang="en-US" sz="1372" b="1" dirty="0">
                <a:solidFill>
                  <a:schemeClr val="bg1"/>
                </a:solidFill>
              </a:rPr>
              <a:t>/actions </a:t>
            </a:r>
            <a:r>
              <a:rPr lang="en-US" sz="1372" b="1" dirty="0" err="1">
                <a:solidFill>
                  <a:schemeClr val="bg1"/>
                </a:solidFill>
              </a:rPr>
              <a:t>recommandées</a:t>
            </a:r>
            <a:r>
              <a:rPr lang="en-US" sz="1372" b="1" dirty="0">
                <a:solidFill>
                  <a:schemeClr val="bg1"/>
                </a:solidFill>
              </a:rPr>
              <a:t> dans un </a:t>
            </a:r>
            <a:r>
              <a:rPr lang="en-US" sz="1372" b="1" dirty="0" err="1">
                <a:solidFill>
                  <a:schemeClr val="bg1"/>
                </a:solidFill>
              </a:rPr>
              <a:t>compte</a:t>
            </a:r>
            <a:r>
              <a:rPr lang="en-US" sz="1372" b="1" dirty="0">
                <a:solidFill>
                  <a:schemeClr val="bg1"/>
                </a:solidFill>
              </a:rPr>
              <a:t>         </a:t>
            </a:r>
            <a:r>
              <a:rPr lang="en-US" sz="1372" b="1" dirty="0" err="1">
                <a:solidFill>
                  <a:schemeClr val="bg1"/>
                </a:solidFill>
              </a:rPr>
              <a:t>rendu</a:t>
            </a:r>
            <a:r>
              <a:rPr lang="en-US" sz="1372" b="1" dirty="0">
                <a:solidFill>
                  <a:schemeClr val="bg1"/>
                </a:solidFill>
              </a:rPr>
              <a:t> et / </a:t>
            </a:r>
            <a:r>
              <a:rPr lang="en-US" sz="1372" b="1" dirty="0" err="1">
                <a:solidFill>
                  <a:schemeClr val="bg1"/>
                </a:solidFill>
              </a:rPr>
              <a:t>ou</a:t>
            </a:r>
            <a:r>
              <a:rPr lang="en-US" sz="1372" b="1" dirty="0">
                <a:solidFill>
                  <a:schemeClr val="bg1"/>
                </a:solidFill>
              </a:rPr>
              <a:t> dans le </a:t>
            </a:r>
            <a:r>
              <a:rPr lang="en-US" sz="1372" b="1" dirty="0" err="1">
                <a:solidFill>
                  <a:schemeClr val="bg1"/>
                </a:solidFill>
              </a:rPr>
              <a:t>suivi</a:t>
            </a:r>
            <a:r>
              <a:rPr lang="en-US" sz="1372" b="1" dirty="0">
                <a:solidFill>
                  <a:schemeClr val="bg1"/>
                </a:solidFill>
              </a:rPr>
              <a:t> </a:t>
            </a:r>
            <a:r>
              <a:rPr lang="en-US" sz="1372" b="1" dirty="0" err="1">
                <a:solidFill>
                  <a:schemeClr val="bg1"/>
                </a:solidFill>
              </a:rPr>
              <a:t>d'action</a:t>
            </a:r>
            <a:r>
              <a:rPr lang="en-US" sz="1372" b="1" dirty="0">
                <a:solidFill>
                  <a:schemeClr val="bg1"/>
                </a:solidFill>
              </a:rPr>
              <a:t>.</a:t>
            </a:r>
            <a:endParaRPr lang="fr-FR" sz="1372" b="1" dirty="0">
              <a:solidFill>
                <a:schemeClr val="bg1"/>
              </a:solidFill>
            </a:endParaRPr>
          </a:p>
        </p:txBody>
      </p:sp>
      <p:sp>
        <p:nvSpPr>
          <p:cNvPr id="60" name="Rectangle 27"/>
          <p:cNvSpPr txBox="1"/>
          <p:nvPr/>
        </p:nvSpPr>
        <p:spPr>
          <a:xfrm>
            <a:off x="5253179" y="5493403"/>
            <a:ext cx="3563092" cy="678647"/>
          </a:xfrm>
          <a:prstGeom prst="rect">
            <a:avLst/>
          </a:prstGeom>
          <a:solidFill>
            <a:schemeClr val="accent3">
              <a:alpha val="71000"/>
            </a:schemeClr>
          </a:solidFill>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470" b="1">
                <a:solidFill>
                  <a:schemeClr val="bg1"/>
                </a:solidFill>
              </a:rPr>
              <a:t> Les programmes et les partenaires</a:t>
            </a:r>
          </a:p>
          <a:p>
            <a:r>
              <a:rPr lang="en-US" sz="1470" b="1">
                <a:solidFill>
                  <a:schemeClr val="bg1"/>
                </a:solidFill>
              </a:rPr>
              <a:t> </a:t>
            </a:r>
            <a:r>
              <a:rPr lang="en-US" sz="1470" b="1" err="1">
                <a:solidFill>
                  <a:schemeClr val="bg1"/>
                </a:solidFill>
              </a:rPr>
              <a:t>mettent</a:t>
            </a:r>
            <a:r>
              <a:rPr lang="en-US" sz="1470" b="1">
                <a:solidFill>
                  <a:schemeClr val="bg1"/>
                </a:solidFill>
              </a:rPr>
              <a:t> en œuvre les </a:t>
            </a:r>
            <a:r>
              <a:rPr lang="en-US" sz="1470" b="1" err="1">
                <a:solidFill>
                  <a:schemeClr val="bg1"/>
                </a:solidFill>
              </a:rPr>
              <a:t>mesures</a:t>
            </a:r>
            <a:r>
              <a:rPr lang="en-US" sz="1470" b="1">
                <a:solidFill>
                  <a:schemeClr val="bg1"/>
                </a:solidFill>
              </a:rPr>
              <a:t>/actions        </a:t>
            </a:r>
            <a:r>
              <a:rPr lang="en-US" sz="1470" b="1" err="1">
                <a:solidFill>
                  <a:schemeClr val="bg1"/>
                </a:solidFill>
              </a:rPr>
              <a:t>recommandées</a:t>
            </a:r>
            <a:r>
              <a:rPr lang="en-US" sz="1470" b="1">
                <a:solidFill>
                  <a:schemeClr val="bg1"/>
                </a:solidFill>
              </a:rPr>
              <a:t>. </a:t>
            </a:r>
            <a:endParaRPr lang="fr-FR" sz="1470" b="1">
              <a:solidFill>
                <a:schemeClr val="bg1"/>
              </a:solidFill>
            </a:endParaRPr>
          </a:p>
        </p:txBody>
      </p:sp>
      <p:sp>
        <p:nvSpPr>
          <p:cNvPr id="61" name="Rectangle 27"/>
          <p:cNvSpPr txBox="1"/>
          <p:nvPr/>
        </p:nvSpPr>
        <p:spPr>
          <a:xfrm>
            <a:off x="282274" y="5467219"/>
            <a:ext cx="3307975" cy="678647"/>
          </a:xfrm>
          <a:prstGeom prst="rect">
            <a:avLst/>
          </a:prstGeom>
          <a:solidFill>
            <a:schemeClr val="accent4">
              <a:alpha val="71000"/>
            </a:schemeClr>
          </a:solidFill>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470" b="1">
                <a:solidFill>
                  <a:schemeClr val="bg1"/>
                </a:solidFill>
              </a:rPr>
              <a:t>Les mécanismes de redevabilité existants surveillent la mise en œuvre et collectent les données.</a:t>
            </a:r>
            <a:endParaRPr lang="fr-FR" sz="1470" b="1">
              <a:solidFill>
                <a:schemeClr val="bg1"/>
              </a:solidFill>
            </a:endParaRPr>
          </a:p>
        </p:txBody>
      </p:sp>
      <p:pic>
        <p:nvPicPr>
          <p:cNvPr id="62" name="Picture 61"/>
          <p:cNvPicPr>
            <a:picLocks noChangeAspect="1"/>
          </p:cNvPicPr>
          <p:nvPr/>
        </p:nvPicPr>
        <p:blipFill>
          <a:blip r:embed="rId13"/>
          <a:stretch>
            <a:fillRect/>
          </a:stretch>
        </p:blipFill>
        <p:spPr>
          <a:xfrm>
            <a:off x="2472320" y="1756354"/>
            <a:ext cx="3997548" cy="4003056"/>
          </a:xfrm>
          <a:prstGeom prst="rect">
            <a:avLst/>
          </a:prstGeom>
        </p:spPr>
      </p:pic>
      <p:sp>
        <p:nvSpPr>
          <p:cNvPr id="2" name="Oval 1">
            <a:extLst>
              <a:ext uri="{FF2B5EF4-FFF2-40B4-BE49-F238E27FC236}">
                <a16:creationId xmlns:a16="http://schemas.microsoft.com/office/drawing/2014/main" id="{DA5C0EBA-5726-4073-A7D0-045D7AB33A35}"/>
              </a:ext>
            </a:extLst>
          </p:cNvPr>
          <p:cNvSpPr/>
          <p:nvPr/>
        </p:nvSpPr>
        <p:spPr>
          <a:xfrm>
            <a:off x="23854" y="3593991"/>
            <a:ext cx="504979" cy="469127"/>
          </a:xfrm>
          <a:prstGeom prst="ellipse">
            <a:avLst/>
          </a:prstGeom>
          <a:solidFill>
            <a:srgbClr val="38529C"/>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3" name="TextBox 2">
            <a:extLst>
              <a:ext uri="{FF2B5EF4-FFF2-40B4-BE49-F238E27FC236}">
                <a16:creationId xmlns:a16="http://schemas.microsoft.com/office/drawing/2014/main" id="{5A2F54AC-304D-4822-A11B-EDA806712EFC}"/>
              </a:ext>
            </a:extLst>
          </p:cNvPr>
          <p:cNvSpPr txBox="1"/>
          <p:nvPr/>
        </p:nvSpPr>
        <p:spPr>
          <a:xfrm>
            <a:off x="121977" y="3651083"/>
            <a:ext cx="435617" cy="338554"/>
          </a:xfrm>
          <a:prstGeom prst="rect">
            <a:avLst/>
          </a:prstGeom>
          <a:noFill/>
        </p:spPr>
        <p:txBody>
          <a:bodyPr wrap="square" rtlCol="0">
            <a:spAutoFit/>
          </a:bodyPr>
          <a:lstStyle/>
          <a:p>
            <a:r>
              <a:rPr lang="en-US" dirty="0">
                <a:solidFill>
                  <a:schemeClr val="bg1"/>
                </a:solidFill>
              </a:rPr>
              <a:t>5</a:t>
            </a:r>
          </a:p>
        </p:txBody>
      </p:sp>
      <p:sp>
        <p:nvSpPr>
          <p:cNvPr id="23" name="Oval 22">
            <a:extLst>
              <a:ext uri="{FF2B5EF4-FFF2-40B4-BE49-F238E27FC236}">
                <a16:creationId xmlns:a16="http://schemas.microsoft.com/office/drawing/2014/main" id="{BC5195E5-F644-40AC-8A03-CA9C0D2F893D}"/>
              </a:ext>
            </a:extLst>
          </p:cNvPr>
          <p:cNvSpPr/>
          <p:nvPr/>
        </p:nvSpPr>
        <p:spPr>
          <a:xfrm>
            <a:off x="4994741" y="605625"/>
            <a:ext cx="504979" cy="469127"/>
          </a:xfrm>
          <a:prstGeom prst="ellipse">
            <a:avLst/>
          </a:prstGeom>
          <a:solidFill>
            <a:srgbClr val="E06020"/>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24" name="TextBox 23">
            <a:extLst>
              <a:ext uri="{FF2B5EF4-FFF2-40B4-BE49-F238E27FC236}">
                <a16:creationId xmlns:a16="http://schemas.microsoft.com/office/drawing/2014/main" id="{2302F158-66C2-4672-A4E5-92C3CAB57801}"/>
              </a:ext>
            </a:extLst>
          </p:cNvPr>
          <p:cNvSpPr txBox="1"/>
          <p:nvPr/>
        </p:nvSpPr>
        <p:spPr>
          <a:xfrm>
            <a:off x="5116717" y="654766"/>
            <a:ext cx="435617" cy="338554"/>
          </a:xfrm>
          <a:prstGeom prst="rect">
            <a:avLst/>
          </a:prstGeom>
          <a:noFill/>
        </p:spPr>
        <p:txBody>
          <a:bodyPr wrap="square" rtlCol="0">
            <a:spAutoFit/>
          </a:bodyPr>
          <a:lstStyle/>
          <a:p>
            <a:r>
              <a:rPr lang="en-US" dirty="0">
                <a:solidFill>
                  <a:schemeClr val="bg1"/>
                </a:solidFill>
              </a:rPr>
              <a:t>3</a:t>
            </a:r>
          </a:p>
        </p:txBody>
      </p:sp>
      <p:sp>
        <p:nvSpPr>
          <p:cNvPr id="25" name="Oval 24">
            <a:extLst>
              <a:ext uri="{FF2B5EF4-FFF2-40B4-BE49-F238E27FC236}">
                <a16:creationId xmlns:a16="http://schemas.microsoft.com/office/drawing/2014/main" id="{9D5EB1AB-2A2C-483C-8C1F-9F0B89C2EC68}"/>
              </a:ext>
            </a:extLst>
          </p:cNvPr>
          <p:cNvSpPr/>
          <p:nvPr/>
        </p:nvSpPr>
        <p:spPr>
          <a:xfrm>
            <a:off x="8318384" y="3555559"/>
            <a:ext cx="504979" cy="469127"/>
          </a:xfrm>
          <a:prstGeom prst="ellipse">
            <a:avLst/>
          </a:prstGeom>
          <a:solidFill>
            <a:srgbClr val="6F0710"/>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26" name="TextBox 25">
            <a:extLst>
              <a:ext uri="{FF2B5EF4-FFF2-40B4-BE49-F238E27FC236}">
                <a16:creationId xmlns:a16="http://schemas.microsoft.com/office/drawing/2014/main" id="{46EC61DF-41FF-439E-9D3E-334D0040B4D1}"/>
              </a:ext>
            </a:extLst>
          </p:cNvPr>
          <p:cNvSpPr txBox="1"/>
          <p:nvPr/>
        </p:nvSpPr>
        <p:spPr>
          <a:xfrm>
            <a:off x="8440360" y="3604700"/>
            <a:ext cx="435617" cy="338554"/>
          </a:xfrm>
          <a:prstGeom prst="rect">
            <a:avLst/>
          </a:prstGeom>
          <a:noFill/>
        </p:spPr>
        <p:txBody>
          <a:bodyPr wrap="square" rtlCol="0">
            <a:spAutoFit/>
          </a:bodyPr>
          <a:lstStyle/>
          <a:p>
            <a:r>
              <a:rPr lang="en-US" dirty="0">
                <a:solidFill>
                  <a:schemeClr val="bg1"/>
                </a:solidFill>
              </a:rPr>
              <a:t>4</a:t>
            </a:r>
          </a:p>
        </p:txBody>
      </p:sp>
      <p:sp>
        <p:nvSpPr>
          <p:cNvPr id="27" name="Oval 26">
            <a:extLst>
              <a:ext uri="{FF2B5EF4-FFF2-40B4-BE49-F238E27FC236}">
                <a16:creationId xmlns:a16="http://schemas.microsoft.com/office/drawing/2014/main" id="{35C3068A-2AFE-45E4-9512-761048D19305}"/>
              </a:ext>
            </a:extLst>
          </p:cNvPr>
          <p:cNvSpPr/>
          <p:nvPr/>
        </p:nvSpPr>
        <p:spPr>
          <a:xfrm>
            <a:off x="-6626" y="677189"/>
            <a:ext cx="504979" cy="469127"/>
          </a:xfrm>
          <a:prstGeom prst="ellipse">
            <a:avLst/>
          </a:prstGeom>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28" name="TextBox 27">
            <a:extLst>
              <a:ext uri="{FF2B5EF4-FFF2-40B4-BE49-F238E27FC236}">
                <a16:creationId xmlns:a16="http://schemas.microsoft.com/office/drawing/2014/main" id="{19D4203C-2904-4C76-8776-954652A88C4F}"/>
              </a:ext>
            </a:extLst>
          </p:cNvPr>
          <p:cNvSpPr txBox="1"/>
          <p:nvPr/>
        </p:nvSpPr>
        <p:spPr>
          <a:xfrm>
            <a:off x="91497" y="734281"/>
            <a:ext cx="435617" cy="338554"/>
          </a:xfrm>
          <a:prstGeom prst="rect">
            <a:avLst/>
          </a:prstGeom>
          <a:noFill/>
        </p:spPr>
        <p:txBody>
          <a:bodyPr wrap="square" rtlCol="0">
            <a:spAutoFit/>
          </a:bodyPr>
          <a:lstStyle/>
          <a:p>
            <a:r>
              <a:rPr lang="en-US" dirty="0"/>
              <a:t>1</a:t>
            </a:r>
          </a:p>
        </p:txBody>
      </p:sp>
      <p:sp>
        <p:nvSpPr>
          <p:cNvPr id="29" name="Arrow: Right 28">
            <a:extLst>
              <a:ext uri="{FF2B5EF4-FFF2-40B4-BE49-F238E27FC236}">
                <a16:creationId xmlns:a16="http://schemas.microsoft.com/office/drawing/2014/main" id="{3ED4BF36-F724-411C-AA91-C203DB14F791}"/>
              </a:ext>
            </a:extLst>
          </p:cNvPr>
          <p:cNvSpPr/>
          <p:nvPr/>
        </p:nvSpPr>
        <p:spPr>
          <a:xfrm>
            <a:off x="3814357" y="962065"/>
            <a:ext cx="1721826" cy="979365"/>
          </a:xfrm>
          <a:prstGeom prst="rightArrow">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tx1"/>
                </a:solidFill>
              </a:rPr>
              <a:t>2. </a:t>
            </a:r>
            <a:r>
              <a:rPr lang="en-US" sz="1800" dirty="0" err="1">
                <a:solidFill>
                  <a:schemeClr val="tx1"/>
                </a:solidFill>
              </a:rPr>
              <a:t>Analyse</a:t>
            </a:r>
            <a:endParaRPr lang="en-US" sz="1800" dirty="0">
              <a:solidFill>
                <a:schemeClr val="tx1"/>
              </a:solidFill>
            </a:endParaRPr>
          </a:p>
        </p:txBody>
      </p:sp>
    </p:spTree>
    <p:extLst>
      <p:ext uri="{BB962C8B-B14F-4D97-AF65-F5344CB8AC3E}">
        <p14:creationId xmlns:p14="http://schemas.microsoft.com/office/powerpoint/2010/main" val="37340802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2"/>
            </p:custDataLst>
          </p:nvPr>
        </p:nvGraphicFramePr>
        <p:xfrm>
          <a:off x="270" y="202"/>
          <a:ext cx="158741" cy="158740"/>
        </p:xfrm>
        <a:graphic>
          <a:graphicData uri="http://schemas.openxmlformats.org/presentationml/2006/ole">
            <mc:AlternateContent xmlns:mc="http://schemas.openxmlformats.org/markup-compatibility/2006">
              <mc:Choice xmlns:v="urn:schemas-microsoft-com:vml" Requires="v">
                <p:oleObj spid="_x0000_s14337" name="think-cell Slide" r:id="rId22" imgW="360" imgH="360" progId="">
                  <p:embed/>
                </p:oleObj>
              </mc:Choice>
              <mc:Fallback>
                <p:oleObj name="think-cell Slide" r:id="rId22" imgW="360" imgH="360" progId="">
                  <p:embed/>
                  <p:pic>
                    <p:nvPicPr>
                      <p:cNvPr id="35" name="Object 34"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70" y="202"/>
                        <a:ext cx="158741" cy="15874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1" name="TextBox 32"/>
          <p:cNvSpPr txBox="1"/>
          <p:nvPr>
            <p:custDataLst>
              <p:tags r:id="rId3"/>
            </p:custDataLst>
          </p:nvPr>
        </p:nvSpPr>
        <p:spPr>
          <a:xfrm>
            <a:off x="550120" y="1037898"/>
            <a:ext cx="7987999" cy="4555255"/>
          </a:xfrm>
          <a:prstGeom prst="rect">
            <a:avLst/>
          </a:prstGeom>
          <a:solidFill>
            <a:schemeClr val="bg1"/>
          </a:solidFill>
          <a:ln w="19050">
            <a:solidFill>
              <a:schemeClr val="accent1"/>
            </a:solidFill>
          </a:ln>
          <a:effectLst>
            <a:outerShdw blurRad="50800" dist="38100" dir="5400000" algn="t" rotWithShape="0">
              <a:prstClr val="black">
                <a:alpha val="40000"/>
              </a:prstClr>
            </a:outerShdw>
          </a:effectLst>
        </p:spPr>
        <p:txBody>
          <a:bodyPr vert="horz" lIns="76163" tIns="76163" rIns="76163" bIns="76163" rtlCol="0" anchor="t" anchorCtr="0">
            <a:noAutofit/>
          </a:bodyPr>
          <a:lstStyle>
            <a:lvl1pPr marL="0" lvl="0" indent="0" defTabSz="895350">
              <a:buFontTx/>
              <a:buNone/>
              <a:defRPr sz="1600">
                <a:latin typeface="+mn-lt"/>
              </a:defRPr>
            </a:lvl1pPr>
            <a:lvl2pPr marL="193675" indent="-192088" defTabSz="895350">
              <a:defRPr sz="1600">
                <a:latin typeface="+mn-lt"/>
              </a:defRPr>
            </a:lvl2pPr>
            <a:lvl3pPr marL="457200" indent="-261938" defTabSz="895350">
              <a:buSzPct val="120000"/>
              <a:buChar char="–"/>
              <a:defRPr sz="1600">
                <a:latin typeface="+mn-lt"/>
              </a:defRPr>
            </a:lvl3pPr>
            <a:lvl4pPr marL="614363" indent="-155575" defTabSz="895350">
              <a:buSzPct val="120000"/>
              <a:buChar char="▫"/>
              <a:defRPr sz="1600">
                <a:latin typeface="+mn-lt"/>
              </a:defRPr>
            </a:lvl4pPr>
            <a:lvl5pPr marL="746125"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fontAlgn="base">
              <a:spcBef>
                <a:spcPct val="0"/>
              </a:spcBef>
              <a:spcAft>
                <a:spcPct val="0"/>
              </a:spcAft>
            </a:pPr>
            <a:endParaRPr lang="en-US" sz="1568" dirty="0">
              <a:solidFill>
                <a:prstClr val="black"/>
              </a:solidFill>
            </a:endParaRPr>
          </a:p>
        </p:txBody>
      </p:sp>
      <p:sp>
        <p:nvSpPr>
          <p:cNvPr id="2" name="Title 1"/>
          <p:cNvSpPr>
            <a:spLocks noGrp="1"/>
          </p:cNvSpPr>
          <p:nvPr>
            <p:ph type="title"/>
          </p:nvPr>
        </p:nvSpPr>
        <p:spPr>
          <a:xfrm>
            <a:off x="119327" y="322506"/>
            <a:ext cx="7721936" cy="584741"/>
          </a:xfrm>
        </p:spPr>
        <p:txBody>
          <a:bodyPr/>
          <a:lstStyle/>
          <a:p>
            <a:pPr marL="628302"/>
            <a:r>
              <a:rPr lang="fr-FR" dirty="0"/>
              <a:t>Examen : Utiliser la carte de score, un processus en trois étapes</a:t>
            </a:r>
          </a:p>
        </p:txBody>
      </p:sp>
      <p:grpSp>
        <p:nvGrpSpPr>
          <p:cNvPr id="30" name="Group 29"/>
          <p:cNvGrpSpPr/>
          <p:nvPr/>
        </p:nvGrpSpPr>
        <p:grpSpPr>
          <a:xfrm>
            <a:off x="763286" y="1425802"/>
            <a:ext cx="7608057" cy="3884592"/>
            <a:chOff x="822442" y="885354"/>
            <a:chExt cx="7608506" cy="3884821"/>
          </a:xfrm>
        </p:grpSpPr>
        <p:grpSp>
          <p:nvGrpSpPr>
            <p:cNvPr id="8" name="Group 7"/>
            <p:cNvGrpSpPr/>
            <p:nvPr>
              <p:custDataLst>
                <p:tags r:id="rId6"/>
              </p:custDataLst>
            </p:nvPr>
          </p:nvGrpSpPr>
          <p:grpSpPr>
            <a:xfrm>
              <a:off x="3311396" y="885354"/>
              <a:ext cx="2630599" cy="914401"/>
              <a:chOff x="2534097" y="885354"/>
              <a:chExt cx="1976408" cy="914401"/>
            </a:xfrm>
          </p:grpSpPr>
          <p:sp>
            <p:nvSpPr>
              <p:cNvPr id="9" name="Freeform 8"/>
              <p:cNvSpPr/>
              <p:nvPr>
                <p:custDataLst>
                  <p:tags r:id="rId19"/>
                </p:custDataLst>
              </p:nvPr>
            </p:nvSpPr>
            <p:spPr bwMode="auto">
              <a:xfrm>
                <a:off x="2534097" y="885354"/>
                <a:ext cx="1976408" cy="91440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76501" y="0"/>
                    </a:lnTo>
                    <a:lnTo>
                      <a:pt x="1828800" y="457200"/>
                    </a:lnTo>
                    <a:lnTo>
                      <a:pt x="1676501" y="914402"/>
                    </a:lnTo>
                    <a:lnTo>
                      <a:pt x="0" y="914400"/>
                    </a:lnTo>
                    <a:lnTo>
                      <a:pt x="152299" y="457202"/>
                    </a:lnTo>
                    <a:close/>
                  </a:path>
                </a:pathLst>
              </a:custGeom>
              <a:solidFill>
                <a:schemeClr val="accent1"/>
              </a:solidFill>
              <a:ln w="9525">
                <a:noFill/>
                <a:round/>
                <a:headEnd/>
                <a:tailEnd/>
              </a:ln>
            </p:spPr>
            <p:txBody>
              <a:bodyPr wrap="none" rtlCol="0" anchor="ctr"/>
              <a:lstStyle/>
              <a:p>
                <a:pPr algn="ctr" fontAlgn="base">
                  <a:spcBef>
                    <a:spcPct val="0"/>
                  </a:spcBef>
                  <a:spcAft>
                    <a:spcPct val="0"/>
                  </a:spcAft>
                </a:pPr>
                <a:endParaRPr lang="en-US" sz="1568" b="1" dirty="0">
                  <a:solidFill>
                    <a:prstClr val="black"/>
                  </a:solidFill>
                </a:endParaRPr>
              </a:p>
            </p:txBody>
          </p:sp>
          <p:sp>
            <p:nvSpPr>
              <p:cNvPr id="10" name="TextBox 4"/>
              <p:cNvSpPr txBox="1">
                <a:spLocks noChangeArrowheads="1"/>
              </p:cNvSpPr>
              <p:nvPr>
                <p:custDataLst>
                  <p:tags r:id="rId20"/>
                </p:custDataLst>
              </p:nvPr>
            </p:nvSpPr>
            <p:spPr bwMode="auto">
              <a:xfrm>
                <a:off x="3068921" y="1221354"/>
                <a:ext cx="1292967" cy="241299"/>
              </a:xfrm>
              <a:prstGeom prst="rect">
                <a:avLst/>
              </a:prstGeom>
              <a:no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39302A"/>
                  </a:buClr>
                </a:pPr>
                <a:r>
                  <a:rPr lang="fr-FR" sz="1568" b="1" dirty="0">
                    <a:solidFill>
                      <a:prstClr val="black"/>
                    </a:solidFill>
                  </a:rPr>
                  <a:t>Analyser</a:t>
                </a:r>
              </a:p>
            </p:txBody>
          </p:sp>
        </p:grpSp>
        <p:grpSp>
          <p:nvGrpSpPr>
            <p:cNvPr id="11" name="Group 10"/>
            <p:cNvGrpSpPr/>
            <p:nvPr>
              <p:custDataLst>
                <p:tags r:id="rId7"/>
              </p:custDataLst>
            </p:nvPr>
          </p:nvGrpSpPr>
          <p:grpSpPr>
            <a:xfrm>
              <a:off x="822442" y="885354"/>
              <a:ext cx="2796906" cy="914401"/>
              <a:chOff x="722037" y="885354"/>
              <a:chExt cx="2101357" cy="914401"/>
            </a:xfrm>
          </p:grpSpPr>
          <p:sp>
            <p:nvSpPr>
              <p:cNvPr id="12" name="Freeform 11"/>
              <p:cNvSpPr/>
              <p:nvPr>
                <p:custDataLst>
                  <p:tags r:id="rId17"/>
                </p:custDataLst>
              </p:nvPr>
            </p:nvSpPr>
            <p:spPr bwMode="auto">
              <a:xfrm>
                <a:off x="722037" y="885354"/>
                <a:ext cx="1976408" cy="91440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76501" y="0"/>
                    </a:lnTo>
                    <a:lnTo>
                      <a:pt x="1828800" y="457200"/>
                    </a:lnTo>
                    <a:lnTo>
                      <a:pt x="1676501" y="914402"/>
                    </a:lnTo>
                    <a:lnTo>
                      <a:pt x="0" y="914400"/>
                    </a:lnTo>
                    <a:lnTo>
                      <a:pt x="0" y="457202"/>
                    </a:lnTo>
                    <a:close/>
                  </a:path>
                </a:pathLst>
              </a:custGeom>
              <a:solidFill>
                <a:schemeClr val="accent1"/>
              </a:solidFill>
              <a:ln w="9525">
                <a:noFill/>
                <a:round/>
                <a:headEnd/>
                <a:tailEnd/>
              </a:ln>
            </p:spPr>
            <p:txBody>
              <a:bodyPr wrap="none" rtlCol="0" anchor="ctr"/>
              <a:lstStyle/>
              <a:p>
                <a:pPr algn="ctr" fontAlgn="base">
                  <a:spcBef>
                    <a:spcPct val="0"/>
                  </a:spcBef>
                  <a:spcAft>
                    <a:spcPct val="0"/>
                  </a:spcAft>
                </a:pPr>
                <a:endParaRPr lang="en-US" sz="1568" b="1" dirty="0">
                  <a:solidFill>
                    <a:prstClr val="black"/>
                  </a:solidFill>
                </a:endParaRPr>
              </a:p>
            </p:txBody>
          </p:sp>
          <p:sp>
            <p:nvSpPr>
              <p:cNvPr id="13" name="TextBox 4"/>
              <p:cNvSpPr txBox="1">
                <a:spLocks noChangeArrowheads="1"/>
              </p:cNvSpPr>
              <p:nvPr>
                <p:custDataLst>
                  <p:tags r:id="rId18"/>
                </p:custDataLst>
              </p:nvPr>
            </p:nvSpPr>
            <p:spPr bwMode="auto">
              <a:xfrm>
                <a:off x="1062378" y="1221904"/>
                <a:ext cx="1761016" cy="241299"/>
              </a:xfrm>
              <a:prstGeom prst="rect">
                <a:avLst/>
              </a:prstGeom>
              <a:no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39302A"/>
                  </a:buClr>
                </a:pPr>
                <a:r>
                  <a:rPr lang="fr-FR" sz="1568" b="1" dirty="0">
                    <a:solidFill>
                      <a:prstClr val="black"/>
                    </a:solidFill>
                  </a:rPr>
                  <a:t>Prioriser</a:t>
                </a:r>
              </a:p>
            </p:txBody>
          </p:sp>
        </p:grpSp>
        <p:grpSp>
          <p:nvGrpSpPr>
            <p:cNvPr id="14" name="Group 13"/>
            <p:cNvGrpSpPr/>
            <p:nvPr>
              <p:custDataLst>
                <p:tags r:id="rId8"/>
              </p:custDataLst>
            </p:nvPr>
          </p:nvGrpSpPr>
          <p:grpSpPr>
            <a:xfrm>
              <a:off x="5800349" y="885354"/>
              <a:ext cx="2630599" cy="914401"/>
              <a:chOff x="4346157" y="885354"/>
              <a:chExt cx="1976408" cy="914401"/>
            </a:xfrm>
          </p:grpSpPr>
          <p:sp>
            <p:nvSpPr>
              <p:cNvPr id="15" name="Freeform 14"/>
              <p:cNvSpPr/>
              <p:nvPr>
                <p:custDataLst>
                  <p:tags r:id="rId15"/>
                </p:custDataLst>
              </p:nvPr>
            </p:nvSpPr>
            <p:spPr bwMode="auto">
              <a:xfrm>
                <a:off x="4346157" y="885354"/>
                <a:ext cx="1976408" cy="91440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76501" y="0"/>
                    </a:lnTo>
                    <a:lnTo>
                      <a:pt x="1828800" y="457200"/>
                    </a:lnTo>
                    <a:lnTo>
                      <a:pt x="1676501" y="914402"/>
                    </a:lnTo>
                    <a:lnTo>
                      <a:pt x="0" y="914400"/>
                    </a:lnTo>
                    <a:lnTo>
                      <a:pt x="152299" y="457202"/>
                    </a:lnTo>
                    <a:close/>
                  </a:path>
                </a:pathLst>
              </a:custGeom>
              <a:solidFill>
                <a:schemeClr val="accent1"/>
              </a:solidFill>
              <a:ln w="9525">
                <a:noFill/>
                <a:round/>
                <a:headEnd/>
                <a:tailEnd/>
              </a:ln>
            </p:spPr>
            <p:txBody>
              <a:bodyPr wrap="none" rtlCol="0" anchor="ctr"/>
              <a:lstStyle/>
              <a:p>
                <a:pPr algn="ctr" fontAlgn="base">
                  <a:spcBef>
                    <a:spcPct val="0"/>
                  </a:spcBef>
                  <a:spcAft>
                    <a:spcPct val="0"/>
                  </a:spcAft>
                </a:pPr>
                <a:endParaRPr lang="en-US" sz="1568" b="1" dirty="0">
                  <a:solidFill>
                    <a:prstClr val="black"/>
                  </a:solidFill>
                </a:endParaRPr>
              </a:p>
            </p:txBody>
          </p:sp>
          <p:sp>
            <p:nvSpPr>
              <p:cNvPr id="16" name="TextBox 4"/>
              <p:cNvSpPr txBox="1">
                <a:spLocks noChangeArrowheads="1"/>
              </p:cNvSpPr>
              <p:nvPr>
                <p:custDataLst>
                  <p:tags r:id="rId16"/>
                </p:custDataLst>
              </p:nvPr>
            </p:nvSpPr>
            <p:spPr bwMode="auto">
              <a:xfrm>
                <a:off x="4857872" y="1221353"/>
                <a:ext cx="1289311" cy="241299"/>
              </a:xfrm>
              <a:prstGeom prst="rect">
                <a:avLst/>
              </a:prstGeom>
              <a:no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39302A"/>
                  </a:buClr>
                </a:pPr>
                <a:r>
                  <a:rPr lang="fr-FR" sz="1568" b="1">
                    <a:solidFill>
                      <a:prstClr val="black"/>
                    </a:solidFill>
                  </a:rPr>
                  <a:t>Résoudre</a:t>
                </a:r>
                <a:endParaRPr lang="fr-FR" sz="1568" b="1" dirty="0">
                  <a:solidFill>
                    <a:prstClr val="black"/>
                  </a:solidFill>
                </a:endParaRPr>
              </a:p>
            </p:txBody>
          </p:sp>
        </p:grpSp>
        <p:sp>
          <p:nvSpPr>
            <p:cNvPr id="20" name="Rectangle 286"/>
            <p:cNvSpPr txBox="1">
              <a:spLocks noChangeArrowheads="1"/>
            </p:cNvSpPr>
            <p:nvPr>
              <p:custDataLst>
                <p:tags r:id="rId9"/>
              </p:custDataLst>
            </p:nvPr>
          </p:nvSpPr>
          <p:spPr bwMode="auto">
            <a:xfrm>
              <a:off x="890057" y="1911606"/>
              <a:ext cx="2343912" cy="280835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285591" indent="-285591">
                <a:spcAft>
                  <a:spcPts val="600"/>
                </a:spcAft>
                <a:buClr>
                  <a:srgbClr val="39302A"/>
                </a:buClr>
                <a:buFont typeface="Wingdings" pitchFamily="2" charset="2"/>
                <a:buChar char="§"/>
              </a:pPr>
              <a:r>
                <a:rPr lang="fr-FR" sz="1568" dirty="0">
                  <a:solidFill>
                    <a:prstClr val="black"/>
                  </a:solidFill>
                </a:rPr>
                <a:t>Identifier les catégories et les indicateurs en mal d’attention.</a:t>
              </a:r>
            </a:p>
            <a:p>
              <a:pPr marL="285591" indent="-285591">
                <a:spcAft>
                  <a:spcPts val="600"/>
                </a:spcAft>
                <a:buClr>
                  <a:srgbClr val="39302A"/>
                </a:buClr>
                <a:buFont typeface="Wingdings" pitchFamily="2" charset="2"/>
                <a:buChar char="§"/>
              </a:pPr>
              <a:r>
                <a:rPr lang="fr-FR" sz="1568">
                  <a:solidFill>
                    <a:prstClr val="black"/>
                  </a:solidFill>
                </a:rPr>
                <a:t>Déterminer les zones sous-nationales les plus / les moins performantes.</a:t>
              </a:r>
            </a:p>
            <a:p>
              <a:pPr marL="285591" indent="-285591">
                <a:spcAft>
                  <a:spcPts val="600"/>
                </a:spcAft>
                <a:buClr>
                  <a:srgbClr val="39302A"/>
                </a:buClr>
                <a:buFont typeface="Wingdings" pitchFamily="2" charset="2"/>
                <a:buChar char="§"/>
              </a:pPr>
              <a:r>
                <a:rPr lang="fr-FR" sz="1568" dirty="0">
                  <a:solidFill>
                    <a:prstClr val="black"/>
                  </a:solidFill>
                </a:rPr>
                <a:t>Évaluer si les performances s’améliorent ou empirent. </a:t>
              </a:r>
            </a:p>
          </p:txBody>
        </p:sp>
        <p:sp>
          <p:nvSpPr>
            <p:cNvPr id="21" name="Rectangle 286"/>
            <p:cNvSpPr txBox="1">
              <a:spLocks noChangeArrowheads="1"/>
            </p:cNvSpPr>
            <p:nvPr>
              <p:custDataLst>
                <p:tags r:id="rId10"/>
              </p:custDataLst>
            </p:nvPr>
          </p:nvSpPr>
          <p:spPr bwMode="auto">
            <a:xfrm>
              <a:off x="3453041" y="1911606"/>
              <a:ext cx="2269881" cy="285856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285591" indent="-285591">
                <a:spcAft>
                  <a:spcPts val="600"/>
                </a:spcAft>
                <a:buClr>
                  <a:srgbClr val="39302A"/>
                </a:buClr>
                <a:buFont typeface="Wingdings" pitchFamily="2" charset="2"/>
                <a:buChar char="§"/>
              </a:pPr>
              <a:r>
                <a:rPr lang="fr-FR" sz="1568" dirty="0">
                  <a:solidFill>
                    <a:prstClr val="black"/>
                  </a:solidFill>
                </a:rPr>
                <a:t>Documenter les causes profondes des performances.</a:t>
              </a:r>
            </a:p>
            <a:p>
              <a:pPr marL="285591" indent="-285591">
                <a:spcAft>
                  <a:spcPts val="600"/>
                </a:spcAft>
                <a:buClr>
                  <a:srgbClr val="39302A"/>
                </a:buClr>
                <a:buFont typeface="Wingdings" pitchFamily="2" charset="2"/>
                <a:buChar char="§"/>
              </a:pPr>
              <a:r>
                <a:rPr lang="fr-FR" sz="1568" dirty="0">
                  <a:solidFill>
                    <a:prstClr val="black"/>
                  </a:solidFill>
                </a:rPr>
                <a:t>Déterminer les facteurs qui impactent le plus les performances.</a:t>
              </a:r>
            </a:p>
            <a:p>
              <a:pPr marL="285591" indent="-285591">
                <a:spcAft>
                  <a:spcPts val="600"/>
                </a:spcAft>
                <a:buClr>
                  <a:srgbClr val="39302A"/>
                </a:buClr>
                <a:buFont typeface="Wingdings" pitchFamily="2" charset="2"/>
                <a:buChar char="§"/>
              </a:pPr>
              <a:r>
                <a:rPr lang="fr-FR" sz="1568" dirty="0">
                  <a:solidFill>
                    <a:prstClr val="black"/>
                  </a:solidFill>
                </a:rPr>
                <a:t>Considérer la probabilité de persistance des performances.</a:t>
              </a:r>
            </a:p>
          </p:txBody>
        </p:sp>
        <p:sp>
          <p:nvSpPr>
            <p:cNvPr id="22" name="Rectangle 286"/>
            <p:cNvSpPr txBox="1">
              <a:spLocks noChangeArrowheads="1"/>
            </p:cNvSpPr>
            <p:nvPr>
              <p:custDataLst>
                <p:tags r:id="rId11"/>
              </p:custDataLst>
            </p:nvPr>
          </p:nvSpPr>
          <p:spPr bwMode="auto">
            <a:xfrm>
              <a:off x="5941995" y="1911606"/>
              <a:ext cx="2234254" cy="224863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285591" indent="-285591">
                <a:spcAft>
                  <a:spcPts val="600"/>
                </a:spcAft>
                <a:buClr>
                  <a:srgbClr val="39302A"/>
                </a:buClr>
                <a:buFont typeface="Wingdings" pitchFamily="2" charset="2"/>
                <a:buChar char="§"/>
              </a:pPr>
              <a:r>
                <a:rPr lang="fr-FR" sz="1568">
                  <a:solidFill>
                    <a:prstClr val="black"/>
                  </a:solidFill>
                </a:rPr>
                <a:t>Élaborer des mesures/actions robustes et concrètes pour améliorer les performances.</a:t>
              </a:r>
            </a:p>
            <a:p>
              <a:pPr marL="285591" indent="-285591">
                <a:spcAft>
                  <a:spcPts val="600"/>
                </a:spcAft>
                <a:buClr>
                  <a:srgbClr val="39302A"/>
                </a:buClr>
                <a:buFont typeface="Wingdings" pitchFamily="2" charset="2"/>
                <a:buChar char="§"/>
              </a:pPr>
              <a:r>
                <a:rPr lang="fr-FR" sz="1568">
                  <a:solidFill>
                    <a:prstClr val="black"/>
                  </a:solidFill>
                </a:rPr>
                <a:t>Entrer les mesures/actions dans la carte de score et les suivre.</a:t>
              </a:r>
              <a:endParaRPr lang="fr-FR" sz="1568" dirty="0">
                <a:solidFill>
                  <a:prstClr val="black"/>
                </a:solidFill>
              </a:endParaRPr>
            </a:p>
          </p:txBody>
        </p:sp>
        <p:sp>
          <p:nvSpPr>
            <p:cNvPr id="24" name="TextBox 25"/>
            <p:cNvSpPr txBox="1"/>
            <p:nvPr>
              <p:custDataLst>
                <p:tags r:id="rId12"/>
              </p:custDataLst>
            </p:nvPr>
          </p:nvSpPr>
          <p:spPr>
            <a:xfrm>
              <a:off x="890057" y="1191796"/>
              <a:ext cx="301515" cy="301515"/>
            </a:xfrm>
            <a:prstGeom prst="ellipse">
              <a:avLst/>
            </a:prstGeom>
            <a:solidFill>
              <a:schemeClr val="accent3"/>
            </a:solidFill>
            <a:ln w="28575">
              <a:solidFill>
                <a:schemeClr val="bg1"/>
              </a:solidFill>
            </a:ln>
            <a:effectLst>
              <a:outerShdw blurRad="50800" dist="38100" dir="5400000" algn="t" rotWithShape="0">
                <a:prstClr val="black">
                  <a:alpha val="40000"/>
                </a:prstClr>
              </a:outerShdw>
            </a:effectLst>
          </p:spPr>
          <p:txBody>
            <a:bodyPr vert="horz" lIns="3809" tIns="0" rIns="3809" bIns="0" rtlCol="0" anchor="ctr" anchorCtr="1">
              <a:noAutofit/>
            </a:bodyPr>
            <a:lstStyle>
              <a:lvl1pPr marL="0" lvl="0" indent="0" defTabSz="895350">
                <a:buFontTx/>
                <a:buNone/>
                <a:defRPr sz="1600">
                  <a:latin typeface="+mn-lt"/>
                </a:defRPr>
              </a:lvl1pPr>
              <a:lvl2pPr marL="193675" indent="-192088" defTabSz="895350">
                <a:defRPr sz="1600">
                  <a:latin typeface="+mn-lt"/>
                </a:defRPr>
              </a:lvl2pPr>
              <a:lvl3pPr marL="457200" indent="-261938" defTabSz="895350">
                <a:buSzPct val="120000"/>
                <a:buChar char="–"/>
                <a:defRPr sz="1600">
                  <a:latin typeface="+mn-lt"/>
                </a:defRPr>
              </a:lvl3pPr>
              <a:lvl4pPr marL="614363" indent="-155575" defTabSz="895350">
                <a:buSzPct val="120000"/>
                <a:buChar char="▫"/>
                <a:defRPr sz="1600">
                  <a:latin typeface="+mn-lt"/>
                </a:defRPr>
              </a:lvl4pPr>
              <a:lvl5pPr marL="746125"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algn="ctr" fontAlgn="base">
                <a:spcBef>
                  <a:spcPct val="0"/>
                </a:spcBef>
                <a:spcAft>
                  <a:spcPct val="0"/>
                </a:spcAft>
              </a:pPr>
              <a:r>
                <a:rPr lang="fr-FR" sz="1568" dirty="0">
                  <a:solidFill>
                    <a:prstClr val="white"/>
                  </a:solidFill>
                </a:rPr>
                <a:t>A</a:t>
              </a:r>
            </a:p>
          </p:txBody>
        </p:sp>
        <p:sp>
          <p:nvSpPr>
            <p:cNvPr id="28" name="TextBox 25"/>
            <p:cNvSpPr txBox="1"/>
            <p:nvPr>
              <p:custDataLst>
                <p:tags r:id="rId13"/>
              </p:custDataLst>
            </p:nvPr>
          </p:nvSpPr>
          <p:spPr>
            <a:xfrm>
              <a:off x="3598083" y="1191796"/>
              <a:ext cx="301515" cy="301515"/>
            </a:xfrm>
            <a:prstGeom prst="ellipse">
              <a:avLst/>
            </a:prstGeom>
            <a:solidFill>
              <a:schemeClr val="accent3"/>
            </a:solidFill>
            <a:ln w="28575">
              <a:solidFill>
                <a:schemeClr val="bg1"/>
              </a:solidFill>
            </a:ln>
            <a:effectLst>
              <a:outerShdw blurRad="50800" dist="38100" dir="5400000" algn="t" rotWithShape="0">
                <a:prstClr val="black">
                  <a:alpha val="40000"/>
                </a:prstClr>
              </a:outerShdw>
            </a:effectLst>
          </p:spPr>
          <p:txBody>
            <a:bodyPr vert="horz" lIns="3809" tIns="0" rIns="3809" bIns="0" rtlCol="0" anchor="ctr" anchorCtr="1">
              <a:noAutofit/>
            </a:bodyPr>
            <a:lstStyle>
              <a:lvl1pPr marL="0" lvl="0" indent="0" defTabSz="895350">
                <a:buFontTx/>
                <a:buNone/>
                <a:defRPr sz="1600">
                  <a:latin typeface="+mn-lt"/>
                </a:defRPr>
              </a:lvl1pPr>
              <a:lvl2pPr marL="193675" indent="-192088" defTabSz="895350">
                <a:defRPr sz="1600">
                  <a:latin typeface="+mn-lt"/>
                </a:defRPr>
              </a:lvl2pPr>
              <a:lvl3pPr marL="457200" indent="-261938" defTabSz="895350">
                <a:buSzPct val="120000"/>
                <a:buChar char="–"/>
                <a:defRPr sz="1600">
                  <a:latin typeface="+mn-lt"/>
                </a:defRPr>
              </a:lvl3pPr>
              <a:lvl4pPr marL="614363" indent="-155575" defTabSz="895350">
                <a:buSzPct val="120000"/>
                <a:buChar char="▫"/>
                <a:defRPr sz="1600">
                  <a:latin typeface="+mn-lt"/>
                </a:defRPr>
              </a:lvl4pPr>
              <a:lvl5pPr marL="746125"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algn="ctr" fontAlgn="base">
                <a:spcBef>
                  <a:spcPct val="0"/>
                </a:spcBef>
                <a:spcAft>
                  <a:spcPct val="0"/>
                </a:spcAft>
              </a:pPr>
              <a:r>
                <a:rPr lang="fr-FR" sz="1568" dirty="0">
                  <a:solidFill>
                    <a:prstClr val="white"/>
                  </a:solidFill>
                </a:rPr>
                <a:t>B</a:t>
              </a:r>
            </a:p>
          </p:txBody>
        </p:sp>
        <p:sp>
          <p:nvSpPr>
            <p:cNvPr id="29" name="TextBox 25"/>
            <p:cNvSpPr txBox="1"/>
            <p:nvPr>
              <p:custDataLst>
                <p:tags r:id="rId14"/>
              </p:custDataLst>
            </p:nvPr>
          </p:nvSpPr>
          <p:spPr>
            <a:xfrm>
              <a:off x="6087036" y="1191796"/>
              <a:ext cx="301515" cy="301515"/>
            </a:xfrm>
            <a:prstGeom prst="ellipse">
              <a:avLst/>
            </a:prstGeom>
            <a:solidFill>
              <a:schemeClr val="accent3"/>
            </a:solidFill>
            <a:ln w="28575">
              <a:solidFill>
                <a:schemeClr val="bg1"/>
              </a:solidFill>
            </a:ln>
            <a:effectLst>
              <a:outerShdw blurRad="50800" dist="38100" dir="5400000" algn="t" rotWithShape="0">
                <a:prstClr val="black">
                  <a:alpha val="40000"/>
                </a:prstClr>
              </a:outerShdw>
            </a:effectLst>
          </p:spPr>
          <p:txBody>
            <a:bodyPr vert="horz" lIns="3809" tIns="0" rIns="3809" bIns="0" rtlCol="0" anchor="ctr" anchorCtr="1">
              <a:noAutofit/>
            </a:bodyPr>
            <a:lstStyle>
              <a:lvl1pPr marL="0" lvl="0" indent="0" defTabSz="895350">
                <a:buFontTx/>
                <a:buNone/>
                <a:defRPr sz="1600">
                  <a:latin typeface="+mn-lt"/>
                </a:defRPr>
              </a:lvl1pPr>
              <a:lvl2pPr marL="193675" indent="-192088" defTabSz="895350">
                <a:defRPr sz="1600">
                  <a:latin typeface="+mn-lt"/>
                </a:defRPr>
              </a:lvl2pPr>
              <a:lvl3pPr marL="457200" indent="-261938" defTabSz="895350">
                <a:buSzPct val="120000"/>
                <a:buChar char="–"/>
                <a:defRPr sz="1600">
                  <a:latin typeface="+mn-lt"/>
                </a:defRPr>
              </a:lvl3pPr>
              <a:lvl4pPr marL="614363" indent="-155575" defTabSz="895350">
                <a:buSzPct val="120000"/>
                <a:buChar char="▫"/>
                <a:defRPr sz="1600">
                  <a:latin typeface="+mn-lt"/>
                </a:defRPr>
              </a:lvl4pPr>
              <a:lvl5pPr marL="746125"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algn="ctr" fontAlgn="base">
                <a:spcBef>
                  <a:spcPct val="0"/>
                </a:spcBef>
                <a:spcAft>
                  <a:spcPct val="0"/>
                </a:spcAft>
              </a:pPr>
              <a:r>
                <a:rPr lang="fr-FR" sz="1568" dirty="0">
                  <a:solidFill>
                    <a:prstClr val="white"/>
                  </a:solidFill>
                </a:rPr>
                <a:t>C</a:t>
              </a:r>
            </a:p>
          </p:txBody>
        </p:sp>
      </p:grpSp>
      <p:grpSp>
        <p:nvGrpSpPr>
          <p:cNvPr id="33" name="Group 32"/>
          <p:cNvGrpSpPr>
            <a:grpSpLocks/>
          </p:cNvGrpSpPr>
          <p:nvPr/>
        </p:nvGrpSpPr>
        <p:grpSpPr>
          <a:xfrm>
            <a:off x="119327" y="181216"/>
            <a:ext cx="534122" cy="534122"/>
            <a:chOff x="724833" y="1360468"/>
            <a:chExt cx="646325" cy="646325"/>
          </a:xfrm>
          <a:effectLst>
            <a:outerShdw blurRad="50800" dist="38100" dir="5400000" algn="t" rotWithShape="0">
              <a:prstClr val="black">
                <a:alpha val="40000"/>
              </a:prstClr>
            </a:outerShdw>
          </a:effectLst>
        </p:grpSpPr>
        <p:sp>
          <p:nvSpPr>
            <p:cNvPr id="34" name="TextBox 9"/>
            <p:cNvSpPr txBox="1"/>
            <p:nvPr>
              <p:custDataLst>
                <p:tags r:id="rId4"/>
              </p:custDataLst>
            </p:nvPr>
          </p:nvSpPr>
          <p:spPr>
            <a:xfrm>
              <a:off x="724833" y="1360468"/>
              <a:ext cx="646325" cy="646325"/>
            </a:xfrm>
            <a:prstGeom prst="ellipse">
              <a:avLst/>
            </a:prstGeom>
            <a:solidFill>
              <a:schemeClr val="accent2"/>
            </a:solidFill>
            <a:ln w="19050">
              <a:solidFill>
                <a:schemeClr val="bg1"/>
              </a:solidFill>
            </a:ln>
          </p:spPr>
          <p:txBody>
            <a:bodyPr vert="horz" lIns="3809" tIns="0" rIns="3809"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39302A"/>
                </a:buClr>
              </a:pPr>
              <a:endParaRPr lang="en-US" sz="1568" b="1" dirty="0">
                <a:solidFill>
                  <a:prstClr val="white"/>
                </a:solidFill>
              </a:endParaRPr>
            </a:p>
          </p:txBody>
        </p:sp>
        <p:sp>
          <p:nvSpPr>
            <p:cNvPr id="36" name="TextBox 5"/>
            <p:cNvSpPr txBox="1"/>
            <p:nvPr>
              <p:custDataLst>
                <p:tags r:id="rId5"/>
              </p:custDataLst>
            </p:nvPr>
          </p:nvSpPr>
          <p:spPr>
            <a:xfrm>
              <a:off x="829095" y="1470343"/>
              <a:ext cx="437801" cy="426575"/>
            </a:xfrm>
            <a:prstGeom prst="rightArrow">
              <a:avLst>
                <a:gd name="adj1" fmla="val 54000"/>
                <a:gd name="adj2" fmla="val 37678"/>
              </a:avLst>
            </a:prstGeom>
            <a:solidFill>
              <a:schemeClr val="bg1"/>
            </a:solidFill>
            <a:ln>
              <a:noFill/>
            </a:ln>
          </p:spPr>
          <p:txBody>
            <a:bodyPr vert="horz" lIns="76196" tIns="0" rIns="0" bIns="0" rtlCol="0" anchor="ctr"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9302A"/>
                </a:buClr>
              </a:pPr>
              <a:endParaRPr lang="en-US" sz="1568" dirty="0">
                <a:solidFill>
                  <a:prstClr val="black"/>
                </a:solidFill>
              </a:endParaRPr>
            </a:p>
          </p:txBody>
        </p:sp>
      </p:grpSp>
    </p:spTree>
    <p:extLst>
      <p:ext uri="{BB962C8B-B14F-4D97-AF65-F5344CB8AC3E}">
        <p14:creationId xmlns:p14="http://schemas.microsoft.com/office/powerpoint/2010/main" val="21901481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55DB66-9E3F-4386-9163-D13CF8239E43}"/>
              </a:ext>
            </a:extLst>
          </p:cNvPr>
          <p:cNvSpPr>
            <a:spLocks noGrp="1"/>
          </p:cNvSpPr>
          <p:nvPr>
            <p:ph type="title"/>
          </p:nvPr>
        </p:nvSpPr>
        <p:spPr>
          <a:xfrm>
            <a:off x="413657" y="1847785"/>
            <a:ext cx="6298367" cy="430887"/>
          </a:xfrm>
        </p:spPr>
        <p:txBody>
          <a:bodyPr/>
          <a:lstStyle/>
          <a:p>
            <a:r>
              <a:rPr lang="en-US" sz="2800" dirty="0" err="1"/>
              <a:t>Objectifs</a:t>
            </a:r>
            <a:r>
              <a:rPr lang="en-US" sz="2800" dirty="0"/>
              <a:t> </a:t>
            </a:r>
            <a:r>
              <a:rPr lang="en-US" sz="2800" dirty="0" err="1"/>
              <a:t>Specifiques</a:t>
            </a:r>
            <a:r>
              <a:rPr lang="en-US" sz="2800" dirty="0"/>
              <a:t> </a:t>
            </a:r>
          </a:p>
        </p:txBody>
      </p:sp>
      <p:sp>
        <p:nvSpPr>
          <p:cNvPr id="3" name="Title 1">
            <a:extLst>
              <a:ext uri="{FF2B5EF4-FFF2-40B4-BE49-F238E27FC236}">
                <a16:creationId xmlns:a16="http://schemas.microsoft.com/office/drawing/2014/main" id="{B3E2BBA0-7A52-4EE9-ABBC-9A3A95C671B6}"/>
              </a:ext>
            </a:extLst>
          </p:cNvPr>
          <p:cNvSpPr txBox="1">
            <a:spLocks/>
          </p:cNvSpPr>
          <p:nvPr/>
        </p:nvSpPr>
        <p:spPr bwMode="auto">
          <a:xfrm>
            <a:off x="504497" y="2487913"/>
            <a:ext cx="8163093" cy="51398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519112" indent="-342900">
              <a:spcBef>
                <a:spcPts val="1200"/>
              </a:spcBef>
              <a:buFont typeface="+mj-lt"/>
              <a:buAutoNum type="arabicPeriod"/>
            </a:pPr>
            <a:r>
              <a:rPr lang="fr-FR" sz="1800" b="0" dirty="0"/>
              <a:t>Comprendre le matériel nécessaire pour animer un atelier de carte de score. </a:t>
            </a:r>
          </a:p>
          <a:p>
            <a:pPr marL="519112" indent="-342900">
              <a:spcBef>
                <a:spcPts val="1200"/>
              </a:spcBef>
              <a:buFont typeface="+mj-lt"/>
              <a:buAutoNum type="arabicPeriod"/>
            </a:pPr>
            <a:r>
              <a:rPr lang="fr-FR" sz="1800" b="0" dirty="0"/>
              <a:t>Comprendre ce qu’est la carte de score et comment l’utiliser pour l’action.</a:t>
            </a:r>
          </a:p>
          <a:p>
            <a:pPr marL="519112" indent="-342900">
              <a:spcBef>
                <a:spcPts val="1200"/>
              </a:spcBef>
              <a:buFont typeface="+mj-lt"/>
              <a:buAutoNum type="arabicPeriod"/>
            </a:pPr>
            <a:r>
              <a:rPr lang="fr-FR" sz="1800" b="0" dirty="0"/>
              <a:t>Comprendre les indicateurs et les seuils de la carte de score SRMNIA.</a:t>
            </a:r>
          </a:p>
          <a:p>
            <a:pPr marL="519112" indent="-342900">
              <a:spcBef>
                <a:spcPts val="1200"/>
              </a:spcBef>
              <a:buFont typeface="+mj-lt"/>
              <a:buAutoNum type="arabicPeriod"/>
            </a:pPr>
            <a:r>
              <a:rPr lang="fr-FR" sz="1800" b="0" dirty="0"/>
              <a:t>Apprendre à accéder et utiliser la plateforme web carte de score.</a:t>
            </a:r>
          </a:p>
          <a:p>
            <a:pPr marL="519112" indent="-342900">
              <a:spcBef>
                <a:spcPts val="1200"/>
              </a:spcBef>
              <a:buFont typeface="+mj-lt"/>
              <a:buAutoNum type="arabicPeriod"/>
            </a:pPr>
            <a:r>
              <a:rPr lang="fr-FR" sz="1800" b="0" dirty="0"/>
              <a:t>Créer l’analyse de la carte de score T1/2021 et définir des mesures recommandées (actions).</a:t>
            </a:r>
          </a:p>
          <a:p>
            <a:pPr marL="519112" indent="-342900">
              <a:spcBef>
                <a:spcPts val="1200"/>
              </a:spcBef>
              <a:buFont typeface="+mj-lt"/>
              <a:buAutoNum type="arabicPeriod"/>
            </a:pPr>
            <a:r>
              <a:rPr lang="fr-FR" sz="1800" b="0" dirty="0"/>
              <a:t>Apprenez à accéder au centre de connaissances pour utiliser d'autres supports d'apprentissage et de formation.</a:t>
            </a:r>
          </a:p>
          <a:p>
            <a:pPr marL="519112" indent="-342900">
              <a:spcBef>
                <a:spcPts val="1200"/>
              </a:spcBef>
              <a:buFont typeface="+mj-lt"/>
              <a:buAutoNum type="arabicPeriod"/>
            </a:pPr>
            <a:r>
              <a:rPr lang="fr-FR" sz="1800" b="0" dirty="0"/>
              <a:t>Présentation des mesures recommandées.</a:t>
            </a:r>
          </a:p>
          <a:p>
            <a:pPr marL="461962" indent="-285750">
              <a:spcBef>
                <a:spcPts val="1200"/>
              </a:spcBef>
              <a:buFont typeface="Arial" panose="020B0604020202020204" pitchFamily="34" charset="0"/>
              <a:buChar char="•"/>
            </a:pPr>
            <a:endParaRPr lang="en-US" sz="1800" b="0" dirty="0"/>
          </a:p>
          <a:p>
            <a:pPr marL="457200" indent="-280988">
              <a:spcBef>
                <a:spcPts val="1200"/>
              </a:spcBef>
              <a:buFont typeface="+mj-lt"/>
              <a:buAutoNum type="arabicPeriod"/>
            </a:pPr>
            <a:endParaRPr lang="en-US" sz="1800" b="0" dirty="0"/>
          </a:p>
          <a:p>
            <a:pPr>
              <a:spcBef>
                <a:spcPts val="1200"/>
              </a:spcBef>
            </a:pPr>
            <a:endParaRPr lang="en-US" sz="2800" b="0" kern="0" dirty="0"/>
          </a:p>
        </p:txBody>
      </p:sp>
      <p:sp>
        <p:nvSpPr>
          <p:cNvPr id="5" name="Title 1">
            <a:extLst>
              <a:ext uri="{FF2B5EF4-FFF2-40B4-BE49-F238E27FC236}">
                <a16:creationId xmlns:a16="http://schemas.microsoft.com/office/drawing/2014/main" id="{6EA4847F-6053-4A93-9388-CF1E13C4D420}"/>
              </a:ext>
            </a:extLst>
          </p:cNvPr>
          <p:cNvSpPr txBox="1">
            <a:spLocks/>
          </p:cNvSpPr>
          <p:nvPr/>
        </p:nvSpPr>
        <p:spPr bwMode="auto">
          <a:xfrm>
            <a:off x="413657" y="341426"/>
            <a:ext cx="6715805" cy="11695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US" sz="2800" kern="0" dirty="0" err="1"/>
              <a:t>Objectifs</a:t>
            </a:r>
            <a:r>
              <a:rPr lang="en-US" sz="2800" kern="0" dirty="0"/>
              <a:t> General </a:t>
            </a:r>
          </a:p>
          <a:p>
            <a:r>
              <a:rPr lang="fr-FR" sz="1600" b="0" kern="0" dirty="0"/>
              <a:t>Former des formateurs au niveau national qui sont chargés de former les niveaux sous-nationaux pour renforcer l'utilisation des données pour l'action en utilisant l'outil de gestion carte de score pour la SRMNIA.</a:t>
            </a:r>
            <a:endParaRPr lang="en-US" sz="2000" b="0" dirty="0"/>
          </a:p>
        </p:txBody>
      </p:sp>
      <p:pic>
        <p:nvPicPr>
          <p:cNvPr id="1031170" name="Picture 2" descr="http://www.free-icons-download.net/images/objective-88507.png">
            <a:extLst>
              <a:ext uri="{FF2B5EF4-FFF2-40B4-BE49-F238E27FC236}">
                <a16:creationId xmlns:a16="http://schemas.microsoft.com/office/drawing/2014/main" id="{4C5D204A-59E5-415F-904C-804351335A7B}"/>
              </a:ext>
            </a:extLst>
          </p:cNvPr>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935771" y="980228"/>
            <a:ext cx="1025667" cy="1025667"/>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82793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739422BE-A58D-47E6-BB84-358059FBA30F}"/>
              </a:ext>
            </a:extLst>
          </p:cNvPr>
          <p:cNvPicPr>
            <a:picLocks noChangeAspect="1"/>
          </p:cNvPicPr>
          <p:nvPr/>
        </p:nvPicPr>
        <p:blipFill>
          <a:blip r:embed="rId3"/>
          <a:stretch>
            <a:fillRect/>
          </a:stretch>
        </p:blipFill>
        <p:spPr>
          <a:xfrm>
            <a:off x="0" y="2673225"/>
            <a:ext cx="8961438" cy="3501661"/>
          </a:xfrm>
          <a:prstGeom prst="rect">
            <a:avLst/>
          </a:prstGeom>
        </p:spPr>
      </p:pic>
      <p:sp>
        <p:nvSpPr>
          <p:cNvPr id="2" name="Title 1">
            <a:extLst>
              <a:ext uri="{FF2B5EF4-FFF2-40B4-BE49-F238E27FC236}">
                <a16:creationId xmlns:a16="http://schemas.microsoft.com/office/drawing/2014/main" id="{BE004BB8-1C7E-4064-9137-B5CABCA1E779}"/>
              </a:ext>
            </a:extLst>
          </p:cNvPr>
          <p:cNvSpPr>
            <a:spLocks noGrp="1"/>
          </p:cNvSpPr>
          <p:nvPr>
            <p:ph type="title"/>
          </p:nvPr>
        </p:nvSpPr>
        <p:spPr>
          <a:xfrm>
            <a:off x="2847727" y="1310273"/>
            <a:ext cx="8159320" cy="292457"/>
          </a:xfrm>
        </p:spPr>
        <p:txBody>
          <a:bodyPr/>
          <a:lstStyle/>
          <a:p>
            <a:r>
              <a:rPr lang="fr-FR" dirty="0"/>
              <a:t>Chaque cellule a trois dimensions…</a:t>
            </a:r>
            <a:endParaRPr lang="en-US" dirty="0"/>
          </a:p>
        </p:txBody>
      </p:sp>
      <p:sp>
        <p:nvSpPr>
          <p:cNvPr id="9" name="Rectangle 8">
            <a:extLst>
              <a:ext uri="{FF2B5EF4-FFF2-40B4-BE49-F238E27FC236}">
                <a16:creationId xmlns:a16="http://schemas.microsoft.com/office/drawing/2014/main" id="{CF0D0390-38F5-4DE3-9D91-8FAABC39C42E}"/>
              </a:ext>
            </a:extLst>
          </p:cNvPr>
          <p:cNvSpPr/>
          <p:nvPr/>
        </p:nvSpPr>
        <p:spPr>
          <a:xfrm>
            <a:off x="337505" y="374719"/>
            <a:ext cx="6788030" cy="333617"/>
          </a:xfrm>
          <a:prstGeom prst="rect">
            <a:avLst/>
          </a:prstGeom>
        </p:spPr>
        <p:txBody>
          <a:bodyPr wrap="square">
            <a:spAutoFit/>
          </a:bodyPr>
          <a:lstStyle/>
          <a:p>
            <a:r>
              <a:rPr lang="fr-FR" sz="1568" b="1" dirty="0"/>
              <a:t>Comment prioriser les régions et les indicateurs…</a:t>
            </a:r>
            <a:endParaRPr lang="en-US" sz="1568" b="1" dirty="0"/>
          </a:p>
        </p:txBody>
      </p:sp>
      <p:pic>
        <p:nvPicPr>
          <p:cNvPr id="3" name="Picture 2">
            <a:extLst>
              <a:ext uri="{FF2B5EF4-FFF2-40B4-BE49-F238E27FC236}">
                <a16:creationId xmlns:a16="http://schemas.microsoft.com/office/drawing/2014/main" id="{149DE884-A516-4628-A55D-D5D4F17DF31F}"/>
              </a:ext>
            </a:extLst>
          </p:cNvPr>
          <p:cNvPicPr>
            <a:picLocks noChangeAspect="1"/>
          </p:cNvPicPr>
          <p:nvPr/>
        </p:nvPicPr>
        <p:blipFill rotWithShape="1">
          <a:blip r:embed="rId4"/>
          <a:srcRect l="2757" t="7982" r="2342" b="11961"/>
          <a:stretch/>
        </p:blipFill>
        <p:spPr>
          <a:xfrm>
            <a:off x="3098743" y="2435212"/>
            <a:ext cx="2955904" cy="642872"/>
          </a:xfrm>
          <a:prstGeom prst="rect">
            <a:avLst/>
          </a:prstGeom>
        </p:spPr>
      </p:pic>
      <p:cxnSp>
        <p:nvCxnSpPr>
          <p:cNvPr id="5" name="Straight Connector 4">
            <a:extLst>
              <a:ext uri="{FF2B5EF4-FFF2-40B4-BE49-F238E27FC236}">
                <a16:creationId xmlns:a16="http://schemas.microsoft.com/office/drawing/2014/main" id="{01F676EF-C7D3-49EA-8BFC-F2E9540EE80C}"/>
              </a:ext>
            </a:extLst>
          </p:cNvPr>
          <p:cNvCxnSpPr>
            <a:cxnSpLocks/>
          </p:cNvCxnSpPr>
          <p:nvPr/>
        </p:nvCxnSpPr>
        <p:spPr>
          <a:xfrm flipH="1" flipV="1">
            <a:off x="1857598" y="2092526"/>
            <a:ext cx="1150232" cy="576871"/>
          </a:xfrm>
          <a:prstGeom prst="line">
            <a:avLst/>
          </a:prstGeom>
          <a:ln/>
        </p:spPr>
        <p:style>
          <a:lnRef idx="1">
            <a:schemeClr val="dk1"/>
          </a:lnRef>
          <a:fillRef idx="0">
            <a:schemeClr val="dk1"/>
          </a:fillRef>
          <a:effectRef idx="0">
            <a:schemeClr val="dk1"/>
          </a:effectRef>
          <a:fontRef idx="minor">
            <a:schemeClr val="tx1"/>
          </a:fontRef>
        </p:style>
      </p:cxnSp>
      <p:sp>
        <p:nvSpPr>
          <p:cNvPr id="6" name="TextBox 5">
            <a:extLst>
              <a:ext uri="{FF2B5EF4-FFF2-40B4-BE49-F238E27FC236}">
                <a16:creationId xmlns:a16="http://schemas.microsoft.com/office/drawing/2014/main" id="{C146725E-6F20-4AFD-853F-DD787C68BAE4}"/>
              </a:ext>
            </a:extLst>
          </p:cNvPr>
          <p:cNvSpPr txBox="1"/>
          <p:nvPr/>
        </p:nvSpPr>
        <p:spPr>
          <a:xfrm>
            <a:off x="1552621" y="1784494"/>
            <a:ext cx="1271274" cy="333617"/>
          </a:xfrm>
          <a:prstGeom prst="rect">
            <a:avLst/>
          </a:prstGeom>
          <a:noFill/>
        </p:spPr>
        <p:txBody>
          <a:bodyPr wrap="square" rtlCol="0">
            <a:spAutoFit/>
          </a:bodyPr>
          <a:lstStyle/>
          <a:p>
            <a:r>
              <a:rPr lang="en-US" sz="1568" dirty="0"/>
              <a:t>Couleur</a:t>
            </a:r>
          </a:p>
        </p:txBody>
      </p:sp>
      <p:cxnSp>
        <p:nvCxnSpPr>
          <p:cNvPr id="7" name="Straight Connector 6">
            <a:extLst>
              <a:ext uri="{FF2B5EF4-FFF2-40B4-BE49-F238E27FC236}">
                <a16:creationId xmlns:a16="http://schemas.microsoft.com/office/drawing/2014/main" id="{5452F125-A715-49FC-B47D-5EF25C1CDB6D}"/>
              </a:ext>
            </a:extLst>
          </p:cNvPr>
          <p:cNvCxnSpPr>
            <a:cxnSpLocks/>
          </p:cNvCxnSpPr>
          <p:nvPr/>
        </p:nvCxnSpPr>
        <p:spPr>
          <a:xfrm flipH="1" flipV="1">
            <a:off x="4259721" y="2059128"/>
            <a:ext cx="448918" cy="376084"/>
          </a:xfrm>
          <a:prstGeom prst="line">
            <a:avLst/>
          </a:prstGeom>
          <a:ln/>
        </p:spPr>
        <p:style>
          <a:lnRef idx="1">
            <a:schemeClr val="dk1"/>
          </a:lnRef>
          <a:fillRef idx="0">
            <a:schemeClr val="dk1"/>
          </a:fillRef>
          <a:effectRef idx="0">
            <a:schemeClr val="dk1"/>
          </a:effectRef>
          <a:fontRef idx="minor">
            <a:schemeClr val="tx1"/>
          </a:fontRef>
        </p:style>
      </p:cxnSp>
      <p:sp>
        <p:nvSpPr>
          <p:cNvPr id="10" name="TextBox 9">
            <a:extLst>
              <a:ext uri="{FF2B5EF4-FFF2-40B4-BE49-F238E27FC236}">
                <a16:creationId xmlns:a16="http://schemas.microsoft.com/office/drawing/2014/main" id="{FE9318F4-E12F-4C5D-B54E-2E1968844100}"/>
              </a:ext>
            </a:extLst>
          </p:cNvPr>
          <p:cNvSpPr txBox="1"/>
          <p:nvPr/>
        </p:nvSpPr>
        <p:spPr>
          <a:xfrm>
            <a:off x="3921497" y="1788535"/>
            <a:ext cx="1271274" cy="333617"/>
          </a:xfrm>
          <a:prstGeom prst="rect">
            <a:avLst/>
          </a:prstGeom>
          <a:noFill/>
        </p:spPr>
        <p:txBody>
          <a:bodyPr wrap="square" rtlCol="0">
            <a:spAutoFit/>
          </a:bodyPr>
          <a:lstStyle/>
          <a:p>
            <a:r>
              <a:rPr lang="en-US" sz="1568" dirty="0" err="1"/>
              <a:t>Flèche</a:t>
            </a:r>
            <a:endParaRPr lang="en-US" sz="1568" dirty="0"/>
          </a:p>
        </p:txBody>
      </p:sp>
      <p:cxnSp>
        <p:nvCxnSpPr>
          <p:cNvPr id="16" name="Straight Connector 15">
            <a:extLst>
              <a:ext uri="{FF2B5EF4-FFF2-40B4-BE49-F238E27FC236}">
                <a16:creationId xmlns:a16="http://schemas.microsoft.com/office/drawing/2014/main" id="{AA8894DF-16DE-4D40-AB37-9E71C092CE09}"/>
              </a:ext>
            </a:extLst>
          </p:cNvPr>
          <p:cNvCxnSpPr>
            <a:cxnSpLocks/>
          </p:cNvCxnSpPr>
          <p:nvPr/>
        </p:nvCxnSpPr>
        <p:spPr>
          <a:xfrm>
            <a:off x="3689495" y="3355641"/>
            <a:ext cx="0" cy="2401506"/>
          </a:xfrm>
          <a:prstGeom prst="line">
            <a:avLst/>
          </a:prstGeom>
          <a:ln/>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EA98F56C-5A77-4EE2-8A40-05EB0C6F9B65}"/>
              </a:ext>
            </a:extLst>
          </p:cNvPr>
          <p:cNvCxnSpPr>
            <a:cxnSpLocks/>
          </p:cNvCxnSpPr>
          <p:nvPr/>
        </p:nvCxnSpPr>
        <p:spPr>
          <a:xfrm flipH="1">
            <a:off x="3248493" y="2982020"/>
            <a:ext cx="1346008" cy="2333118"/>
          </a:xfrm>
          <a:prstGeom prst="line">
            <a:avLst/>
          </a:prstGeom>
          <a:ln/>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736FF82E-6727-489B-9186-3337C64B350B}"/>
              </a:ext>
            </a:extLst>
          </p:cNvPr>
          <p:cNvCxnSpPr>
            <a:cxnSpLocks/>
            <a:stCxn id="3" idx="3"/>
          </p:cNvCxnSpPr>
          <p:nvPr/>
        </p:nvCxnSpPr>
        <p:spPr>
          <a:xfrm flipV="1">
            <a:off x="6054647" y="2207264"/>
            <a:ext cx="1103844" cy="549384"/>
          </a:xfrm>
          <a:prstGeom prst="line">
            <a:avLst/>
          </a:prstGeom>
          <a:ln/>
        </p:spPr>
        <p:style>
          <a:lnRef idx="1">
            <a:schemeClr val="dk1"/>
          </a:lnRef>
          <a:fillRef idx="0">
            <a:schemeClr val="dk1"/>
          </a:fillRef>
          <a:effectRef idx="0">
            <a:schemeClr val="dk1"/>
          </a:effectRef>
          <a:fontRef idx="minor">
            <a:schemeClr val="tx1"/>
          </a:fontRef>
        </p:style>
      </p:cxnSp>
      <p:sp>
        <p:nvSpPr>
          <p:cNvPr id="21" name="TextBox 20">
            <a:extLst>
              <a:ext uri="{FF2B5EF4-FFF2-40B4-BE49-F238E27FC236}">
                <a16:creationId xmlns:a16="http://schemas.microsoft.com/office/drawing/2014/main" id="{0218F28E-71D2-466D-9A03-80099E5AA11D}"/>
              </a:ext>
            </a:extLst>
          </p:cNvPr>
          <p:cNvSpPr txBox="1"/>
          <p:nvPr/>
        </p:nvSpPr>
        <p:spPr>
          <a:xfrm>
            <a:off x="5996166" y="1788322"/>
            <a:ext cx="2258738" cy="333617"/>
          </a:xfrm>
          <a:prstGeom prst="rect">
            <a:avLst/>
          </a:prstGeom>
          <a:noFill/>
        </p:spPr>
        <p:txBody>
          <a:bodyPr wrap="square" rtlCol="0">
            <a:spAutoFit/>
          </a:bodyPr>
          <a:lstStyle/>
          <a:p>
            <a:r>
              <a:rPr lang="en-US" sz="1568" dirty="0" err="1"/>
              <a:t>Valeur</a:t>
            </a:r>
            <a:r>
              <a:rPr lang="en-US" sz="1568" dirty="0"/>
              <a:t> des </a:t>
            </a:r>
            <a:r>
              <a:rPr lang="en-US" sz="1568" dirty="0" err="1"/>
              <a:t>données</a:t>
            </a:r>
            <a:endParaRPr lang="en-US" sz="1568" dirty="0"/>
          </a:p>
        </p:txBody>
      </p:sp>
    </p:spTree>
    <p:extLst>
      <p:ext uri="{BB962C8B-B14F-4D97-AF65-F5344CB8AC3E}">
        <p14:creationId xmlns:p14="http://schemas.microsoft.com/office/powerpoint/2010/main" val="435331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68" y="760321"/>
            <a:ext cx="8065294" cy="482568"/>
          </a:xfrm>
        </p:spPr>
        <p:txBody>
          <a:bodyPr vert="horz" wrap="square" lIns="0" tIns="0" rIns="0" bIns="0" numCol="1" anchor="t" anchorCtr="0" compatLnSpc="1">
            <a:prstTxWarp prst="textNoShape">
              <a:avLst/>
            </a:prstTxWarp>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sz="2352" dirty="0"/>
              <a:t>Trois analyses aident à identifier et prioriser les régions et les indicateurs qui nécessitent peut-être une intervention</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Comment analyser une carte de score</a:t>
            </a:r>
          </a:p>
        </p:txBody>
      </p:sp>
      <p:grpSp>
        <p:nvGrpSpPr>
          <p:cNvPr id="4" name="Group 3">
            <a:extLst>
              <a:ext uri="{FF2B5EF4-FFF2-40B4-BE49-F238E27FC236}">
                <a16:creationId xmlns:a16="http://schemas.microsoft.com/office/drawing/2014/main" id="{7F581C83-DA76-4A30-A4D0-8E963EB1C574}"/>
              </a:ext>
            </a:extLst>
          </p:cNvPr>
          <p:cNvGrpSpPr/>
          <p:nvPr>
            <p:custDataLst>
              <p:tags r:id="rId2"/>
            </p:custDataLst>
          </p:nvPr>
        </p:nvGrpSpPr>
        <p:grpSpPr>
          <a:xfrm>
            <a:off x="809706" y="1791601"/>
            <a:ext cx="7188395" cy="2170080"/>
            <a:chOff x="691878" y="2535756"/>
            <a:chExt cx="7189244" cy="2170336"/>
          </a:xfrm>
        </p:grpSpPr>
        <p:pic>
          <p:nvPicPr>
            <p:cNvPr id="5" name="Picture 4" descr="Screen Clipping">
              <a:extLst>
                <a:ext uri="{FF2B5EF4-FFF2-40B4-BE49-F238E27FC236}">
                  <a16:creationId xmlns:a16="http://schemas.microsoft.com/office/drawing/2014/main" id="{43F2F837-858F-42AA-86C0-0CE15272F07C}"/>
                </a:ext>
              </a:extLst>
            </p:cNvPr>
            <p:cNvPicPr>
              <a:picLocks noChangeAspect="1"/>
            </p:cNvPicPr>
            <p:nvPr>
              <p:custDataLst>
                <p:tags r:id="rId4"/>
              </p:custDataLst>
            </p:nvPr>
          </p:nvPicPr>
          <p:blipFill rotWithShape="1">
            <a:blip r:embed="rId46" cstate="print">
              <a:extLst>
                <a:ext uri="{28A0092B-C50C-407E-A947-70E740481C1C}">
                  <a14:useLocalDpi xmlns:a14="http://schemas.microsoft.com/office/drawing/2010/main" val="0"/>
                </a:ext>
              </a:extLst>
            </a:blip>
            <a:srcRect/>
            <a:stretch/>
          </p:blipFill>
          <p:spPr>
            <a:xfrm>
              <a:off x="691878" y="2535756"/>
              <a:ext cx="7189244" cy="2170336"/>
            </a:xfrm>
            <a:prstGeom prst="rect">
              <a:avLst/>
            </a:prstGeom>
            <a:effectLst>
              <a:outerShdw blurRad="50800" dist="38100" dir="5400000" algn="t" rotWithShape="0">
                <a:prstClr val="black">
                  <a:alpha val="40000"/>
                </a:prstClr>
              </a:outerShdw>
            </a:effectLst>
          </p:spPr>
        </p:pic>
        <p:pic>
          <p:nvPicPr>
            <p:cNvPr id="6" name="Picture 7">
              <a:extLst>
                <a:ext uri="{FF2B5EF4-FFF2-40B4-BE49-F238E27FC236}">
                  <a16:creationId xmlns:a16="http://schemas.microsoft.com/office/drawing/2014/main" id="{73934B08-0523-4876-8A50-33A2088F9963}"/>
                </a:ext>
              </a:extLst>
            </p:cNvPr>
            <p:cNvPicPr>
              <a:picLocks noChangeAspect="1" noChangeArrowheads="1"/>
            </p:cNvPicPr>
            <p:nvPr>
              <p:custDataLst>
                <p:tags r:id="rId5"/>
              </p:custDataLst>
            </p:nvPr>
          </p:nvPicPr>
          <p:blipFill rotWithShape="1">
            <a:blip r:embed="rId47" cstate="print">
              <a:extLst>
                <a:ext uri="{28A0092B-C50C-407E-A947-70E740481C1C}">
                  <a14:useLocalDpi xmlns:a14="http://schemas.microsoft.com/office/drawing/2010/main" val="0"/>
                </a:ext>
              </a:extLst>
            </a:blip>
            <a:srcRect t="-33207" b="-2"/>
            <a:stretch/>
          </p:blipFill>
          <p:spPr bwMode="auto">
            <a:xfrm flipV="1">
              <a:off x="5410093" y="3382401"/>
              <a:ext cx="91782" cy="1336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6" descr="Screen Clipping">
              <a:extLst>
                <a:ext uri="{FF2B5EF4-FFF2-40B4-BE49-F238E27FC236}">
                  <a16:creationId xmlns:a16="http://schemas.microsoft.com/office/drawing/2014/main" id="{08E91738-8FE4-4AB7-97C6-8327874E354D}"/>
                </a:ext>
              </a:extLst>
            </p:cNvPr>
            <p:cNvPicPr>
              <a:picLocks noChangeAspect="1"/>
            </p:cNvPicPr>
            <p:nvPr>
              <p:custDataLst>
                <p:tags r:id="rId6"/>
              </p:custDataLst>
            </p:nvPr>
          </p:nvPicPr>
          <p:blipFill rotWithShape="1">
            <a:blip r:embed="rId48" cstate="print">
              <a:extLst>
                <a:ext uri="{28A0092B-C50C-407E-A947-70E740481C1C}">
                  <a14:useLocalDpi xmlns:a14="http://schemas.microsoft.com/office/drawing/2010/main" val="0"/>
                </a:ext>
              </a:extLst>
            </a:blip>
            <a:srcRect/>
            <a:stretch/>
          </p:blipFill>
          <p:spPr>
            <a:xfrm flipV="1">
              <a:off x="4749427" y="3807926"/>
              <a:ext cx="108408" cy="136688"/>
            </a:xfrm>
            <a:prstGeom prst="rect">
              <a:avLst/>
            </a:prstGeom>
            <a:effectLst/>
          </p:spPr>
        </p:pic>
        <p:sp>
          <p:nvSpPr>
            <p:cNvPr id="8" name="TextBox 19">
              <a:extLst>
                <a:ext uri="{FF2B5EF4-FFF2-40B4-BE49-F238E27FC236}">
                  <a16:creationId xmlns:a16="http://schemas.microsoft.com/office/drawing/2014/main" id="{79836DAB-C800-4898-8397-A94CB757888A}"/>
                </a:ext>
              </a:extLst>
            </p:cNvPr>
            <p:cNvSpPr txBox="1"/>
            <p:nvPr>
              <p:custDataLst>
                <p:tags r:id="rId7"/>
              </p:custDataLst>
            </p:nvPr>
          </p:nvSpPr>
          <p:spPr>
            <a:xfrm>
              <a:off x="3448318" y="3368533"/>
              <a:ext cx="127872" cy="140659"/>
            </a:xfrm>
            <a:prstGeom prst="rect">
              <a:avLst/>
            </a:prstGeom>
            <a:solidFill>
              <a:srgbClr val="FF00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9" name="TextBox 19">
              <a:extLst>
                <a:ext uri="{FF2B5EF4-FFF2-40B4-BE49-F238E27FC236}">
                  <a16:creationId xmlns:a16="http://schemas.microsoft.com/office/drawing/2014/main" id="{D0857169-563B-4F25-AC06-3A0EED8C9879}"/>
                </a:ext>
              </a:extLst>
            </p:cNvPr>
            <p:cNvSpPr txBox="1"/>
            <p:nvPr>
              <p:custDataLst>
                <p:tags r:id="rId8"/>
              </p:custDataLst>
            </p:nvPr>
          </p:nvSpPr>
          <p:spPr>
            <a:xfrm>
              <a:off x="3412603" y="3592772"/>
              <a:ext cx="127872" cy="140659"/>
            </a:xfrm>
            <a:prstGeom prst="rect">
              <a:avLst/>
            </a:prstGeom>
            <a:solidFill>
              <a:srgbClr val="FFFF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10" name="TextBox 19">
              <a:extLst>
                <a:ext uri="{FF2B5EF4-FFF2-40B4-BE49-F238E27FC236}">
                  <a16:creationId xmlns:a16="http://schemas.microsoft.com/office/drawing/2014/main" id="{D9EC86A9-1262-4694-B0F5-0A51D1E360F4}"/>
                </a:ext>
              </a:extLst>
            </p:cNvPr>
            <p:cNvSpPr txBox="1"/>
            <p:nvPr>
              <p:custDataLst>
                <p:tags r:id="rId9"/>
              </p:custDataLst>
            </p:nvPr>
          </p:nvSpPr>
          <p:spPr>
            <a:xfrm>
              <a:off x="4070877" y="3382401"/>
              <a:ext cx="127872" cy="140659"/>
            </a:xfrm>
            <a:prstGeom prst="rect">
              <a:avLst/>
            </a:prstGeom>
            <a:solidFill>
              <a:srgbClr val="FFFF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11" name="TextBox 18">
              <a:extLst>
                <a:ext uri="{FF2B5EF4-FFF2-40B4-BE49-F238E27FC236}">
                  <a16:creationId xmlns:a16="http://schemas.microsoft.com/office/drawing/2014/main" id="{61B1238E-E73C-4036-ADA2-061D22D91761}"/>
                </a:ext>
              </a:extLst>
            </p:cNvPr>
            <p:cNvSpPr txBox="1"/>
            <p:nvPr>
              <p:custDataLst>
                <p:tags r:id="rId10"/>
              </p:custDataLst>
            </p:nvPr>
          </p:nvSpPr>
          <p:spPr>
            <a:xfrm>
              <a:off x="3263037" y="3328194"/>
              <a:ext cx="1309001" cy="468870"/>
            </a:xfrm>
            <a:prstGeom prst="rect">
              <a:avLst/>
            </a:prstGeom>
            <a:solidFill>
              <a:schemeClr val="bg1">
                <a:alpha val="70000"/>
              </a:schemeClr>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398" dirty="0">
                <a:solidFill>
                  <a:srgbClr val="000000"/>
                </a:solidFill>
              </a:endParaRPr>
            </a:p>
          </p:txBody>
        </p:sp>
        <p:sp>
          <p:nvSpPr>
            <p:cNvPr id="12" name="TextBox 19">
              <a:extLst>
                <a:ext uri="{FF2B5EF4-FFF2-40B4-BE49-F238E27FC236}">
                  <a16:creationId xmlns:a16="http://schemas.microsoft.com/office/drawing/2014/main" id="{EAB18B6C-73DA-4B31-A3A4-AF898BD42016}"/>
                </a:ext>
              </a:extLst>
            </p:cNvPr>
            <p:cNvSpPr txBox="1"/>
            <p:nvPr>
              <p:custDataLst>
                <p:tags r:id="rId11"/>
              </p:custDataLst>
            </p:nvPr>
          </p:nvSpPr>
          <p:spPr>
            <a:xfrm>
              <a:off x="5376384" y="3612347"/>
              <a:ext cx="127872" cy="110935"/>
            </a:xfrm>
            <a:prstGeom prst="rect">
              <a:avLst/>
            </a:prstGeom>
            <a:solidFill>
              <a:srgbClr val="008219"/>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13" name="TextBox 19">
              <a:extLst>
                <a:ext uri="{FF2B5EF4-FFF2-40B4-BE49-F238E27FC236}">
                  <a16:creationId xmlns:a16="http://schemas.microsoft.com/office/drawing/2014/main" id="{AF4C874E-33FC-40A8-800D-6288CC708F3F}"/>
                </a:ext>
              </a:extLst>
            </p:cNvPr>
            <p:cNvSpPr txBox="1"/>
            <p:nvPr>
              <p:custDataLst>
                <p:tags r:id="rId12"/>
              </p:custDataLst>
            </p:nvPr>
          </p:nvSpPr>
          <p:spPr>
            <a:xfrm>
              <a:off x="5376384" y="3839061"/>
              <a:ext cx="127872" cy="110935"/>
            </a:xfrm>
            <a:prstGeom prst="rect">
              <a:avLst/>
            </a:prstGeom>
            <a:solidFill>
              <a:srgbClr val="008219"/>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14" name="TextBox 19">
              <a:extLst>
                <a:ext uri="{FF2B5EF4-FFF2-40B4-BE49-F238E27FC236}">
                  <a16:creationId xmlns:a16="http://schemas.microsoft.com/office/drawing/2014/main" id="{E4E95D95-CDB9-4159-B730-B608C6B3FAA3}"/>
                </a:ext>
              </a:extLst>
            </p:cNvPr>
            <p:cNvSpPr txBox="1"/>
            <p:nvPr>
              <p:custDataLst>
                <p:tags r:id="rId13"/>
              </p:custDataLst>
            </p:nvPr>
          </p:nvSpPr>
          <p:spPr>
            <a:xfrm>
              <a:off x="6049397" y="3839061"/>
              <a:ext cx="106729" cy="110935"/>
            </a:xfrm>
            <a:prstGeom prst="rect">
              <a:avLst/>
            </a:prstGeom>
            <a:solidFill>
              <a:srgbClr val="FFFF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17" name="TextBox 18">
              <a:extLst>
                <a:ext uri="{FF2B5EF4-FFF2-40B4-BE49-F238E27FC236}">
                  <a16:creationId xmlns:a16="http://schemas.microsoft.com/office/drawing/2014/main" id="{E06878E4-C052-46BB-B57E-5A1023DBDE10}"/>
                </a:ext>
              </a:extLst>
            </p:cNvPr>
            <p:cNvSpPr txBox="1"/>
            <p:nvPr>
              <p:custDataLst>
                <p:tags r:id="rId14"/>
              </p:custDataLst>
            </p:nvPr>
          </p:nvSpPr>
          <p:spPr>
            <a:xfrm>
              <a:off x="5234794" y="3552901"/>
              <a:ext cx="632208" cy="253688"/>
            </a:xfrm>
            <a:prstGeom prst="rect">
              <a:avLst/>
            </a:prstGeom>
            <a:solidFill>
              <a:schemeClr val="bg1">
                <a:alpha val="70000"/>
              </a:schemeClr>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398" dirty="0">
                <a:solidFill>
                  <a:srgbClr val="000000"/>
                </a:solidFill>
              </a:endParaRPr>
            </a:p>
          </p:txBody>
        </p:sp>
        <p:sp>
          <p:nvSpPr>
            <p:cNvPr id="18" name="TextBox 19">
              <a:extLst>
                <a:ext uri="{FF2B5EF4-FFF2-40B4-BE49-F238E27FC236}">
                  <a16:creationId xmlns:a16="http://schemas.microsoft.com/office/drawing/2014/main" id="{0B22E288-A8D4-4B58-91EE-8E58F5ED28B2}"/>
                </a:ext>
              </a:extLst>
            </p:cNvPr>
            <p:cNvSpPr txBox="1"/>
            <p:nvPr>
              <p:custDataLst>
                <p:tags r:id="rId15"/>
              </p:custDataLst>
            </p:nvPr>
          </p:nvSpPr>
          <p:spPr>
            <a:xfrm>
              <a:off x="3443272" y="3833679"/>
              <a:ext cx="106729" cy="110935"/>
            </a:xfrm>
            <a:prstGeom prst="rect">
              <a:avLst/>
            </a:prstGeom>
            <a:solidFill>
              <a:srgbClr val="008219"/>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19" name="TextBox 19">
              <a:extLst>
                <a:ext uri="{FF2B5EF4-FFF2-40B4-BE49-F238E27FC236}">
                  <a16:creationId xmlns:a16="http://schemas.microsoft.com/office/drawing/2014/main" id="{7CA437CA-92A8-41F7-A6C8-4E7F012D3E77}"/>
                </a:ext>
              </a:extLst>
            </p:cNvPr>
            <p:cNvSpPr txBox="1"/>
            <p:nvPr>
              <p:custDataLst>
                <p:tags r:id="rId16"/>
              </p:custDataLst>
            </p:nvPr>
          </p:nvSpPr>
          <p:spPr>
            <a:xfrm>
              <a:off x="4095287" y="3833679"/>
              <a:ext cx="106729" cy="110935"/>
            </a:xfrm>
            <a:prstGeom prst="rect">
              <a:avLst/>
            </a:prstGeom>
            <a:solidFill>
              <a:srgbClr val="008219"/>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20" name="TextBox 19">
              <a:extLst>
                <a:ext uri="{FF2B5EF4-FFF2-40B4-BE49-F238E27FC236}">
                  <a16:creationId xmlns:a16="http://schemas.microsoft.com/office/drawing/2014/main" id="{BE602B9E-E8EA-41AD-84A9-4436C5A31EEC}"/>
                </a:ext>
              </a:extLst>
            </p:cNvPr>
            <p:cNvSpPr txBox="1"/>
            <p:nvPr>
              <p:custDataLst>
                <p:tags r:id="rId17"/>
              </p:custDataLst>
            </p:nvPr>
          </p:nvSpPr>
          <p:spPr>
            <a:xfrm>
              <a:off x="6684634" y="3839061"/>
              <a:ext cx="127872" cy="110935"/>
            </a:xfrm>
            <a:prstGeom prst="rect">
              <a:avLst/>
            </a:prstGeom>
            <a:solidFill>
              <a:srgbClr val="008219"/>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21" name="TextBox 19">
              <a:extLst>
                <a:ext uri="{FF2B5EF4-FFF2-40B4-BE49-F238E27FC236}">
                  <a16:creationId xmlns:a16="http://schemas.microsoft.com/office/drawing/2014/main" id="{CC7AA42E-770E-409B-A841-596CDB092523}"/>
                </a:ext>
              </a:extLst>
            </p:cNvPr>
            <p:cNvSpPr txBox="1"/>
            <p:nvPr>
              <p:custDataLst>
                <p:tags r:id="rId18"/>
              </p:custDataLst>
            </p:nvPr>
          </p:nvSpPr>
          <p:spPr>
            <a:xfrm>
              <a:off x="3435079" y="4063593"/>
              <a:ext cx="106729" cy="110935"/>
            </a:xfrm>
            <a:prstGeom prst="rect">
              <a:avLst/>
            </a:prstGeom>
            <a:solidFill>
              <a:srgbClr val="008219"/>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22" name="TextBox 19">
              <a:extLst>
                <a:ext uri="{FF2B5EF4-FFF2-40B4-BE49-F238E27FC236}">
                  <a16:creationId xmlns:a16="http://schemas.microsoft.com/office/drawing/2014/main" id="{03335BD4-4BE1-4680-A067-FB8DD1F152EE}"/>
                </a:ext>
              </a:extLst>
            </p:cNvPr>
            <p:cNvSpPr txBox="1"/>
            <p:nvPr>
              <p:custDataLst>
                <p:tags r:id="rId19"/>
              </p:custDataLst>
            </p:nvPr>
          </p:nvSpPr>
          <p:spPr>
            <a:xfrm>
              <a:off x="3453080" y="4525370"/>
              <a:ext cx="106729" cy="110935"/>
            </a:xfrm>
            <a:prstGeom prst="rect">
              <a:avLst/>
            </a:prstGeom>
            <a:solidFill>
              <a:srgbClr val="FF00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23" name="TextBox 19">
              <a:extLst>
                <a:ext uri="{FF2B5EF4-FFF2-40B4-BE49-F238E27FC236}">
                  <a16:creationId xmlns:a16="http://schemas.microsoft.com/office/drawing/2014/main" id="{618E9220-8478-467E-AC3D-5CB37232A507}"/>
                </a:ext>
              </a:extLst>
            </p:cNvPr>
            <p:cNvSpPr txBox="1"/>
            <p:nvPr>
              <p:custDataLst>
                <p:tags r:id="rId20"/>
              </p:custDataLst>
            </p:nvPr>
          </p:nvSpPr>
          <p:spPr>
            <a:xfrm>
              <a:off x="4092020" y="4525370"/>
              <a:ext cx="106729" cy="110935"/>
            </a:xfrm>
            <a:prstGeom prst="rect">
              <a:avLst/>
            </a:prstGeom>
            <a:solidFill>
              <a:srgbClr val="FFFF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24" name="TextBox 19">
              <a:extLst>
                <a:ext uri="{FF2B5EF4-FFF2-40B4-BE49-F238E27FC236}">
                  <a16:creationId xmlns:a16="http://schemas.microsoft.com/office/drawing/2014/main" id="{F6DAFCCE-1454-440B-A02F-4967BCD488FE}"/>
                </a:ext>
              </a:extLst>
            </p:cNvPr>
            <p:cNvSpPr txBox="1"/>
            <p:nvPr>
              <p:custDataLst>
                <p:tags r:id="rId21"/>
              </p:custDataLst>
            </p:nvPr>
          </p:nvSpPr>
          <p:spPr>
            <a:xfrm>
              <a:off x="4091858" y="4303188"/>
              <a:ext cx="106729" cy="110935"/>
            </a:xfrm>
            <a:prstGeom prst="rect">
              <a:avLst/>
            </a:prstGeom>
            <a:solidFill>
              <a:srgbClr val="008219"/>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25" name="TextBox 19">
              <a:extLst>
                <a:ext uri="{FF2B5EF4-FFF2-40B4-BE49-F238E27FC236}">
                  <a16:creationId xmlns:a16="http://schemas.microsoft.com/office/drawing/2014/main" id="{6C11B905-BA41-4508-8650-53B746165EBA}"/>
                </a:ext>
              </a:extLst>
            </p:cNvPr>
            <p:cNvSpPr txBox="1"/>
            <p:nvPr>
              <p:custDataLst>
                <p:tags r:id="rId22"/>
              </p:custDataLst>
            </p:nvPr>
          </p:nvSpPr>
          <p:spPr>
            <a:xfrm>
              <a:off x="4095287" y="4062984"/>
              <a:ext cx="106729" cy="110935"/>
            </a:xfrm>
            <a:prstGeom prst="rect">
              <a:avLst/>
            </a:prstGeom>
            <a:solidFill>
              <a:srgbClr val="FF00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26" name="TextBox 18">
              <a:extLst>
                <a:ext uri="{FF2B5EF4-FFF2-40B4-BE49-F238E27FC236}">
                  <a16:creationId xmlns:a16="http://schemas.microsoft.com/office/drawing/2014/main" id="{B9B3BC54-EDE1-4E54-9A69-63D290F05E60}"/>
                </a:ext>
              </a:extLst>
            </p:cNvPr>
            <p:cNvSpPr txBox="1">
              <a:spLocks/>
            </p:cNvSpPr>
            <p:nvPr>
              <p:custDataLst>
                <p:tags r:id="rId23"/>
              </p:custDataLst>
            </p:nvPr>
          </p:nvSpPr>
          <p:spPr>
            <a:xfrm>
              <a:off x="3263037" y="4006480"/>
              <a:ext cx="1309001" cy="699612"/>
            </a:xfrm>
            <a:prstGeom prst="rect">
              <a:avLst/>
            </a:prstGeom>
            <a:solidFill>
              <a:schemeClr val="bg1">
                <a:alpha val="70000"/>
              </a:schemeClr>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398" dirty="0">
                <a:solidFill>
                  <a:srgbClr val="000000"/>
                </a:solidFill>
              </a:endParaRPr>
            </a:p>
          </p:txBody>
        </p:sp>
        <p:sp>
          <p:nvSpPr>
            <p:cNvPr id="27" name="TextBox 19">
              <a:extLst>
                <a:ext uri="{FF2B5EF4-FFF2-40B4-BE49-F238E27FC236}">
                  <a16:creationId xmlns:a16="http://schemas.microsoft.com/office/drawing/2014/main" id="{7FB9DE15-084A-4BBD-854E-10B9E8CEE4EB}"/>
                </a:ext>
              </a:extLst>
            </p:cNvPr>
            <p:cNvSpPr txBox="1"/>
            <p:nvPr>
              <p:custDataLst>
                <p:tags r:id="rId24"/>
              </p:custDataLst>
            </p:nvPr>
          </p:nvSpPr>
          <p:spPr>
            <a:xfrm>
              <a:off x="4742829" y="3607081"/>
              <a:ext cx="106729" cy="110935"/>
            </a:xfrm>
            <a:prstGeom prst="rect">
              <a:avLst/>
            </a:prstGeom>
            <a:solidFill>
              <a:srgbClr val="008219"/>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28" name="TextBox 19">
              <a:extLst>
                <a:ext uri="{FF2B5EF4-FFF2-40B4-BE49-F238E27FC236}">
                  <a16:creationId xmlns:a16="http://schemas.microsoft.com/office/drawing/2014/main" id="{A2DDAD96-48B9-401D-84D4-D7DE2DD68352}"/>
                </a:ext>
              </a:extLst>
            </p:cNvPr>
            <p:cNvSpPr txBox="1"/>
            <p:nvPr>
              <p:custDataLst>
                <p:tags r:id="rId25"/>
              </p:custDataLst>
            </p:nvPr>
          </p:nvSpPr>
          <p:spPr>
            <a:xfrm>
              <a:off x="4742829" y="4063593"/>
              <a:ext cx="106729" cy="110935"/>
            </a:xfrm>
            <a:prstGeom prst="rect">
              <a:avLst/>
            </a:prstGeom>
            <a:solidFill>
              <a:srgbClr val="FFFF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defPPr>
                <a:defRPr lang="en-US"/>
              </a:defPPr>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29" name="TextBox 19">
              <a:extLst>
                <a:ext uri="{FF2B5EF4-FFF2-40B4-BE49-F238E27FC236}">
                  <a16:creationId xmlns:a16="http://schemas.microsoft.com/office/drawing/2014/main" id="{FD7FDF6B-442B-425D-9E43-778BC08C7523}"/>
                </a:ext>
              </a:extLst>
            </p:cNvPr>
            <p:cNvSpPr txBox="1"/>
            <p:nvPr>
              <p:custDataLst>
                <p:tags r:id="rId26"/>
              </p:custDataLst>
            </p:nvPr>
          </p:nvSpPr>
          <p:spPr>
            <a:xfrm>
              <a:off x="4774579" y="4303187"/>
              <a:ext cx="106729" cy="110935"/>
            </a:xfrm>
            <a:prstGeom prst="rect">
              <a:avLst/>
            </a:prstGeom>
            <a:solidFill>
              <a:srgbClr val="FF00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30" name="TextBox 19">
              <a:extLst>
                <a:ext uri="{FF2B5EF4-FFF2-40B4-BE49-F238E27FC236}">
                  <a16:creationId xmlns:a16="http://schemas.microsoft.com/office/drawing/2014/main" id="{76576BB0-AA0A-42F2-A25F-EACC45EBF1D8}"/>
                </a:ext>
              </a:extLst>
            </p:cNvPr>
            <p:cNvSpPr txBox="1"/>
            <p:nvPr>
              <p:custDataLst>
                <p:tags r:id="rId27"/>
              </p:custDataLst>
            </p:nvPr>
          </p:nvSpPr>
          <p:spPr>
            <a:xfrm>
              <a:off x="4742829" y="4530707"/>
              <a:ext cx="106729" cy="110935"/>
            </a:xfrm>
            <a:prstGeom prst="rect">
              <a:avLst/>
            </a:prstGeom>
            <a:solidFill>
              <a:srgbClr val="FFFF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defPPr>
                <a:defRPr lang="en-US"/>
              </a:defPPr>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31" name="TextBox 19">
              <a:extLst>
                <a:ext uri="{FF2B5EF4-FFF2-40B4-BE49-F238E27FC236}">
                  <a16:creationId xmlns:a16="http://schemas.microsoft.com/office/drawing/2014/main" id="{FAF3BB94-E5CF-4ED6-A572-67ACCAD512FC}"/>
                </a:ext>
              </a:extLst>
            </p:cNvPr>
            <p:cNvSpPr txBox="1"/>
            <p:nvPr>
              <p:custDataLst>
                <p:tags r:id="rId28"/>
              </p:custDataLst>
            </p:nvPr>
          </p:nvSpPr>
          <p:spPr>
            <a:xfrm>
              <a:off x="5401784" y="4303187"/>
              <a:ext cx="106729" cy="110935"/>
            </a:xfrm>
            <a:prstGeom prst="rect">
              <a:avLst/>
            </a:prstGeom>
            <a:solidFill>
              <a:srgbClr val="FF00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32" name="TextBox 19">
              <a:extLst>
                <a:ext uri="{FF2B5EF4-FFF2-40B4-BE49-F238E27FC236}">
                  <a16:creationId xmlns:a16="http://schemas.microsoft.com/office/drawing/2014/main" id="{FF0A18B0-C355-4987-ADB5-1F08C57988E3}"/>
                </a:ext>
              </a:extLst>
            </p:cNvPr>
            <p:cNvSpPr txBox="1"/>
            <p:nvPr>
              <p:custDataLst>
                <p:tags r:id="rId29"/>
              </p:custDataLst>
            </p:nvPr>
          </p:nvSpPr>
          <p:spPr>
            <a:xfrm>
              <a:off x="5401784" y="4070955"/>
              <a:ext cx="106729" cy="110935"/>
            </a:xfrm>
            <a:prstGeom prst="rect">
              <a:avLst/>
            </a:prstGeom>
            <a:solidFill>
              <a:srgbClr val="FF00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33" name="TextBox 19">
              <a:extLst>
                <a:ext uri="{FF2B5EF4-FFF2-40B4-BE49-F238E27FC236}">
                  <a16:creationId xmlns:a16="http://schemas.microsoft.com/office/drawing/2014/main" id="{45325BD8-BF2A-4F80-A9E7-CBBF94B2E0D1}"/>
                </a:ext>
              </a:extLst>
            </p:cNvPr>
            <p:cNvSpPr txBox="1"/>
            <p:nvPr>
              <p:custDataLst>
                <p:tags r:id="rId30"/>
              </p:custDataLst>
            </p:nvPr>
          </p:nvSpPr>
          <p:spPr>
            <a:xfrm>
              <a:off x="5401784" y="4525369"/>
              <a:ext cx="106729" cy="110935"/>
            </a:xfrm>
            <a:prstGeom prst="rect">
              <a:avLst/>
            </a:prstGeom>
            <a:solidFill>
              <a:srgbClr val="FF00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34" name="TextBox 19">
              <a:extLst>
                <a:ext uri="{FF2B5EF4-FFF2-40B4-BE49-F238E27FC236}">
                  <a16:creationId xmlns:a16="http://schemas.microsoft.com/office/drawing/2014/main" id="{C1A8566C-B713-4338-BF51-9F68867379A5}"/>
                </a:ext>
              </a:extLst>
            </p:cNvPr>
            <p:cNvSpPr txBox="1"/>
            <p:nvPr>
              <p:custDataLst>
                <p:tags r:id="rId31"/>
              </p:custDataLst>
            </p:nvPr>
          </p:nvSpPr>
          <p:spPr>
            <a:xfrm>
              <a:off x="6052333" y="4061429"/>
              <a:ext cx="106729" cy="110935"/>
            </a:xfrm>
            <a:prstGeom prst="rect">
              <a:avLst/>
            </a:prstGeom>
            <a:solidFill>
              <a:srgbClr val="FFFF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defPPr>
                <a:defRPr lang="en-US"/>
              </a:defPPr>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35" name="TextBox 19">
              <a:extLst>
                <a:ext uri="{FF2B5EF4-FFF2-40B4-BE49-F238E27FC236}">
                  <a16:creationId xmlns:a16="http://schemas.microsoft.com/office/drawing/2014/main" id="{5993F9C2-D631-4E06-8A8E-2B99F25EAED9}"/>
                </a:ext>
              </a:extLst>
            </p:cNvPr>
            <p:cNvSpPr txBox="1"/>
            <p:nvPr>
              <p:custDataLst>
                <p:tags r:id="rId32"/>
              </p:custDataLst>
            </p:nvPr>
          </p:nvSpPr>
          <p:spPr>
            <a:xfrm>
              <a:off x="6028518" y="4536044"/>
              <a:ext cx="127872" cy="110935"/>
            </a:xfrm>
            <a:prstGeom prst="rect">
              <a:avLst/>
            </a:prstGeom>
            <a:solidFill>
              <a:srgbClr val="008219"/>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36" name="TextBox 19">
              <a:extLst>
                <a:ext uri="{FF2B5EF4-FFF2-40B4-BE49-F238E27FC236}">
                  <a16:creationId xmlns:a16="http://schemas.microsoft.com/office/drawing/2014/main" id="{B6735E90-2F1A-4BE7-BE67-379DE4DEE7A0}"/>
                </a:ext>
              </a:extLst>
            </p:cNvPr>
            <p:cNvSpPr txBox="1"/>
            <p:nvPr>
              <p:custDataLst>
                <p:tags r:id="rId33"/>
              </p:custDataLst>
            </p:nvPr>
          </p:nvSpPr>
          <p:spPr>
            <a:xfrm>
              <a:off x="6684632" y="4297850"/>
              <a:ext cx="127872" cy="110935"/>
            </a:xfrm>
            <a:prstGeom prst="rect">
              <a:avLst/>
            </a:prstGeom>
            <a:solidFill>
              <a:srgbClr val="FF00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defPPr>
                <a:defRPr lang="en-US"/>
              </a:defPPr>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37" name="TextBox 19">
              <a:extLst>
                <a:ext uri="{FF2B5EF4-FFF2-40B4-BE49-F238E27FC236}">
                  <a16:creationId xmlns:a16="http://schemas.microsoft.com/office/drawing/2014/main" id="{9294E663-9A15-459D-AB85-FBCE37DD079B}"/>
                </a:ext>
              </a:extLst>
            </p:cNvPr>
            <p:cNvSpPr txBox="1"/>
            <p:nvPr>
              <p:custDataLst>
                <p:tags r:id="rId34"/>
              </p:custDataLst>
            </p:nvPr>
          </p:nvSpPr>
          <p:spPr>
            <a:xfrm>
              <a:off x="7340039" y="4297850"/>
              <a:ext cx="127872" cy="110935"/>
            </a:xfrm>
            <a:prstGeom prst="rect">
              <a:avLst/>
            </a:prstGeom>
            <a:solidFill>
              <a:srgbClr val="FF00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defPPr>
                <a:defRPr lang="en-US"/>
              </a:defPPr>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38" name="TextBox 19">
              <a:extLst>
                <a:ext uri="{FF2B5EF4-FFF2-40B4-BE49-F238E27FC236}">
                  <a16:creationId xmlns:a16="http://schemas.microsoft.com/office/drawing/2014/main" id="{FAAE407F-B34E-4FCA-811F-5B272B8392E1}"/>
                </a:ext>
              </a:extLst>
            </p:cNvPr>
            <p:cNvSpPr txBox="1"/>
            <p:nvPr>
              <p:custDataLst>
                <p:tags r:id="rId35"/>
              </p:custDataLst>
            </p:nvPr>
          </p:nvSpPr>
          <p:spPr>
            <a:xfrm>
              <a:off x="7340039" y="4531280"/>
              <a:ext cx="127872" cy="110935"/>
            </a:xfrm>
            <a:prstGeom prst="rect">
              <a:avLst/>
            </a:prstGeom>
            <a:solidFill>
              <a:srgbClr val="FF00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defPPr>
                <a:defRPr lang="en-US"/>
              </a:defPPr>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39" name="TextBox 19">
              <a:extLst>
                <a:ext uri="{FF2B5EF4-FFF2-40B4-BE49-F238E27FC236}">
                  <a16:creationId xmlns:a16="http://schemas.microsoft.com/office/drawing/2014/main" id="{48927899-0E3A-4B3A-BC9E-7FE0B64916D4}"/>
                </a:ext>
              </a:extLst>
            </p:cNvPr>
            <p:cNvSpPr txBox="1"/>
            <p:nvPr>
              <p:custDataLst>
                <p:tags r:id="rId36"/>
              </p:custDataLst>
            </p:nvPr>
          </p:nvSpPr>
          <p:spPr>
            <a:xfrm>
              <a:off x="7340039" y="4070955"/>
              <a:ext cx="127872" cy="110935"/>
            </a:xfrm>
            <a:prstGeom prst="rect">
              <a:avLst/>
            </a:prstGeom>
            <a:solidFill>
              <a:srgbClr val="FFFF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defPPr>
                <a:defRPr lang="en-US"/>
              </a:defPPr>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40" name="TextBox 18">
              <a:extLst>
                <a:ext uri="{FF2B5EF4-FFF2-40B4-BE49-F238E27FC236}">
                  <a16:creationId xmlns:a16="http://schemas.microsoft.com/office/drawing/2014/main" id="{0E0DC574-2A98-4B74-A2B1-B59C7C8EB9AC}"/>
                </a:ext>
              </a:extLst>
            </p:cNvPr>
            <p:cNvSpPr txBox="1">
              <a:spLocks/>
            </p:cNvSpPr>
            <p:nvPr>
              <p:custDataLst>
                <p:tags r:id="rId37"/>
              </p:custDataLst>
            </p:nvPr>
          </p:nvSpPr>
          <p:spPr>
            <a:xfrm>
              <a:off x="5234793" y="4006480"/>
              <a:ext cx="2646329" cy="699612"/>
            </a:xfrm>
            <a:prstGeom prst="rect">
              <a:avLst/>
            </a:prstGeom>
            <a:solidFill>
              <a:schemeClr val="bg1">
                <a:alpha val="45000"/>
              </a:schemeClr>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398" dirty="0">
                <a:solidFill>
                  <a:srgbClr val="000000"/>
                </a:solidFill>
              </a:endParaRPr>
            </a:p>
          </p:txBody>
        </p:sp>
        <p:sp>
          <p:nvSpPr>
            <p:cNvPr id="41" name="TextBox 19">
              <a:extLst>
                <a:ext uri="{FF2B5EF4-FFF2-40B4-BE49-F238E27FC236}">
                  <a16:creationId xmlns:a16="http://schemas.microsoft.com/office/drawing/2014/main" id="{AC90C10B-C9E6-4B75-B265-6B82503719A9}"/>
                </a:ext>
              </a:extLst>
            </p:cNvPr>
            <p:cNvSpPr txBox="1"/>
            <p:nvPr>
              <p:custDataLst>
                <p:tags r:id="rId38"/>
              </p:custDataLst>
            </p:nvPr>
          </p:nvSpPr>
          <p:spPr>
            <a:xfrm>
              <a:off x="6054160" y="3385473"/>
              <a:ext cx="106729" cy="110935"/>
            </a:xfrm>
            <a:prstGeom prst="rect">
              <a:avLst/>
            </a:prstGeom>
            <a:solidFill>
              <a:srgbClr val="FFFF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42" name="TextBox 19">
              <a:extLst>
                <a:ext uri="{FF2B5EF4-FFF2-40B4-BE49-F238E27FC236}">
                  <a16:creationId xmlns:a16="http://schemas.microsoft.com/office/drawing/2014/main" id="{0B60EF4F-1032-41B4-B442-20A3630844BD}"/>
                </a:ext>
              </a:extLst>
            </p:cNvPr>
            <p:cNvSpPr txBox="1"/>
            <p:nvPr>
              <p:custDataLst>
                <p:tags r:id="rId39"/>
              </p:custDataLst>
            </p:nvPr>
          </p:nvSpPr>
          <p:spPr>
            <a:xfrm>
              <a:off x="6054160" y="3609309"/>
              <a:ext cx="106729" cy="110935"/>
            </a:xfrm>
            <a:prstGeom prst="rect">
              <a:avLst/>
            </a:prstGeom>
            <a:solidFill>
              <a:srgbClr val="FF00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43" name="TextBox 19">
              <a:extLst>
                <a:ext uri="{FF2B5EF4-FFF2-40B4-BE49-F238E27FC236}">
                  <a16:creationId xmlns:a16="http://schemas.microsoft.com/office/drawing/2014/main" id="{BFF3FDF3-5C01-4DD5-A740-807356305D78}"/>
                </a:ext>
              </a:extLst>
            </p:cNvPr>
            <p:cNvSpPr txBox="1"/>
            <p:nvPr>
              <p:custDataLst>
                <p:tags r:id="rId40"/>
              </p:custDataLst>
            </p:nvPr>
          </p:nvSpPr>
          <p:spPr>
            <a:xfrm>
              <a:off x="6707113" y="3385482"/>
              <a:ext cx="106729" cy="110935"/>
            </a:xfrm>
            <a:prstGeom prst="rect">
              <a:avLst/>
            </a:prstGeom>
            <a:solidFill>
              <a:srgbClr val="FF00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44" name="TextBox 19">
              <a:extLst>
                <a:ext uri="{FF2B5EF4-FFF2-40B4-BE49-F238E27FC236}">
                  <a16:creationId xmlns:a16="http://schemas.microsoft.com/office/drawing/2014/main" id="{78B1CC33-C4E3-4E5F-A64F-415ACA75A895}"/>
                </a:ext>
              </a:extLst>
            </p:cNvPr>
            <p:cNvSpPr txBox="1"/>
            <p:nvPr>
              <p:custDataLst>
                <p:tags r:id="rId41"/>
              </p:custDataLst>
            </p:nvPr>
          </p:nvSpPr>
          <p:spPr>
            <a:xfrm>
              <a:off x="6707113" y="3609309"/>
              <a:ext cx="106729" cy="110935"/>
            </a:xfrm>
            <a:prstGeom prst="rect">
              <a:avLst/>
            </a:prstGeom>
            <a:solidFill>
              <a:srgbClr val="FF00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45" name="TextBox 19">
              <a:extLst>
                <a:ext uri="{FF2B5EF4-FFF2-40B4-BE49-F238E27FC236}">
                  <a16:creationId xmlns:a16="http://schemas.microsoft.com/office/drawing/2014/main" id="{398C9AAE-D72C-4A19-9083-E13D922214C3}"/>
                </a:ext>
              </a:extLst>
            </p:cNvPr>
            <p:cNvSpPr txBox="1"/>
            <p:nvPr>
              <p:custDataLst>
                <p:tags r:id="rId42"/>
              </p:custDataLst>
            </p:nvPr>
          </p:nvSpPr>
          <p:spPr>
            <a:xfrm>
              <a:off x="7363199" y="3375384"/>
              <a:ext cx="106729" cy="110935"/>
            </a:xfrm>
            <a:prstGeom prst="rect">
              <a:avLst/>
            </a:prstGeom>
            <a:solidFill>
              <a:srgbClr val="FFFF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46" name="TextBox 19">
              <a:extLst>
                <a:ext uri="{FF2B5EF4-FFF2-40B4-BE49-F238E27FC236}">
                  <a16:creationId xmlns:a16="http://schemas.microsoft.com/office/drawing/2014/main" id="{08E94F93-D602-41C5-93BD-361D9F31D558}"/>
                </a:ext>
              </a:extLst>
            </p:cNvPr>
            <p:cNvSpPr txBox="1"/>
            <p:nvPr>
              <p:custDataLst>
                <p:tags r:id="rId43"/>
              </p:custDataLst>
            </p:nvPr>
          </p:nvSpPr>
          <p:spPr>
            <a:xfrm>
              <a:off x="7363199" y="3603444"/>
              <a:ext cx="106729" cy="110935"/>
            </a:xfrm>
            <a:prstGeom prst="rect">
              <a:avLst/>
            </a:prstGeom>
            <a:solidFill>
              <a:srgbClr val="FFFF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800" dirty="0">
                <a:solidFill>
                  <a:srgbClr val="000000"/>
                </a:solidFill>
              </a:endParaRPr>
            </a:p>
          </p:txBody>
        </p:sp>
        <p:sp>
          <p:nvSpPr>
            <p:cNvPr id="47" name="TextBox 18">
              <a:extLst>
                <a:ext uri="{FF2B5EF4-FFF2-40B4-BE49-F238E27FC236}">
                  <a16:creationId xmlns:a16="http://schemas.microsoft.com/office/drawing/2014/main" id="{B4E3C78D-58F1-4565-88A9-95EC2C20728C}"/>
                </a:ext>
              </a:extLst>
            </p:cNvPr>
            <p:cNvSpPr txBox="1"/>
            <p:nvPr>
              <p:custDataLst>
                <p:tags r:id="rId44"/>
              </p:custDataLst>
            </p:nvPr>
          </p:nvSpPr>
          <p:spPr>
            <a:xfrm>
              <a:off x="5867001" y="3328195"/>
              <a:ext cx="2014121" cy="468869"/>
            </a:xfrm>
            <a:prstGeom prst="rect">
              <a:avLst/>
            </a:prstGeom>
            <a:solidFill>
              <a:schemeClr val="bg1">
                <a:alpha val="70000"/>
              </a:schemeClr>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fr-FR" sz="1398" dirty="0">
                <a:solidFill>
                  <a:srgbClr val="000000"/>
                </a:solidFill>
              </a:endParaRPr>
            </a:p>
          </p:txBody>
        </p:sp>
      </p:grpSp>
      <p:grpSp>
        <p:nvGrpSpPr>
          <p:cNvPr id="50" name="Group 49">
            <a:extLst>
              <a:ext uri="{FF2B5EF4-FFF2-40B4-BE49-F238E27FC236}">
                <a16:creationId xmlns:a16="http://schemas.microsoft.com/office/drawing/2014/main" id="{A57CB4D2-E769-443D-9321-011936E47DB7}"/>
              </a:ext>
            </a:extLst>
          </p:cNvPr>
          <p:cNvGrpSpPr/>
          <p:nvPr/>
        </p:nvGrpSpPr>
        <p:grpSpPr>
          <a:xfrm>
            <a:off x="822783" y="3011979"/>
            <a:ext cx="7162240" cy="3115845"/>
            <a:chOff x="826201" y="3073751"/>
            <a:chExt cx="7308149" cy="3179321"/>
          </a:xfrm>
        </p:grpSpPr>
        <p:grpSp>
          <p:nvGrpSpPr>
            <p:cNvPr id="2" name="Group 1">
              <a:extLst>
                <a:ext uri="{FF2B5EF4-FFF2-40B4-BE49-F238E27FC236}">
                  <a16:creationId xmlns:a16="http://schemas.microsoft.com/office/drawing/2014/main" id="{61DC0735-476E-42E8-B08B-A56BD5A0249C}"/>
                </a:ext>
              </a:extLst>
            </p:cNvPr>
            <p:cNvGrpSpPr/>
            <p:nvPr/>
          </p:nvGrpSpPr>
          <p:grpSpPr>
            <a:xfrm>
              <a:off x="3333107" y="4312518"/>
              <a:ext cx="2464441" cy="1940554"/>
              <a:chOff x="443857" y="4312518"/>
              <a:chExt cx="2464441" cy="1940554"/>
            </a:xfrm>
          </p:grpSpPr>
          <p:sp>
            <p:nvSpPr>
              <p:cNvPr id="62" name="Rectangle: Rounded Corners 61">
                <a:extLst>
                  <a:ext uri="{FF2B5EF4-FFF2-40B4-BE49-F238E27FC236}">
                    <a16:creationId xmlns:a16="http://schemas.microsoft.com/office/drawing/2014/main" id="{308554DC-20F0-433F-9C0E-C69587C317FC}"/>
                  </a:ext>
                </a:extLst>
              </p:cNvPr>
              <p:cNvSpPr/>
              <p:nvPr/>
            </p:nvSpPr>
            <p:spPr>
              <a:xfrm>
                <a:off x="443857" y="4312518"/>
                <a:ext cx="2451100" cy="1940554"/>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72" b="1" dirty="0">
                  <a:latin typeface="Arial" panose="020B0604020202020204" pitchFamily="34" charset="0"/>
                  <a:cs typeface="Arial" panose="020B0604020202020204" pitchFamily="34" charset="0"/>
                </a:endParaRPr>
              </a:p>
            </p:txBody>
          </p:sp>
          <p:sp>
            <p:nvSpPr>
              <p:cNvPr id="63" name="Title 4">
                <a:extLst>
                  <a:ext uri="{FF2B5EF4-FFF2-40B4-BE49-F238E27FC236}">
                    <a16:creationId xmlns:a16="http://schemas.microsoft.com/office/drawing/2014/main" id="{550499EC-F31C-4D1F-AFFF-9C3E711CCB33}"/>
                  </a:ext>
                </a:extLst>
              </p:cNvPr>
              <p:cNvSpPr txBox="1">
                <a:spLocks/>
              </p:cNvSpPr>
              <p:nvPr/>
            </p:nvSpPr>
            <p:spPr>
              <a:xfrm>
                <a:off x="457199" y="4424957"/>
                <a:ext cx="2451099" cy="221599"/>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algn="ctr"/>
                <a:r>
                  <a:rPr lang="fr-FR" sz="1568" dirty="0">
                    <a:solidFill>
                      <a:schemeClr val="accent3"/>
                    </a:solidFill>
                  </a:rPr>
                  <a:t>Par régions</a:t>
                </a:r>
              </a:p>
            </p:txBody>
          </p:sp>
          <p:sp>
            <p:nvSpPr>
              <p:cNvPr id="65" name="Text Placeholder 5">
                <a:extLst>
                  <a:ext uri="{FF2B5EF4-FFF2-40B4-BE49-F238E27FC236}">
                    <a16:creationId xmlns:a16="http://schemas.microsoft.com/office/drawing/2014/main" id="{689D47EC-A021-4922-836B-3764A02E5E6C}"/>
                  </a:ext>
                </a:extLst>
              </p:cNvPr>
              <p:cNvSpPr txBox="1">
                <a:spLocks/>
              </p:cNvSpPr>
              <p:nvPr/>
            </p:nvSpPr>
            <p:spPr>
              <a:xfrm>
                <a:off x="551663" y="4763642"/>
                <a:ext cx="2262166" cy="1062342"/>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ts val="196"/>
                  </a:spcBef>
                  <a:spcAft>
                    <a:spcPts val="588"/>
                  </a:spcAft>
                </a:pPr>
                <a:r>
                  <a:rPr lang="fr-FR" sz="1568" dirty="0">
                    <a:solidFill>
                      <a:schemeClr val="bg2">
                        <a:lumMod val="10000"/>
                      </a:schemeClr>
                    </a:solidFill>
                  </a:rPr>
                  <a:t>Les indicateurs à faible performance de chaque région montrent où cibler les actions.</a:t>
                </a:r>
              </a:p>
            </p:txBody>
          </p:sp>
        </p:grpSp>
        <p:sp>
          <p:nvSpPr>
            <p:cNvPr id="96" name="Rectangle: Rounded Corners 95">
              <a:extLst>
                <a:ext uri="{FF2B5EF4-FFF2-40B4-BE49-F238E27FC236}">
                  <a16:creationId xmlns:a16="http://schemas.microsoft.com/office/drawing/2014/main" id="{9D81C778-47DC-48A0-A429-7F2CF20841EB}"/>
                </a:ext>
              </a:extLst>
            </p:cNvPr>
            <p:cNvSpPr/>
            <p:nvPr/>
          </p:nvSpPr>
          <p:spPr>
            <a:xfrm>
              <a:off x="826201" y="3073751"/>
              <a:ext cx="7308149" cy="274869"/>
            </a:xfrm>
            <a:prstGeom prst="roundRect">
              <a:avLst>
                <a:gd name="adj" fmla="val 3075"/>
              </a:avLst>
            </a:prstGeom>
            <a:noFill/>
            <a:ln w="4445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74" dirty="0">
                <a:solidFill>
                  <a:schemeClr val="tx1">
                    <a:lumMod val="95000"/>
                    <a:lumOff val="5000"/>
                  </a:schemeClr>
                </a:solidFill>
                <a:latin typeface="Arial" panose="020B0604020202020204" pitchFamily="34" charset="0"/>
                <a:cs typeface="Arial" panose="020B0604020202020204" pitchFamily="34" charset="0"/>
              </a:endParaRPr>
            </a:p>
          </p:txBody>
        </p:sp>
      </p:grpSp>
      <p:grpSp>
        <p:nvGrpSpPr>
          <p:cNvPr id="49" name="Group 48">
            <a:extLst>
              <a:ext uri="{FF2B5EF4-FFF2-40B4-BE49-F238E27FC236}">
                <a16:creationId xmlns:a16="http://schemas.microsoft.com/office/drawing/2014/main" id="{90A4149A-FB9F-42F5-80D3-24BFF29BA187}"/>
              </a:ext>
            </a:extLst>
          </p:cNvPr>
          <p:cNvGrpSpPr/>
          <p:nvPr/>
        </p:nvGrpSpPr>
        <p:grpSpPr>
          <a:xfrm>
            <a:off x="448073" y="2208451"/>
            <a:ext cx="4904012" cy="3919373"/>
            <a:chOff x="457200" y="2253239"/>
            <a:chExt cx="5003917" cy="3999219"/>
          </a:xfrm>
        </p:grpSpPr>
        <p:grpSp>
          <p:nvGrpSpPr>
            <p:cNvPr id="3" name="Group 2">
              <a:extLst>
                <a:ext uri="{FF2B5EF4-FFF2-40B4-BE49-F238E27FC236}">
                  <a16:creationId xmlns:a16="http://schemas.microsoft.com/office/drawing/2014/main" id="{7957806D-6052-4F5E-A5A4-4D50B1B35062}"/>
                </a:ext>
              </a:extLst>
            </p:cNvPr>
            <p:cNvGrpSpPr/>
            <p:nvPr/>
          </p:nvGrpSpPr>
          <p:grpSpPr>
            <a:xfrm>
              <a:off x="457200" y="4311904"/>
              <a:ext cx="2451102" cy="1940554"/>
              <a:chOff x="3346448" y="4311904"/>
              <a:chExt cx="2451102" cy="1940554"/>
            </a:xfrm>
          </p:grpSpPr>
          <p:sp>
            <p:nvSpPr>
              <p:cNvPr id="75" name="Rectangle: Rounded Corners 74">
                <a:extLst>
                  <a:ext uri="{FF2B5EF4-FFF2-40B4-BE49-F238E27FC236}">
                    <a16:creationId xmlns:a16="http://schemas.microsoft.com/office/drawing/2014/main" id="{90BF1961-ECC6-4B85-9042-0ABB78E74533}"/>
                  </a:ext>
                </a:extLst>
              </p:cNvPr>
              <p:cNvSpPr/>
              <p:nvPr/>
            </p:nvSpPr>
            <p:spPr>
              <a:xfrm>
                <a:off x="3346450" y="4311904"/>
                <a:ext cx="2451100" cy="1940554"/>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72" b="1" dirty="0">
                  <a:latin typeface="Arial" panose="020B0604020202020204" pitchFamily="34" charset="0"/>
                  <a:cs typeface="Arial" panose="020B0604020202020204" pitchFamily="34" charset="0"/>
                </a:endParaRPr>
              </a:p>
            </p:txBody>
          </p:sp>
          <p:sp>
            <p:nvSpPr>
              <p:cNvPr id="76" name="Title 4">
                <a:extLst>
                  <a:ext uri="{FF2B5EF4-FFF2-40B4-BE49-F238E27FC236}">
                    <a16:creationId xmlns:a16="http://schemas.microsoft.com/office/drawing/2014/main" id="{1C584CC8-B323-4DC7-9FA4-B690ECCC7BB6}"/>
                  </a:ext>
                </a:extLst>
              </p:cNvPr>
              <p:cNvSpPr txBox="1">
                <a:spLocks/>
              </p:cNvSpPr>
              <p:nvPr/>
            </p:nvSpPr>
            <p:spPr>
              <a:xfrm>
                <a:off x="3346448" y="4420849"/>
                <a:ext cx="2451100" cy="221599"/>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algn="ctr"/>
                <a:r>
                  <a:rPr lang="fr-FR" sz="1568" dirty="0">
                    <a:solidFill>
                      <a:schemeClr val="accent3"/>
                    </a:solidFill>
                  </a:rPr>
                  <a:t>Par indicateur</a:t>
                </a:r>
              </a:p>
            </p:txBody>
          </p:sp>
          <p:sp>
            <p:nvSpPr>
              <p:cNvPr id="78" name="Text Placeholder 5">
                <a:extLst>
                  <a:ext uri="{FF2B5EF4-FFF2-40B4-BE49-F238E27FC236}">
                    <a16:creationId xmlns:a16="http://schemas.microsoft.com/office/drawing/2014/main" id="{328C9AF1-14D8-4D38-8334-E5E5778783B8}"/>
                  </a:ext>
                </a:extLst>
              </p:cNvPr>
              <p:cNvSpPr txBox="1">
                <a:spLocks/>
              </p:cNvSpPr>
              <p:nvPr/>
            </p:nvSpPr>
            <p:spPr>
              <a:xfrm>
                <a:off x="3440915" y="4763642"/>
                <a:ext cx="2262166" cy="1403526"/>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ts val="196"/>
                  </a:spcBef>
                  <a:spcAft>
                    <a:spcPts val="588"/>
                  </a:spcAft>
                </a:pPr>
                <a:r>
                  <a:rPr lang="fr-FR" sz="1372" dirty="0">
                    <a:solidFill>
                      <a:schemeClr val="bg2">
                        <a:lumMod val="10000"/>
                      </a:schemeClr>
                    </a:solidFill>
                  </a:rPr>
                  <a:t>La faible performance d'un indicateur donné sur la plupart des régions révèle un goulot d’étranglement systémique qui empêche l’accès aux objectifs.</a:t>
                </a:r>
              </a:p>
            </p:txBody>
          </p:sp>
        </p:grpSp>
        <p:sp>
          <p:nvSpPr>
            <p:cNvPr id="98" name="Rectangle: Rounded Corners 97">
              <a:extLst>
                <a:ext uri="{FF2B5EF4-FFF2-40B4-BE49-F238E27FC236}">
                  <a16:creationId xmlns:a16="http://schemas.microsoft.com/office/drawing/2014/main" id="{BDF3FAB5-8BCE-4CA5-9A89-AEA1162EB1D1}"/>
                </a:ext>
              </a:extLst>
            </p:cNvPr>
            <p:cNvSpPr/>
            <p:nvPr/>
          </p:nvSpPr>
          <p:spPr>
            <a:xfrm>
              <a:off x="4784939" y="2253239"/>
              <a:ext cx="676178" cy="1788947"/>
            </a:xfrm>
            <a:prstGeom prst="roundRect">
              <a:avLst>
                <a:gd name="adj" fmla="val 3075"/>
              </a:avLst>
            </a:prstGeom>
            <a:noFill/>
            <a:ln w="4445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74" dirty="0">
                <a:solidFill>
                  <a:schemeClr val="tx1">
                    <a:lumMod val="95000"/>
                    <a:lumOff val="5000"/>
                  </a:schemeClr>
                </a:solidFill>
                <a:latin typeface="Arial" panose="020B0604020202020204" pitchFamily="34" charset="0"/>
                <a:cs typeface="Arial" panose="020B0604020202020204" pitchFamily="34" charset="0"/>
              </a:endParaRPr>
            </a:p>
          </p:txBody>
        </p:sp>
      </p:grpSp>
      <p:grpSp>
        <p:nvGrpSpPr>
          <p:cNvPr id="53" name="Group 52">
            <a:extLst>
              <a:ext uri="{FF2B5EF4-FFF2-40B4-BE49-F238E27FC236}">
                <a16:creationId xmlns:a16="http://schemas.microsoft.com/office/drawing/2014/main" id="{261FDBEF-ACAC-4AB8-92C1-6A045868C78E}"/>
              </a:ext>
            </a:extLst>
          </p:cNvPr>
          <p:cNvGrpSpPr/>
          <p:nvPr/>
        </p:nvGrpSpPr>
        <p:grpSpPr>
          <a:xfrm>
            <a:off x="5668153" y="2808626"/>
            <a:ext cx="2845213" cy="3319198"/>
            <a:chOff x="5783624" y="2865641"/>
            <a:chExt cx="2903176" cy="3386817"/>
          </a:xfrm>
        </p:grpSpPr>
        <p:grpSp>
          <p:nvGrpSpPr>
            <p:cNvPr id="48" name="Group 47">
              <a:extLst>
                <a:ext uri="{FF2B5EF4-FFF2-40B4-BE49-F238E27FC236}">
                  <a16:creationId xmlns:a16="http://schemas.microsoft.com/office/drawing/2014/main" id="{D105CAA9-A925-451D-8EDC-EED8384FD666}"/>
                </a:ext>
              </a:extLst>
            </p:cNvPr>
            <p:cNvGrpSpPr/>
            <p:nvPr/>
          </p:nvGrpSpPr>
          <p:grpSpPr>
            <a:xfrm>
              <a:off x="6235696" y="4311904"/>
              <a:ext cx="2451104" cy="1940554"/>
              <a:chOff x="6235696" y="4311904"/>
              <a:chExt cx="2451104" cy="1940554"/>
            </a:xfrm>
          </p:grpSpPr>
          <p:sp>
            <p:nvSpPr>
              <p:cNvPr id="51" name="Rectangle: Rounded Corners 50">
                <a:extLst>
                  <a:ext uri="{FF2B5EF4-FFF2-40B4-BE49-F238E27FC236}">
                    <a16:creationId xmlns:a16="http://schemas.microsoft.com/office/drawing/2014/main" id="{0430A78E-06A6-470C-813A-2039AAED3BAC}"/>
                  </a:ext>
                </a:extLst>
              </p:cNvPr>
              <p:cNvSpPr/>
              <p:nvPr/>
            </p:nvSpPr>
            <p:spPr>
              <a:xfrm>
                <a:off x="6235700" y="4311904"/>
                <a:ext cx="2451100" cy="1940554"/>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72" b="1" dirty="0">
                  <a:latin typeface="Arial" panose="020B0604020202020204" pitchFamily="34" charset="0"/>
                  <a:cs typeface="Arial" panose="020B0604020202020204" pitchFamily="34" charset="0"/>
                </a:endParaRPr>
              </a:p>
            </p:txBody>
          </p:sp>
          <p:sp>
            <p:nvSpPr>
              <p:cNvPr id="52" name="Title 4">
                <a:extLst>
                  <a:ext uri="{FF2B5EF4-FFF2-40B4-BE49-F238E27FC236}">
                    <a16:creationId xmlns:a16="http://schemas.microsoft.com/office/drawing/2014/main" id="{7AB7CA05-F657-4DAD-A79B-21E13F11389E}"/>
                  </a:ext>
                </a:extLst>
              </p:cNvPr>
              <p:cNvSpPr txBox="1">
                <a:spLocks/>
              </p:cNvSpPr>
              <p:nvPr/>
            </p:nvSpPr>
            <p:spPr>
              <a:xfrm>
                <a:off x="6235696" y="4420849"/>
                <a:ext cx="2451100" cy="221599"/>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algn="ctr"/>
                <a:r>
                  <a:rPr lang="fr-FR" sz="1568" dirty="0">
                    <a:solidFill>
                      <a:schemeClr val="accent3"/>
                    </a:solidFill>
                  </a:rPr>
                  <a:t>Longitudinale (flèches)</a:t>
                </a:r>
              </a:p>
            </p:txBody>
          </p:sp>
          <p:sp>
            <p:nvSpPr>
              <p:cNvPr id="54" name="Text Placeholder 5">
                <a:extLst>
                  <a:ext uri="{FF2B5EF4-FFF2-40B4-BE49-F238E27FC236}">
                    <a16:creationId xmlns:a16="http://schemas.microsoft.com/office/drawing/2014/main" id="{D48C028E-7409-469A-B28C-D2679562E3B7}"/>
                  </a:ext>
                </a:extLst>
              </p:cNvPr>
              <p:cNvSpPr txBox="1">
                <a:spLocks/>
              </p:cNvSpPr>
              <p:nvPr/>
            </p:nvSpPr>
            <p:spPr>
              <a:xfrm>
                <a:off x="6330171" y="4763642"/>
                <a:ext cx="2262166" cy="1333185"/>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ts val="196"/>
                  </a:spcBef>
                  <a:spcAft>
                    <a:spcPts val="588"/>
                  </a:spcAft>
                </a:pPr>
                <a:r>
                  <a:rPr lang="fr-FR" sz="1568" dirty="0">
                    <a:solidFill>
                      <a:schemeClr val="bg2">
                        <a:lumMod val="10000"/>
                      </a:schemeClr>
                    </a:solidFill>
                  </a:rPr>
                  <a:t>Une flèche vers le bas indique un changement de valeur et un besoin potentiel d’action s'il y a sous-performance.</a:t>
                </a:r>
              </a:p>
            </p:txBody>
          </p:sp>
        </p:grpSp>
        <p:cxnSp>
          <p:nvCxnSpPr>
            <p:cNvPr id="99" name="Straight Connector 98">
              <a:extLst>
                <a:ext uri="{FF2B5EF4-FFF2-40B4-BE49-F238E27FC236}">
                  <a16:creationId xmlns:a16="http://schemas.microsoft.com/office/drawing/2014/main" id="{8F063FD6-8E09-49F9-95B7-5044788B3788}"/>
                </a:ext>
              </a:extLst>
            </p:cNvPr>
            <p:cNvCxnSpPr>
              <a:cxnSpLocks/>
              <a:stCxn id="17" idx="0"/>
              <a:endCxn id="51" idx="0"/>
            </p:cNvCxnSpPr>
            <p:nvPr>
              <p:custDataLst>
                <p:tags r:id="rId3"/>
              </p:custDataLst>
            </p:nvPr>
          </p:nvCxnSpPr>
          <p:spPr>
            <a:xfrm>
              <a:off x="5783624" y="2865641"/>
              <a:ext cx="1677626" cy="1446263"/>
            </a:xfrm>
            <a:prstGeom prst="line">
              <a:avLst/>
            </a:prstGeom>
            <a:noFill/>
            <a:ln w="44450">
              <a:solidFill>
                <a:schemeClr val="accent2"/>
              </a:solidFill>
              <a:headEnd type="ova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cxnSp>
      </p:grpSp>
    </p:spTree>
    <p:custDataLst>
      <p:tags r:id="rId1"/>
    </p:custDataLst>
    <p:extLst>
      <p:ext uri="{BB962C8B-B14F-4D97-AF65-F5344CB8AC3E}">
        <p14:creationId xmlns:p14="http://schemas.microsoft.com/office/powerpoint/2010/main" val="204745810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452935"/>
            <a:ext cx="8065294" cy="482568"/>
          </a:xfrm>
        </p:spPr>
        <p:txBody>
          <a:bodyPr vert="horz" wrap="square" lIns="0" tIns="0" rIns="0" bIns="0" numCol="1" anchor="t" anchorCtr="0" compatLnSpc="1">
            <a:prstTxWarp prst="textNoShape">
              <a:avLst/>
            </a:prstTxWarp>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sz="2744" dirty="0"/>
              <a:t>Visualiser les données au niveau de la région, du district ou de la formation sanitaire </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98057"/>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Comment analyser une carte de score</a:t>
            </a:r>
          </a:p>
        </p:txBody>
      </p:sp>
      <p:grpSp>
        <p:nvGrpSpPr>
          <p:cNvPr id="4" name="Group 3">
            <a:extLst>
              <a:ext uri="{FF2B5EF4-FFF2-40B4-BE49-F238E27FC236}">
                <a16:creationId xmlns:a16="http://schemas.microsoft.com/office/drawing/2014/main" id="{D5E16142-9186-4EA4-9661-05A49DE1DB56}"/>
              </a:ext>
            </a:extLst>
          </p:cNvPr>
          <p:cNvGrpSpPr/>
          <p:nvPr/>
        </p:nvGrpSpPr>
        <p:grpSpPr>
          <a:xfrm>
            <a:off x="448072" y="1622833"/>
            <a:ext cx="8065294" cy="1687620"/>
            <a:chOff x="457200" y="1466851"/>
            <a:chExt cx="8229600" cy="1722000"/>
          </a:xfrm>
        </p:grpSpPr>
        <p:pic>
          <p:nvPicPr>
            <p:cNvPr id="2" name="Picture 1">
              <a:extLst>
                <a:ext uri="{FF2B5EF4-FFF2-40B4-BE49-F238E27FC236}">
                  <a16:creationId xmlns:a16="http://schemas.microsoft.com/office/drawing/2014/main" id="{0486BD89-4CD6-44C8-9B20-2504571DB168}"/>
                </a:ext>
              </a:extLst>
            </p:cNvPr>
            <p:cNvPicPr>
              <a:picLocks noChangeAspect="1"/>
            </p:cNvPicPr>
            <p:nvPr/>
          </p:nvPicPr>
          <p:blipFill rotWithShape="1">
            <a:blip r:embed="rId3"/>
            <a:srcRect r="46702" b="13092"/>
            <a:stretch/>
          </p:blipFill>
          <p:spPr>
            <a:xfrm>
              <a:off x="4851400" y="1466851"/>
              <a:ext cx="3835400" cy="1722000"/>
            </a:xfrm>
            <a:prstGeom prst="rect">
              <a:avLst/>
            </a:prstGeom>
          </p:spPr>
        </p:pic>
        <p:sp>
          <p:nvSpPr>
            <p:cNvPr id="3" name="Oval 2">
              <a:extLst>
                <a:ext uri="{FF2B5EF4-FFF2-40B4-BE49-F238E27FC236}">
                  <a16:creationId xmlns:a16="http://schemas.microsoft.com/office/drawing/2014/main" id="{682AAAB7-97A9-41B7-9B4F-2CAFAE22DA18}"/>
                </a:ext>
              </a:extLst>
            </p:cNvPr>
            <p:cNvSpPr/>
            <p:nvPr/>
          </p:nvSpPr>
          <p:spPr>
            <a:xfrm>
              <a:off x="7436558" y="2878175"/>
              <a:ext cx="856174" cy="212478"/>
            </a:xfrm>
            <a:prstGeom prst="ellipse">
              <a:avLst/>
            </a:prstGeom>
            <a:noFill/>
            <a:ln w="444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74">
                <a:solidFill>
                  <a:schemeClr val="tx1">
                    <a:lumMod val="95000"/>
                    <a:lumOff val="5000"/>
                  </a:schemeClr>
                </a:solidFill>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58ACF266-8870-4B16-BA0C-065E727CBC89}"/>
                </a:ext>
              </a:extLst>
            </p:cNvPr>
            <p:cNvSpPr txBox="1"/>
            <p:nvPr/>
          </p:nvSpPr>
          <p:spPr>
            <a:xfrm>
              <a:off x="457200" y="1466851"/>
              <a:ext cx="2984468" cy="1256186"/>
            </a:xfrm>
            <a:prstGeom prst="rect">
              <a:avLst/>
            </a:prstGeom>
            <a:noFill/>
          </p:spPr>
          <p:txBody>
            <a:bodyPr wrap="square" lIns="0" tIns="0" rIns="0" bIns="0">
              <a:spAutoFit/>
            </a:bodyPr>
            <a:lstStyle/>
            <a:p>
              <a:r>
                <a:rPr lang="fr-FR" sz="2000" b="1" dirty="0">
                  <a:solidFill>
                    <a:schemeClr val="bg2">
                      <a:lumMod val="10000"/>
                    </a:schemeClr>
                  </a:solidFill>
                  <a:latin typeface="Arial" panose="020B0604020202020204" pitchFamily="34" charset="0"/>
                  <a:cs typeface="Arial" panose="020B0604020202020204" pitchFamily="34" charset="0"/>
                </a:rPr>
                <a:t>Ouvrir les régions pour afficher les performances aux niveaux inférieurs...</a:t>
              </a:r>
              <a:endParaRPr lang="fr-FR" sz="2000" dirty="0">
                <a:solidFill>
                  <a:schemeClr val="bg2">
                    <a:lumMod val="10000"/>
                  </a:schemeClr>
                </a:solidFill>
                <a:latin typeface="Arial" panose="020B0604020202020204" pitchFamily="34" charset="0"/>
                <a:cs typeface="Arial" panose="020B0604020202020204" pitchFamily="34" charset="0"/>
              </a:endParaRPr>
            </a:p>
          </p:txBody>
        </p:sp>
      </p:grpSp>
      <p:grpSp>
        <p:nvGrpSpPr>
          <p:cNvPr id="5" name="Group 4">
            <a:extLst>
              <a:ext uri="{FF2B5EF4-FFF2-40B4-BE49-F238E27FC236}">
                <a16:creationId xmlns:a16="http://schemas.microsoft.com/office/drawing/2014/main" id="{EF6D5ECE-F32E-40EB-AB0A-CC790E17378D}"/>
              </a:ext>
            </a:extLst>
          </p:cNvPr>
          <p:cNvGrpSpPr/>
          <p:nvPr/>
        </p:nvGrpSpPr>
        <p:grpSpPr>
          <a:xfrm>
            <a:off x="448072" y="3545808"/>
            <a:ext cx="8065294" cy="1313985"/>
            <a:chOff x="457200" y="3429000"/>
            <a:chExt cx="8229600" cy="1340754"/>
          </a:xfrm>
        </p:grpSpPr>
        <p:pic>
          <p:nvPicPr>
            <p:cNvPr id="7" name="Picture 6">
              <a:extLst>
                <a:ext uri="{FF2B5EF4-FFF2-40B4-BE49-F238E27FC236}">
                  <a16:creationId xmlns:a16="http://schemas.microsoft.com/office/drawing/2014/main" id="{31D08702-D95C-4DB5-AD54-EAB496ABC5A6}"/>
                </a:ext>
              </a:extLst>
            </p:cNvPr>
            <p:cNvPicPr>
              <a:picLocks noChangeAspect="1"/>
            </p:cNvPicPr>
            <p:nvPr/>
          </p:nvPicPr>
          <p:blipFill rotWithShape="1">
            <a:blip r:embed="rId4"/>
            <a:srcRect r="46702"/>
            <a:stretch/>
          </p:blipFill>
          <p:spPr>
            <a:xfrm>
              <a:off x="4851400" y="3429000"/>
              <a:ext cx="3835400" cy="1340754"/>
            </a:xfrm>
            <a:prstGeom prst="rect">
              <a:avLst/>
            </a:prstGeom>
          </p:spPr>
        </p:pic>
        <p:sp>
          <p:nvSpPr>
            <p:cNvPr id="8" name="Oval 7">
              <a:extLst>
                <a:ext uri="{FF2B5EF4-FFF2-40B4-BE49-F238E27FC236}">
                  <a16:creationId xmlns:a16="http://schemas.microsoft.com/office/drawing/2014/main" id="{4092E714-1926-4827-8FC0-44C549B4EE2F}"/>
                </a:ext>
              </a:extLst>
            </p:cNvPr>
            <p:cNvSpPr/>
            <p:nvPr/>
          </p:nvSpPr>
          <p:spPr>
            <a:xfrm>
              <a:off x="4772812" y="4262549"/>
              <a:ext cx="408788" cy="212478"/>
            </a:xfrm>
            <a:prstGeom prst="ellipse">
              <a:avLst/>
            </a:prstGeom>
            <a:noFill/>
            <a:ln w="4445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74">
                <a:solidFill>
                  <a:schemeClr val="tx1">
                    <a:lumMod val="95000"/>
                    <a:lumOff val="5000"/>
                  </a:schemeClr>
                </a:solidFill>
                <a:latin typeface="Arial" panose="020B0604020202020204" pitchFamily="34" charset="0"/>
                <a:cs typeface="Arial" panose="020B0604020202020204" pitchFamily="34" charset="0"/>
              </a:endParaRPr>
            </a:p>
          </p:txBody>
        </p:sp>
        <p:sp>
          <p:nvSpPr>
            <p:cNvPr id="10" name="Oval 9">
              <a:extLst>
                <a:ext uri="{FF2B5EF4-FFF2-40B4-BE49-F238E27FC236}">
                  <a16:creationId xmlns:a16="http://schemas.microsoft.com/office/drawing/2014/main" id="{158229A9-3DE9-4A31-842C-A45E0959D29D}"/>
                </a:ext>
              </a:extLst>
            </p:cNvPr>
            <p:cNvSpPr/>
            <p:nvPr/>
          </p:nvSpPr>
          <p:spPr>
            <a:xfrm>
              <a:off x="7479393" y="4406878"/>
              <a:ext cx="856174" cy="212478"/>
            </a:xfrm>
            <a:prstGeom prst="ellipse">
              <a:avLst/>
            </a:prstGeom>
            <a:noFill/>
            <a:ln w="444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74">
                <a:solidFill>
                  <a:schemeClr val="tx1">
                    <a:lumMod val="95000"/>
                    <a:lumOff val="5000"/>
                  </a:schemeClr>
                </a:solidFill>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F0298BA8-F511-4157-A55D-ACB1C9739CA5}"/>
                </a:ext>
              </a:extLst>
            </p:cNvPr>
            <p:cNvSpPr txBox="1"/>
            <p:nvPr/>
          </p:nvSpPr>
          <p:spPr>
            <a:xfrm>
              <a:off x="457200" y="3429000"/>
              <a:ext cx="2984468" cy="1256187"/>
            </a:xfrm>
            <a:prstGeom prst="rect">
              <a:avLst/>
            </a:prstGeom>
            <a:noFill/>
          </p:spPr>
          <p:txBody>
            <a:bodyPr wrap="square" lIns="0" tIns="0" rIns="0" bIns="0">
              <a:spAutoFit/>
            </a:bodyPr>
            <a:lstStyle/>
            <a:p>
              <a:r>
                <a:rPr lang="fr-FR" sz="2000" b="1" dirty="0">
                  <a:solidFill>
                    <a:schemeClr val="bg2">
                      <a:lumMod val="10000"/>
                    </a:schemeClr>
                  </a:solidFill>
                  <a:latin typeface="Arial" panose="020B0604020202020204" pitchFamily="34" charset="0"/>
                  <a:cs typeface="Arial" panose="020B0604020202020204" pitchFamily="34" charset="0"/>
                </a:rPr>
                <a:t>« approfondir » en cliquant sur la flèche en regard du nom de la région</a:t>
              </a:r>
            </a:p>
          </p:txBody>
        </p:sp>
      </p:grpSp>
      <p:grpSp>
        <p:nvGrpSpPr>
          <p:cNvPr id="6" name="Group 5">
            <a:extLst>
              <a:ext uri="{FF2B5EF4-FFF2-40B4-BE49-F238E27FC236}">
                <a16:creationId xmlns:a16="http://schemas.microsoft.com/office/drawing/2014/main" id="{DBBB7AA5-4578-4517-B4C6-843E06519AF1}"/>
              </a:ext>
            </a:extLst>
          </p:cNvPr>
          <p:cNvGrpSpPr/>
          <p:nvPr/>
        </p:nvGrpSpPr>
        <p:grpSpPr>
          <a:xfrm>
            <a:off x="448072" y="5018711"/>
            <a:ext cx="8065294" cy="1231106"/>
            <a:chOff x="457200" y="4931908"/>
            <a:chExt cx="8229600" cy="1256186"/>
          </a:xfrm>
        </p:grpSpPr>
        <p:pic>
          <p:nvPicPr>
            <p:cNvPr id="14" name="Picture 13">
              <a:extLst>
                <a:ext uri="{FF2B5EF4-FFF2-40B4-BE49-F238E27FC236}">
                  <a16:creationId xmlns:a16="http://schemas.microsoft.com/office/drawing/2014/main" id="{1B0669F6-D9B7-4721-9F1A-0907A4C99BAB}"/>
                </a:ext>
              </a:extLst>
            </p:cNvPr>
            <p:cNvPicPr>
              <a:picLocks noChangeAspect="1"/>
            </p:cNvPicPr>
            <p:nvPr/>
          </p:nvPicPr>
          <p:blipFill rotWithShape="1">
            <a:blip r:embed="rId5"/>
            <a:srcRect r="46405"/>
            <a:stretch/>
          </p:blipFill>
          <p:spPr>
            <a:xfrm>
              <a:off x="4852573" y="4931908"/>
              <a:ext cx="3834227" cy="1172280"/>
            </a:xfrm>
            <a:prstGeom prst="rect">
              <a:avLst/>
            </a:prstGeom>
          </p:spPr>
        </p:pic>
        <p:sp>
          <p:nvSpPr>
            <p:cNvPr id="19" name="Oval 18">
              <a:extLst>
                <a:ext uri="{FF2B5EF4-FFF2-40B4-BE49-F238E27FC236}">
                  <a16:creationId xmlns:a16="http://schemas.microsoft.com/office/drawing/2014/main" id="{5C63A8D3-4F9B-4E27-8E9C-2EA80E210856}"/>
                </a:ext>
              </a:extLst>
            </p:cNvPr>
            <p:cNvSpPr/>
            <p:nvPr/>
          </p:nvSpPr>
          <p:spPr>
            <a:xfrm>
              <a:off x="4775200" y="5552359"/>
              <a:ext cx="406400" cy="211236"/>
            </a:xfrm>
            <a:prstGeom prst="ellipse">
              <a:avLst/>
            </a:prstGeom>
            <a:noFill/>
            <a:ln w="4445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74">
                <a:solidFill>
                  <a:schemeClr val="tx1">
                    <a:lumMod val="95000"/>
                    <a:lumOff val="5000"/>
                  </a:schemeClr>
                </a:solidFill>
                <a:latin typeface="Arial" panose="020B0604020202020204" pitchFamily="34" charset="0"/>
                <a:cs typeface="Arial" panose="020B0604020202020204" pitchFamily="34" charset="0"/>
              </a:endParaRPr>
            </a:p>
          </p:txBody>
        </p:sp>
        <p:sp>
          <p:nvSpPr>
            <p:cNvPr id="21" name="Oval 20">
              <a:extLst>
                <a:ext uri="{FF2B5EF4-FFF2-40B4-BE49-F238E27FC236}">
                  <a16:creationId xmlns:a16="http://schemas.microsoft.com/office/drawing/2014/main" id="{1A64521C-6D83-401A-9DF3-AE67717DD73C}"/>
                </a:ext>
              </a:extLst>
            </p:cNvPr>
            <p:cNvSpPr/>
            <p:nvPr/>
          </p:nvSpPr>
          <p:spPr>
            <a:xfrm>
              <a:off x="7452384" y="5667383"/>
              <a:ext cx="851168" cy="211236"/>
            </a:xfrm>
            <a:prstGeom prst="ellipse">
              <a:avLst/>
            </a:prstGeom>
            <a:noFill/>
            <a:ln w="444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74">
                <a:solidFill>
                  <a:schemeClr val="tx1">
                    <a:lumMod val="95000"/>
                    <a:lumOff val="5000"/>
                  </a:schemeClr>
                </a:solidFill>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F763C695-98AD-4FA7-9A21-7498163F07B1}"/>
                </a:ext>
              </a:extLst>
            </p:cNvPr>
            <p:cNvSpPr txBox="1"/>
            <p:nvPr/>
          </p:nvSpPr>
          <p:spPr>
            <a:xfrm>
              <a:off x="457200" y="4931908"/>
              <a:ext cx="2984468" cy="1256186"/>
            </a:xfrm>
            <a:prstGeom prst="rect">
              <a:avLst/>
            </a:prstGeom>
            <a:noFill/>
          </p:spPr>
          <p:txBody>
            <a:bodyPr wrap="square" lIns="0" tIns="0" rIns="0" bIns="0">
              <a:spAutoFit/>
            </a:bodyPr>
            <a:lstStyle/>
            <a:p>
              <a:r>
                <a:rPr lang="fr-FR" sz="2000" b="1" dirty="0">
                  <a:solidFill>
                    <a:schemeClr val="bg2">
                      <a:lumMod val="10000"/>
                    </a:schemeClr>
                  </a:solidFill>
                  <a:latin typeface="Arial" panose="020B0604020202020204" pitchFamily="34" charset="0"/>
                  <a:cs typeface="Arial" panose="020B0604020202020204" pitchFamily="34" charset="0"/>
                </a:rPr>
                <a:t>Approfondir davantage en cliquant sur la flèche en regard du nom de la sous-région</a:t>
              </a:r>
            </a:p>
          </p:txBody>
        </p:sp>
      </p:grpSp>
    </p:spTree>
    <p:custDataLst>
      <p:tags r:id="rId1"/>
    </p:custDataLst>
    <p:extLst>
      <p:ext uri="{BB962C8B-B14F-4D97-AF65-F5344CB8AC3E}">
        <p14:creationId xmlns:p14="http://schemas.microsoft.com/office/powerpoint/2010/main" val="371803230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idx="4294967295"/>
          </p:nvPr>
        </p:nvSpPr>
        <p:spPr>
          <a:xfrm>
            <a:off x="360153" y="1070926"/>
            <a:ext cx="8066088" cy="482600"/>
          </a:xfrm>
        </p:spPr>
        <p:txBody>
          <a:bodyPr vert="horz" wrap="square" lIns="0" tIns="0" rIns="0" bIns="0" numCol="1" anchor="t" anchorCtr="0" compatLnSpc="1">
            <a:prstTxWarp prst="textNoShape">
              <a:avLst/>
            </a:prstTxWarp>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Méthode de tri</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Comment analyser une carte de score</a:t>
            </a:r>
          </a:p>
        </p:txBody>
      </p:sp>
      <p:sp>
        <p:nvSpPr>
          <p:cNvPr id="4" name="Text Placeholder 5">
            <a:extLst>
              <a:ext uri="{FF2B5EF4-FFF2-40B4-BE49-F238E27FC236}">
                <a16:creationId xmlns:a16="http://schemas.microsoft.com/office/drawing/2014/main" id="{1EF3395C-FCCB-4B2A-9C91-9BD40C0EE2DD}"/>
              </a:ext>
            </a:extLst>
          </p:cNvPr>
          <p:cNvSpPr txBox="1">
            <a:spLocks/>
          </p:cNvSpPr>
          <p:nvPr/>
        </p:nvSpPr>
        <p:spPr>
          <a:xfrm>
            <a:off x="360153" y="1889001"/>
            <a:ext cx="4032647" cy="1898148"/>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36042" indent="-336042">
              <a:lnSpc>
                <a:spcPts val="2352"/>
              </a:lnSpc>
              <a:spcAft>
                <a:spcPts val="588"/>
              </a:spcAft>
              <a:buFont typeface="Arial" panose="020B0604020202020204" pitchFamily="34" charset="0"/>
              <a:buChar char="•"/>
            </a:pPr>
            <a:r>
              <a:rPr lang="fr-FR" sz="1764" dirty="0">
                <a:solidFill>
                  <a:schemeClr val="bg2">
                    <a:lumMod val="10000"/>
                  </a:schemeClr>
                </a:solidFill>
              </a:rPr>
              <a:t>Sur la plateforme Web, il suffit de cliquer sur le nom de l'indicateur, en haut de la colonne, pour en trier rapidement les valeurs.</a:t>
            </a:r>
          </a:p>
          <a:p>
            <a:pPr marL="336042" indent="-336042">
              <a:lnSpc>
                <a:spcPts val="2352"/>
              </a:lnSpc>
              <a:spcAft>
                <a:spcPts val="588"/>
              </a:spcAft>
              <a:buFont typeface="Arial" panose="020B0604020202020204" pitchFamily="34" charset="0"/>
              <a:buChar char="•"/>
            </a:pPr>
            <a:r>
              <a:rPr lang="fr-FR" sz="1764" dirty="0">
                <a:solidFill>
                  <a:schemeClr val="bg2">
                    <a:lumMod val="10000"/>
                  </a:schemeClr>
                </a:solidFill>
              </a:rPr>
              <a:t>Le tri révèle les zones de sous-performance. </a:t>
            </a:r>
          </a:p>
        </p:txBody>
      </p:sp>
      <p:pic>
        <p:nvPicPr>
          <p:cNvPr id="3" name="Picture 2">
            <a:extLst>
              <a:ext uri="{FF2B5EF4-FFF2-40B4-BE49-F238E27FC236}">
                <a16:creationId xmlns:a16="http://schemas.microsoft.com/office/drawing/2014/main" id="{CE2C7F83-D527-467C-8A84-74FC7B449E26}"/>
              </a:ext>
            </a:extLst>
          </p:cNvPr>
          <p:cNvPicPr>
            <a:picLocks noChangeAspect="1"/>
          </p:cNvPicPr>
          <p:nvPr/>
        </p:nvPicPr>
        <p:blipFill rotWithShape="1">
          <a:blip r:embed="rId3"/>
          <a:srcRect l="5344" r="6721"/>
          <a:stretch/>
        </p:blipFill>
        <p:spPr>
          <a:xfrm>
            <a:off x="7231105" y="745163"/>
            <a:ext cx="1110273" cy="5400355"/>
          </a:xfrm>
          <a:prstGeom prst="rect">
            <a:avLst/>
          </a:prstGeom>
          <a:ln>
            <a:solidFill>
              <a:schemeClr val="accent1"/>
            </a:solidFill>
          </a:ln>
        </p:spPr>
      </p:pic>
      <p:grpSp>
        <p:nvGrpSpPr>
          <p:cNvPr id="2" name="Group 1">
            <a:extLst>
              <a:ext uri="{FF2B5EF4-FFF2-40B4-BE49-F238E27FC236}">
                <a16:creationId xmlns:a16="http://schemas.microsoft.com/office/drawing/2014/main" id="{DEDB42C2-36C2-4DD5-9A77-4EAB5974BC44}"/>
              </a:ext>
            </a:extLst>
          </p:cNvPr>
          <p:cNvGrpSpPr/>
          <p:nvPr/>
        </p:nvGrpSpPr>
        <p:grpSpPr>
          <a:xfrm>
            <a:off x="4790082" y="933838"/>
            <a:ext cx="3636159" cy="5258428"/>
            <a:chOff x="4887665" y="952660"/>
            <a:chExt cx="3710235" cy="5365552"/>
          </a:xfrm>
        </p:grpSpPr>
        <p:pic>
          <p:nvPicPr>
            <p:cNvPr id="5" name="Picture 2">
              <a:extLst>
                <a:ext uri="{FF2B5EF4-FFF2-40B4-BE49-F238E27FC236}">
                  <a16:creationId xmlns:a16="http://schemas.microsoft.com/office/drawing/2014/main" id="{5EECD58D-BDDE-4D65-B356-051A58B5504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978472" y="952660"/>
              <a:ext cx="619428" cy="814501"/>
            </a:xfrm>
            <a:prstGeom prst="rect">
              <a:avLst/>
            </a:prstGeom>
            <a:noFill/>
            <a:extLst>
              <a:ext uri="{909E8E84-426E-40DD-AFC4-6F175D3DCCD1}">
                <a14:hiddenFill xmlns:a14="http://schemas.microsoft.com/office/drawing/2010/main">
                  <a:solidFill>
                    <a:srgbClr val="FFFFFF"/>
                  </a:solidFill>
                </a14:hiddenFill>
              </a:ext>
            </a:extLst>
          </p:spPr>
        </p:pic>
        <p:sp>
          <p:nvSpPr>
            <p:cNvPr id="6" name="Arrow: Down 5">
              <a:extLst>
                <a:ext uri="{FF2B5EF4-FFF2-40B4-BE49-F238E27FC236}">
                  <a16:creationId xmlns:a16="http://schemas.microsoft.com/office/drawing/2014/main" id="{93D7967E-5088-43AC-9653-9572AD237B2A}"/>
                </a:ext>
              </a:extLst>
            </p:cNvPr>
            <p:cNvSpPr/>
            <p:nvPr/>
          </p:nvSpPr>
          <p:spPr>
            <a:xfrm>
              <a:off x="6772255" y="1346200"/>
              <a:ext cx="415926" cy="4924312"/>
            </a:xfrm>
            <a:prstGeom prst="down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p>
          </p:txBody>
        </p:sp>
        <p:sp>
          <p:nvSpPr>
            <p:cNvPr id="13" name="Text Placeholder 5">
              <a:extLst>
                <a:ext uri="{FF2B5EF4-FFF2-40B4-BE49-F238E27FC236}">
                  <a16:creationId xmlns:a16="http://schemas.microsoft.com/office/drawing/2014/main" id="{DBA35F25-C971-4713-9495-AB06BB4C9DB9}"/>
                </a:ext>
              </a:extLst>
            </p:cNvPr>
            <p:cNvSpPr txBox="1">
              <a:spLocks/>
            </p:cNvSpPr>
            <p:nvPr/>
          </p:nvSpPr>
          <p:spPr>
            <a:xfrm>
              <a:off x="5015882" y="1347210"/>
              <a:ext cx="1697773" cy="628093"/>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lnSpc>
                  <a:spcPts val="2352"/>
                </a:lnSpc>
                <a:spcAft>
                  <a:spcPts val="588"/>
                </a:spcAft>
              </a:pPr>
              <a:r>
                <a:rPr lang="fr-FR" sz="2352" dirty="0">
                  <a:solidFill>
                    <a:schemeClr val="bg2">
                      <a:lumMod val="10000"/>
                    </a:schemeClr>
                  </a:solidFill>
                </a:rPr>
                <a:t>Valeur la plus faible</a:t>
              </a:r>
            </a:p>
          </p:txBody>
        </p:sp>
        <p:sp>
          <p:nvSpPr>
            <p:cNvPr id="14" name="Text Placeholder 5">
              <a:extLst>
                <a:ext uri="{FF2B5EF4-FFF2-40B4-BE49-F238E27FC236}">
                  <a16:creationId xmlns:a16="http://schemas.microsoft.com/office/drawing/2014/main" id="{D1503B67-2CFD-4614-9006-360924B74F63}"/>
                </a:ext>
              </a:extLst>
            </p:cNvPr>
            <p:cNvSpPr txBox="1">
              <a:spLocks/>
            </p:cNvSpPr>
            <p:nvPr/>
          </p:nvSpPr>
          <p:spPr>
            <a:xfrm>
              <a:off x="4887665" y="5690119"/>
              <a:ext cx="1697773" cy="628093"/>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lnSpc>
                  <a:spcPts val="2352"/>
                </a:lnSpc>
                <a:spcAft>
                  <a:spcPts val="588"/>
                </a:spcAft>
              </a:pPr>
              <a:r>
                <a:rPr lang="fr-FR" sz="2352" dirty="0">
                  <a:solidFill>
                    <a:schemeClr val="bg2">
                      <a:lumMod val="10000"/>
                    </a:schemeClr>
                  </a:solidFill>
                </a:rPr>
                <a:t>Valeur la plus élevée</a:t>
              </a:r>
            </a:p>
          </p:txBody>
        </p:sp>
      </p:grpSp>
    </p:spTree>
    <p:custDataLst>
      <p:tags r:id="rId1"/>
    </p:custDataLst>
    <p:extLst>
      <p:ext uri="{BB962C8B-B14F-4D97-AF65-F5344CB8AC3E}">
        <p14:creationId xmlns:p14="http://schemas.microsoft.com/office/powerpoint/2010/main" val="34072351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idx="4294967295"/>
          </p:nvPr>
        </p:nvSpPr>
        <p:spPr>
          <a:xfrm>
            <a:off x="201388" y="540505"/>
            <a:ext cx="8066088" cy="493713"/>
          </a:xfrm>
        </p:spPr>
        <p:txBody>
          <a:bodyPr vert="horz" wrap="square" lIns="0" tIns="0" rIns="0" bIns="0" numCol="1" anchor="t" anchorCtr="0" compatLnSpc="1">
            <a:prstTxWarp prst="textNoShape">
              <a:avLst/>
            </a:prstTxWarp>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Analyse de tendance</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202182" y="196759"/>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Comment analyser une carte de score</a:t>
            </a:r>
          </a:p>
        </p:txBody>
      </p:sp>
      <p:grpSp>
        <p:nvGrpSpPr>
          <p:cNvPr id="4" name="Group 3">
            <a:extLst>
              <a:ext uri="{FF2B5EF4-FFF2-40B4-BE49-F238E27FC236}">
                <a16:creationId xmlns:a16="http://schemas.microsoft.com/office/drawing/2014/main" id="{E919248F-A1DE-4128-AE62-E4272B601FC5}"/>
              </a:ext>
            </a:extLst>
          </p:cNvPr>
          <p:cNvGrpSpPr/>
          <p:nvPr/>
        </p:nvGrpSpPr>
        <p:grpSpPr>
          <a:xfrm>
            <a:off x="448072" y="1126918"/>
            <a:ext cx="8074380" cy="1465333"/>
            <a:chOff x="457200" y="1149673"/>
            <a:chExt cx="8238871" cy="1495185"/>
          </a:xfrm>
        </p:grpSpPr>
        <p:pic>
          <p:nvPicPr>
            <p:cNvPr id="3" name="Picture 2">
              <a:extLst>
                <a:ext uri="{FF2B5EF4-FFF2-40B4-BE49-F238E27FC236}">
                  <a16:creationId xmlns:a16="http://schemas.microsoft.com/office/drawing/2014/main" id="{898B9BAD-D2D6-479D-8014-B8FADD5B0743}"/>
                </a:ext>
              </a:extLst>
            </p:cNvPr>
            <p:cNvPicPr>
              <a:picLocks noChangeAspect="1"/>
            </p:cNvPicPr>
            <p:nvPr/>
          </p:nvPicPr>
          <p:blipFill>
            <a:blip r:embed="rId3"/>
            <a:stretch>
              <a:fillRect/>
            </a:stretch>
          </p:blipFill>
          <p:spPr>
            <a:xfrm>
              <a:off x="3730295" y="1149673"/>
              <a:ext cx="4965776" cy="1495185"/>
            </a:xfrm>
            <a:prstGeom prst="rect">
              <a:avLst/>
            </a:prstGeom>
          </p:spPr>
        </p:pic>
        <p:sp>
          <p:nvSpPr>
            <p:cNvPr id="17" name="TextBox 16">
              <a:extLst>
                <a:ext uri="{FF2B5EF4-FFF2-40B4-BE49-F238E27FC236}">
                  <a16:creationId xmlns:a16="http://schemas.microsoft.com/office/drawing/2014/main" id="{472207E0-3CEF-4EB7-8E76-F35628F66BF2}"/>
                </a:ext>
              </a:extLst>
            </p:cNvPr>
            <p:cNvSpPr txBox="1"/>
            <p:nvPr/>
          </p:nvSpPr>
          <p:spPr>
            <a:xfrm>
              <a:off x="457200" y="1337071"/>
              <a:ext cx="2984468" cy="246221"/>
            </a:xfrm>
            <a:prstGeom prst="rect">
              <a:avLst/>
            </a:prstGeom>
            <a:noFill/>
          </p:spPr>
          <p:txBody>
            <a:bodyPr wrap="square" lIns="0" tIns="0" rIns="0" bIns="0">
              <a:spAutoFit/>
            </a:bodyPr>
            <a:lstStyle/>
            <a:p>
              <a:r>
                <a:rPr lang="fr-FR" sz="1568" b="1">
                  <a:solidFill>
                    <a:schemeClr val="bg2">
                      <a:lumMod val="10000"/>
                    </a:schemeClr>
                  </a:solidFill>
                  <a:latin typeface="Arial" panose="020B0604020202020204" pitchFamily="34" charset="0"/>
                  <a:cs typeface="Arial" panose="020B0604020202020204" pitchFamily="34" charset="0"/>
                </a:rPr>
                <a:t>Vue sous-nationale</a:t>
              </a:r>
              <a:endParaRPr lang="fr-FR" sz="1568">
                <a:solidFill>
                  <a:schemeClr val="bg2">
                    <a:lumMod val="10000"/>
                  </a:schemeClr>
                </a:solidFill>
                <a:latin typeface="Arial" panose="020B0604020202020204" pitchFamily="34" charset="0"/>
                <a:cs typeface="Arial" panose="020B0604020202020204" pitchFamily="34" charset="0"/>
              </a:endParaRPr>
            </a:p>
          </p:txBody>
        </p:sp>
      </p:grpSp>
      <p:grpSp>
        <p:nvGrpSpPr>
          <p:cNvPr id="7" name="Group 6">
            <a:extLst>
              <a:ext uri="{FF2B5EF4-FFF2-40B4-BE49-F238E27FC236}">
                <a16:creationId xmlns:a16="http://schemas.microsoft.com/office/drawing/2014/main" id="{69CE38ED-4789-404D-8D54-65D8C890CEA4}"/>
              </a:ext>
            </a:extLst>
          </p:cNvPr>
          <p:cNvGrpSpPr/>
          <p:nvPr/>
        </p:nvGrpSpPr>
        <p:grpSpPr>
          <a:xfrm>
            <a:off x="448072" y="2783918"/>
            <a:ext cx="8062583" cy="1601024"/>
            <a:chOff x="457200" y="2840430"/>
            <a:chExt cx="8226834" cy="1633640"/>
          </a:xfrm>
        </p:grpSpPr>
        <p:pic>
          <p:nvPicPr>
            <p:cNvPr id="2" name="Picture 1">
              <a:extLst>
                <a:ext uri="{FF2B5EF4-FFF2-40B4-BE49-F238E27FC236}">
                  <a16:creationId xmlns:a16="http://schemas.microsoft.com/office/drawing/2014/main" id="{614238CB-DB96-41BA-A152-E1B1B5FC950D}"/>
                </a:ext>
              </a:extLst>
            </p:cNvPr>
            <p:cNvPicPr>
              <a:picLocks noChangeAspect="1"/>
            </p:cNvPicPr>
            <p:nvPr/>
          </p:nvPicPr>
          <p:blipFill>
            <a:blip r:embed="rId4"/>
            <a:stretch>
              <a:fillRect/>
            </a:stretch>
          </p:blipFill>
          <p:spPr>
            <a:xfrm>
              <a:off x="3718258" y="2840430"/>
              <a:ext cx="4965776" cy="1633640"/>
            </a:xfrm>
            <a:prstGeom prst="rect">
              <a:avLst/>
            </a:prstGeom>
          </p:spPr>
        </p:pic>
        <p:sp>
          <p:nvSpPr>
            <p:cNvPr id="6" name="TextBox 5">
              <a:extLst>
                <a:ext uri="{FF2B5EF4-FFF2-40B4-BE49-F238E27FC236}">
                  <a16:creationId xmlns:a16="http://schemas.microsoft.com/office/drawing/2014/main" id="{341142A5-037F-40CC-BA70-764D654DD782}"/>
                </a:ext>
              </a:extLst>
            </p:cNvPr>
            <p:cNvSpPr txBox="1"/>
            <p:nvPr/>
          </p:nvSpPr>
          <p:spPr>
            <a:xfrm>
              <a:off x="457200" y="2878530"/>
              <a:ext cx="2984468" cy="246221"/>
            </a:xfrm>
            <a:prstGeom prst="rect">
              <a:avLst/>
            </a:prstGeom>
            <a:noFill/>
          </p:spPr>
          <p:txBody>
            <a:bodyPr wrap="square" lIns="0" tIns="0" rIns="0" bIns="0">
              <a:spAutoFit/>
            </a:bodyPr>
            <a:lstStyle/>
            <a:p>
              <a:r>
                <a:rPr lang="fr-FR" sz="1568" b="1">
                  <a:solidFill>
                    <a:schemeClr val="bg2">
                      <a:lumMod val="10000"/>
                    </a:schemeClr>
                  </a:solidFill>
                  <a:latin typeface="Arial" panose="020B0604020202020204" pitchFamily="34" charset="0"/>
                  <a:cs typeface="Arial" panose="020B0604020202020204" pitchFamily="34" charset="0"/>
                </a:rPr>
                <a:t>Vue des indicateurs</a:t>
              </a:r>
              <a:endParaRPr lang="fr-FR" sz="1568">
                <a:solidFill>
                  <a:schemeClr val="bg2">
                    <a:lumMod val="10000"/>
                  </a:schemeClr>
                </a:solidFill>
                <a:latin typeface="Arial" panose="020B0604020202020204" pitchFamily="34" charset="0"/>
                <a:cs typeface="Arial" panose="020B0604020202020204" pitchFamily="34" charset="0"/>
              </a:endParaRPr>
            </a:p>
          </p:txBody>
        </p:sp>
      </p:grpSp>
      <p:grpSp>
        <p:nvGrpSpPr>
          <p:cNvPr id="8" name="Group 7">
            <a:extLst>
              <a:ext uri="{FF2B5EF4-FFF2-40B4-BE49-F238E27FC236}">
                <a16:creationId xmlns:a16="http://schemas.microsoft.com/office/drawing/2014/main" id="{62FEDC08-2945-48EF-B1DF-C9CBCB44FF68}"/>
              </a:ext>
            </a:extLst>
          </p:cNvPr>
          <p:cNvGrpSpPr/>
          <p:nvPr/>
        </p:nvGrpSpPr>
        <p:grpSpPr>
          <a:xfrm>
            <a:off x="448073" y="4561848"/>
            <a:ext cx="8086175" cy="1628048"/>
            <a:chOff x="457200" y="4654579"/>
            <a:chExt cx="8250907" cy="1661215"/>
          </a:xfrm>
        </p:grpSpPr>
        <p:sp>
          <p:nvSpPr>
            <p:cNvPr id="20" name="TextBox 19">
              <a:extLst>
                <a:ext uri="{FF2B5EF4-FFF2-40B4-BE49-F238E27FC236}">
                  <a16:creationId xmlns:a16="http://schemas.microsoft.com/office/drawing/2014/main" id="{35A9A471-F181-4CA0-AA37-ED17A16C6035}"/>
                </a:ext>
              </a:extLst>
            </p:cNvPr>
            <p:cNvSpPr txBox="1"/>
            <p:nvPr/>
          </p:nvSpPr>
          <p:spPr>
            <a:xfrm>
              <a:off x="457200" y="4674470"/>
              <a:ext cx="3126566" cy="246221"/>
            </a:xfrm>
            <a:prstGeom prst="rect">
              <a:avLst/>
            </a:prstGeom>
            <a:noFill/>
          </p:spPr>
          <p:txBody>
            <a:bodyPr wrap="square" lIns="0" tIns="0" rIns="0" bIns="0">
              <a:spAutoFit/>
            </a:bodyPr>
            <a:lstStyle/>
            <a:p>
              <a:r>
                <a:rPr lang="fr-FR" sz="1568" b="1">
                  <a:solidFill>
                    <a:schemeClr val="bg2">
                      <a:lumMod val="10000"/>
                    </a:schemeClr>
                  </a:solidFill>
                  <a:latin typeface="Arial" panose="020B0604020202020204" pitchFamily="34" charset="0"/>
                  <a:cs typeface="Arial" panose="020B0604020202020204" pitchFamily="34" charset="0"/>
                </a:rPr>
                <a:t>Graphiques</a:t>
              </a:r>
              <a:endParaRPr lang="fr-FR" sz="1568">
                <a:solidFill>
                  <a:schemeClr val="bg2">
                    <a:lumMod val="10000"/>
                  </a:schemeClr>
                </a:solidFill>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2BCB050E-DE87-46D1-9177-AA7EC162767D}"/>
                </a:ext>
              </a:extLst>
            </p:cNvPr>
            <p:cNvPicPr>
              <a:picLocks noChangeAspect="1"/>
            </p:cNvPicPr>
            <p:nvPr/>
          </p:nvPicPr>
          <p:blipFill rotWithShape="1">
            <a:blip r:embed="rId5"/>
            <a:srcRect b="12629"/>
            <a:stretch/>
          </p:blipFill>
          <p:spPr>
            <a:xfrm>
              <a:off x="3730294" y="4654579"/>
              <a:ext cx="4977813" cy="1661215"/>
            </a:xfrm>
            <a:prstGeom prst="rect">
              <a:avLst/>
            </a:prstGeom>
          </p:spPr>
        </p:pic>
      </p:grpSp>
    </p:spTree>
    <p:custDataLst>
      <p:tags r:id="rId1"/>
    </p:custDataLst>
    <p:extLst>
      <p:ext uri="{BB962C8B-B14F-4D97-AF65-F5344CB8AC3E}">
        <p14:creationId xmlns:p14="http://schemas.microsoft.com/office/powerpoint/2010/main" val="85562085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258193" y="4243090"/>
            <a:ext cx="6858728" cy="1930272"/>
          </a:xfrm>
        </p:spPr>
        <p:txBody>
          <a:bodyPr/>
          <a:lstStyle/>
          <a:p>
            <a:pPr algn="ctr"/>
            <a:r>
              <a:rPr lang="fr-FR" sz="3136" dirty="0">
                <a:solidFill>
                  <a:schemeClr val="tx1"/>
                </a:solidFill>
              </a:rPr>
              <a:t>Comment utiliser les données de la carte de score pour l’action</a:t>
            </a:r>
            <a:br>
              <a:rPr lang="fr-FR" sz="3136" dirty="0">
                <a:solidFill>
                  <a:schemeClr val="tx1"/>
                </a:solidFill>
              </a:rPr>
            </a:br>
            <a:br>
              <a:rPr lang="fr-FR" sz="3136" dirty="0">
                <a:solidFill>
                  <a:schemeClr val="tx1"/>
                </a:solidFill>
              </a:rPr>
            </a:br>
            <a:endParaRPr lang="en-US" sz="3136" dirty="0">
              <a:solidFill>
                <a:schemeClr val="tx1"/>
              </a:solidFill>
            </a:endParaRPr>
          </a:p>
        </p:txBody>
      </p:sp>
      <p:sp>
        <p:nvSpPr>
          <p:cNvPr id="3" name="Subtitle 2"/>
          <p:cNvSpPr>
            <a:spLocks noGrp="1"/>
          </p:cNvSpPr>
          <p:nvPr>
            <p:ph type="subTitle" idx="1"/>
          </p:nvPr>
        </p:nvSpPr>
        <p:spPr>
          <a:xfrm>
            <a:off x="3881392" y="5352240"/>
            <a:ext cx="2355102" cy="338554"/>
          </a:xfrm>
        </p:spPr>
        <p:txBody>
          <a:bodyPr/>
          <a:lstStyle/>
          <a:p>
            <a:r>
              <a:rPr lang="en-US" b="1" dirty="0" err="1"/>
              <a:t>Juin</a:t>
            </a:r>
            <a:r>
              <a:rPr lang="en-US" b="1" dirty="0"/>
              <a:t> 2021</a:t>
            </a: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11" name="Picture 10">
            <a:extLst>
              <a:ext uri="{FF2B5EF4-FFF2-40B4-BE49-F238E27FC236}">
                <a16:creationId xmlns:a16="http://schemas.microsoft.com/office/drawing/2014/main" id="{832394FA-2A08-425E-ADB4-E80312D605FD}"/>
              </a:ext>
            </a:extLst>
          </p:cNvPr>
          <p:cNvPicPr>
            <a:picLocks noChangeAspect="1"/>
          </p:cNvPicPr>
          <p:nvPr/>
        </p:nvPicPr>
        <p:blipFill>
          <a:blip r:embed="rId3"/>
          <a:stretch>
            <a:fillRect/>
          </a:stretch>
        </p:blipFill>
        <p:spPr>
          <a:xfrm>
            <a:off x="3049343" y="769225"/>
            <a:ext cx="3011685" cy="3036071"/>
          </a:xfrm>
          <a:prstGeom prst="rect">
            <a:avLst/>
          </a:prstGeom>
        </p:spPr>
      </p:pic>
    </p:spTree>
    <p:extLst>
      <p:ext uri="{BB962C8B-B14F-4D97-AF65-F5344CB8AC3E}">
        <p14:creationId xmlns:p14="http://schemas.microsoft.com/office/powerpoint/2010/main" val="32151932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2" name="Online Media 1" title="Comment utiliser les données de la carte de score pour l’action">
            <a:hlinkClick r:id="" action="ppaction://media"/>
            <a:extLst>
              <a:ext uri="{FF2B5EF4-FFF2-40B4-BE49-F238E27FC236}">
                <a16:creationId xmlns:a16="http://schemas.microsoft.com/office/drawing/2014/main" id="{642FD03C-9A74-4051-8AAC-4A89B70A4C75}"/>
              </a:ext>
            </a:extLst>
          </p:cNvPr>
          <p:cNvPicPr>
            <a:picLocks noRot="1" noChangeAspect="1"/>
          </p:cNvPicPr>
          <p:nvPr>
            <a:videoFile r:link="rId1"/>
          </p:nvPr>
        </p:nvPicPr>
        <p:blipFill>
          <a:blip r:embed="rId4"/>
          <a:stretch>
            <a:fillRect/>
          </a:stretch>
        </p:blipFill>
        <p:spPr>
          <a:xfrm>
            <a:off x="594361" y="660513"/>
            <a:ext cx="7881763" cy="5603127"/>
          </a:xfrm>
          <a:prstGeom prst="rect">
            <a:avLst/>
          </a:prstGeom>
        </p:spPr>
      </p:pic>
      <p:sp>
        <p:nvSpPr>
          <p:cNvPr id="3" name="TextBox 2">
            <a:extLst>
              <a:ext uri="{FF2B5EF4-FFF2-40B4-BE49-F238E27FC236}">
                <a16:creationId xmlns:a16="http://schemas.microsoft.com/office/drawing/2014/main" id="{B5D52972-7541-43F5-A57D-0BC5C642342E}"/>
              </a:ext>
            </a:extLst>
          </p:cNvPr>
          <p:cNvSpPr txBox="1"/>
          <p:nvPr/>
        </p:nvSpPr>
        <p:spPr>
          <a:xfrm>
            <a:off x="1344023" y="177217"/>
            <a:ext cx="5862320" cy="584775"/>
          </a:xfrm>
          <a:prstGeom prst="rect">
            <a:avLst/>
          </a:prstGeom>
          <a:noFill/>
        </p:spPr>
        <p:txBody>
          <a:bodyPr wrap="square" rtlCol="0">
            <a:spAutoFit/>
          </a:bodyPr>
          <a:lstStyle/>
          <a:p>
            <a:r>
              <a:rPr lang="fr-FR" b="0" i="0" dirty="0">
                <a:effectLst/>
                <a:latin typeface="Roboto"/>
              </a:rPr>
              <a:t>Comment utiliser les données de la carte de score pour l’action</a:t>
            </a:r>
          </a:p>
          <a:p>
            <a:endParaRPr lang="fr-FR" dirty="0"/>
          </a:p>
        </p:txBody>
      </p:sp>
      <p:sp>
        <p:nvSpPr>
          <p:cNvPr id="6" name="TextBox 5">
            <a:extLst>
              <a:ext uri="{FF2B5EF4-FFF2-40B4-BE49-F238E27FC236}">
                <a16:creationId xmlns:a16="http://schemas.microsoft.com/office/drawing/2014/main" id="{29C0C185-2D00-4D0C-8F0D-053D9862C539}"/>
              </a:ext>
            </a:extLst>
          </p:cNvPr>
          <p:cNvSpPr txBox="1"/>
          <p:nvPr/>
        </p:nvSpPr>
        <p:spPr>
          <a:xfrm>
            <a:off x="115313" y="6408382"/>
            <a:ext cx="4487516" cy="338554"/>
          </a:xfrm>
          <a:prstGeom prst="rect">
            <a:avLst/>
          </a:prstGeom>
          <a:noFill/>
        </p:spPr>
        <p:txBody>
          <a:bodyPr wrap="square">
            <a:spAutoFit/>
          </a:bodyPr>
          <a:lstStyle/>
          <a:p>
            <a:r>
              <a:rPr lang="fr-FR" sz="1600" dirty="0">
                <a:hlinkClick r:id="rId5">
                  <a:extLst>
                    <a:ext uri="{A12FA001-AC4F-418D-AE19-62706E023703}">
                      <ahyp:hlinkClr xmlns:ahyp="http://schemas.microsoft.com/office/drawing/2018/hyperlinkcolor" val="tx"/>
                    </a:ext>
                  </a:extLst>
                </a:hlinkClick>
              </a:rPr>
              <a:t>Télécharger la vidéo </a:t>
            </a:r>
            <a:endParaRPr lang="fr-FR" sz="1600" dirty="0"/>
          </a:p>
        </p:txBody>
      </p:sp>
    </p:spTree>
    <p:extLst>
      <p:ext uri="{BB962C8B-B14F-4D97-AF65-F5344CB8AC3E}">
        <p14:creationId xmlns:p14="http://schemas.microsoft.com/office/powerpoint/2010/main" val="36127995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9"/>
          <p:cNvSpPr txBox="1"/>
          <p:nvPr>
            <p:custDataLst>
              <p:tags r:id="rId1"/>
            </p:custDataLst>
          </p:nvPr>
        </p:nvSpPr>
        <p:spPr>
          <a:xfrm>
            <a:off x="356818" y="1052535"/>
            <a:ext cx="8264430" cy="5102758"/>
          </a:xfrm>
          <a:prstGeom prst="rect">
            <a:avLst/>
          </a:prstGeom>
          <a:solidFill>
            <a:schemeClr val="bg1"/>
          </a:solidFill>
          <a:ln w="19050">
            <a:solidFill>
              <a:schemeClr val="accent1"/>
            </a:solidFill>
          </a:ln>
          <a:effectLst>
            <a:outerShdw blurRad="50800" dist="38100" dir="5400000" algn="t" rotWithShape="0">
              <a:prstClr val="black">
                <a:alpha val="40000"/>
              </a:prstClr>
            </a:outerShdw>
          </a:effectLst>
        </p:spPr>
        <p:txBody>
          <a:bodyPr vert="horz" lIns="76163" tIns="76163" rIns="76163" bIns="76163" rtlCol="0" anchor="t" anchorCtr="0">
            <a:no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fontAlgn="base">
              <a:spcBef>
                <a:spcPct val="0"/>
              </a:spcBef>
              <a:spcAft>
                <a:spcPct val="0"/>
              </a:spcAft>
            </a:pPr>
            <a:r>
              <a:rPr lang="fr-FR" sz="1470">
                <a:solidFill>
                  <a:prstClr val="black"/>
                </a:solidFill>
              </a:rPr>
              <a:t>Questions à considérer</a:t>
            </a:r>
            <a:endParaRPr lang="fr-FR" sz="1470" dirty="0">
              <a:solidFill>
                <a:prstClr val="black"/>
              </a:solidFill>
            </a:endParaRPr>
          </a:p>
        </p:txBody>
      </p:sp>
      <p:sp>
        <p:nvSpPr>
          <p:cNvPr id="12" name="TextBox 9"/>
          <p:cNvSpPr txBox="1"/>
          <p:nvPr>
            <p:custDataLst>
              <p:tags r:id="rId2"/>
            </p:custDataLst>
          </p:nvPr>
        </p:nvSpPr>
        <p:spPr>
          <a:xfrm>
            <a:off x="356818" y="1001005"/>
            <a:ext cx="8264430" cy="459792"/>
          </a:xfrm>
          <a:prstGeom prst="rect">
            <a:avLst/>
          </a:prstGeom>
          <a:solidFill>
            <a:schemeClr val="accent1"/>
          </a:solidFill>
          <a:ln w="19050">
            <a:solidFill>
              <a:schemeClr val="accent1"/>
            </a:solidFill>
          </a:ln>
        </p:spPr>
        <p:txBody>
          <a:bodyPr vert="horz" lIns="76163" tIns="76163" rIns="76163" bIns="76163" rtlCol="0" anchor="t" anchorCtr="0">
            <a:no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fontAlgn="base">
              <a:spcBef>
                <a:spcPct val="0"/>
              </a:spcBef>
              <a:spcAft>
                <a:spcPct val="0"/>
              </a:spcAft>
            </a:pPr>
            <a:r>
              <a:rPr lang="fr-FR" sz="1470" b="1" dirty="0">
                <a:solidFill>
                  <a:prstClr val="black"/>
                </a:solidFill>
              </a:rPr>
              <a:t>Questions à considérer</a:t>
            </a:r>
          </a:p>
        </p:txBody>
      </p:sp>
      <p:sp>
        <p:nvSpPr>
          <p:cNvPr id="15" name="Rectangle 13"/>
          <p:cNvSpPr txBox="1"/>
          <p:nvPr/>
        </p:nvSpPr>
        <p:spPr>
          <a:xfrm>
            <a:off x="2645980" y="2589109"/>
            <a:ext cx="5381531" cy="323202"/>
          </a:xfrm>
          <a:prstGeom prst="rect">
            <a:avLst/>
          </a:prstGeom>
        </p:spPr>
        <p:txBody>
          <a:bodyPr vert="horz" wrap="square" lIns="91395" tIns="45698" rIns="91395" bIns="45698" rtlCol="0" anchor="t" anchorCtr="0">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lvl="1" fontAlgn="base">
              <a:spcBef>
                <a:spcPct val="0"/>
              </a:spcBef>
              <a:spcAft>
                <a:spcPct val="0"/>
              </a:spcAft>
            </a:pPr>
            <a:endParaRPr lang="en-US" sz="1470" dirty="0">
              <a:solidFill>
                <a:prstClr val="black"/>
              </a:solidFill>
            </a:endParaRPr>
          </a:p>
        </p:txBody>
      </p:sp>
      <p:sp>
        <p:nvSpPr>
          <p:cNvPr id="16" name="Rectangle 13"/>
          <p:cNvSpPr txBox="1"/>
          <p:nvPr/>
        </p:nvSpPr>
        <p:spPr>
          <a:xfrm>
            <a:off x="2645980" y="3053446"/>
            <a:ext cx="5381531" cy="323202"/>
          </a:xfrm>
          <a:prstGeom prst="rect">
            <a:avLst/>
          </a:prstGeom>
        </p:spPr>
        <p:txBody>
          <a:bodyPr vert="horz" wrap="square" lIns="91395" tIns="45698" rIns="91395" bIns="45698" rtlCol="0" anchor="t" anchorCtr="0">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lvl="1" fontAlgn="base">
              <a:spcBef>
                <a:spcPct val="0"/>
              </a:spcBef>
              <a:spcAft>
                <a:spcPct val="0"/>
              </a:spcAft>
            </a:pPr>
            <a:endParaRPr lang="en-US" sz="1470" dirty="0">
              <a:solidFill>
                <a:prstClr val="black"/>
              </a:solidFill>
            </a:endParaRPr>
          </a:p>
        </p:txBody>
      </p:sp>
      <p:sp>
        <p:nvSpPr>
          <p:cNvPr id="17" name="Rectangle 13"/>
          <p:cNvSpPr txBox="1"/>
          <p:nvPr/>
        </p:nvSpPr>
        <p:spPr>
          <a:xfrm>
            <a:off x="2645980" y="3763991"/>
            <a:ext cx="5381531" cy="323202"/>
          </a:xfrm>
          <a:prstGeom prst="rect">
            <a:avLst/>
          </a:prstGeom>
        </p:spPr>
        <p:txBody>
          <a:bodyPr vert="horz" wrap="square" lIns="91395" tIns="45698" rIns="91395" bIns="45698" rtlCol="0" anchor="t" anchorCtr="0">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lvl="1" fontAlgn="base">
              <a:spcBef>
                <a:spcPct val="0"/>
              </a:spcBef>
              <a:spcAft>
                <a:spcPct val="0"/>
              </a:spcAft>
            </a:pPr>
            <a:endParaRPr lang="en-US" sz="1470" dirty="0">
              <a:solidFill>
                <a:prstClr val="black"/>
              </a:solidFill>
            </a:endParaRPr>
          </a:p>
        </p:txBody>
      </p:sp>
      <p:sp>
        <p:nvSpPr>
          <p:cNvPr id="18" name="Rectangle 13"/>
          <p:cNvSpPr txBox="1"/>
          <p:nvPr/>
        </p:nvSpPr>
        <p:spPr>
          <a:xfrm>
            <a:off x="2645980" y="4228327"/>
            <a:ext cx="5381531" cy="323202"/>
          </a:xfrm>
          <a:prstGeom prst="rect">
            <a:avLst/>
          </a:prstGeom>
        </p:spPr>
        <p:txBody>
          <a:bodyPr vert="horz" wrap="square" lIns="91395" tIns="45698" rIns="91395" bIns="45698" rtlCol="0" anchor="t" anchorCtr="0">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lvl="1" fontAlgn="base">
              <a:spcBef>
                <a:spcPct val="0"/>
              </a:spcBef>
              <a:spcAft>
                <a:spcPct val="0"/>
              </a:spcAft>
            </a:pPr>
            <a:endParaRPr lang="en-US" sz="1470" dirty="0">
              <a:solidFill>
                <a:prstClr val="black"/>
              </a:solidFill>
            </a:endParaRPr>
          </a:p>
        </p:txBody>
      </p:sp>
      <p:sp>
        <p:nvSpPr>
          <p:cNvPr id="21" name="TextBox 22"/>
          <p:cNvSpPr txBox="1"/>
          <p:nvPr>
            <p:custDataLst>
              <p:tags r:id="rId3"/>
            </p:custDataLst>
          </p:nvPr>
        </p:nvSpPr>
        <p:spPr>
          <a:xfrm>
            <a:off x="449178" y="2584468"/>
            <a:ext cx="2023982" cy="2228606"/>
          </a:xfrm>
          <a:prstGeom prst="rect">
            <a:avLst/>
          </a:prstGeom>
          <a:solidFill>
            <a:schemeClr val="accent2"/>
          </a:solidFill>
          <a:ln>
            <a:noFill/>
          </a:ln>
          <a:effectLst>
            <a:outerShdw blurRad="50800" dist="38100" dir="5400000" algn="t" rotWithShape="0">
              <a:prstClr val="black">
                <a:alpha val="40000"/>
              </a:prstClr>
            </a:outerShdw>
          </a:effectLst>
        </p:spPr>
        <p:txBody>
          <a:bodyPr vert="horz" lIns="76163" tIns="76163" rIns="76163" bIns="76163" rtlCol="0" anchor="ctr" anchorCtr="0">
            <a:no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fontAlgn="base">
              <a:spcBef>
                <a:spcPct val="0"/>
              </a:spcBef>
              <a:spcAft>
                <a:spcPct val="0"/>
              </a:spcAft>
            </a:pPr>
            <a:r>
              <a:rPr lang="fr-FR" sz="1470" b="1" dirty="0">
                <a:solidFill>
                  <a:prstClr val="white"/>
                </a:solidFill>
              </a:rPr>
              <a:t>Quelles sont les causes profondes ?</a:t>
            </a:r>
          </a:p>
        </p:txBody>
      </p:sp>
      <p:sp>
        <p:nvSpPr>
          <p:cNvPr id="28" name="TextBox 22"/>
          <p:cNvSpPr txBox="1"/>
          <p:nvPr>
            <p:custDataLst>
              <p:tags r:id="rId4"/>
            </p:custDataLst>
          </p:nvPr>
        </p:nvSpPr>
        <p:spPr>
          <a:xfrm>
            <a:off x="449179" y="4915551"/>
            <a:ext cx="2023980" cy="1114302"/>
          </a:xfrm>
          <a:prstGeom prst="rect">
            <a:avLst/>
          </a:prstGeom>
          <a:solidFill>
            <a:schemeClr val="accent2"/>
          </a:solidFill>
          <a:ln>
            <a:noFill/>
          </a:ln>
          <a:effectLst>
            <a:outerShdw blurRad="50800" dist="38100" dir="5400000" algn="t" rotWithShape="0">
              <a:prstClr val="black">
                <a:alpha val="40000"/>
              </a:prstClr>
            </a:outerShdw>
          </a:effectLst>
        </p:spPr>
        <p:txBody>
          <a:bodyPr vert="horz" lIns="76163" tIns="76163" rIns="76163" bIns="76163" rtlCol="0" anchor="ctr" anchorCtr="0">
            <a:no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fontAlgn="base">
              <a:spcBef>
                <a:spcPct val="0"/>
              </a:spcBef>
              <a:spcAft>
                <a:spcPct val="0"/>
              </a:spcAft>
            </a:pPr>
            <a:r>
              <a:rPr lang="fr-FR" sz="1470" b="1">
                <a:solidFill>
                  <a:prstClr val="white"/>
                </a:solidFill>
              </a:rPr>
              <a:t>Quelles sont les interventions existantes ?</a:t>
            </a:r>
            <a:endParaRPr lang="fr-FR" sz="1470" b="1" dirty="0">
              <a:solidFill>
                <a:prstClr val="white"/>
              </a:solidFill>
            </a:endParaRPr>
          </a:p>
        </p:txBody>
      </p:sp>
      <p:sp>
        <p:nvSpPr>
          <p:cNvPr id="29" name="TextBox 22"/>
          <p:cNvSpPr txBox="1"/>
          <p:nvPr>
            <p:custDataLst>
              <p:tags r:id="rId5"/>
            </p:custDataLst>
          </p:nvPr>
        </p:nvSpPr>
        <p:spPr>
          <a:xfrm>
            <a:off x="449178" y="1897247"/>
            <a:ext cx="2023982" cy="584741"/>
          </a:xfrm>
          <a:prstGeom prst="rect">
            <a:avLst/>
          </a:prstGeom>
          <a:solidFill>
            <a:schemeClr val="accent2"/>
          </a:solidFill>
          <a:ln>
            <a:noFill/>
          </a:ln>
          <a:effectLst>
            <a:outerShdw blurRad="50800" dist="38100" dir="5400000" algn="t" rotWithShape="0">
              <a:prstClr val="black">
                <a:alpha val="40000"/>
              </a:prstClr>
            </a:outerShdw>
          </a:effectLst>
        </p:spPr>
        <p:txBody>
          <a:bodyPr vert="horz" lIns="76163" tIns="76163" rIns="76163" bIns="76163" rtlCol="0" anchor="ctr" anchorCtr="0">
            <a:no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fontAlgn="base">
              <a:spcBef>
                <a:spcPct val="0"/>
              </a:spcBef>
              <a:spcAft>
                <a:spcPct val="0"/>
              </a:spcAft>
            </a:pPr>
            <a:r>
              <a:rPr lang="fr-FR" sz="1470" b="1" dirty="0">
                <a:solidFill>
                  <a:prstClr val="white"/>
                </a:solidFill>
              </a:rPr>
              <a:t>Est-ce un problème à résoudre ?</a:t>
            </a:r>
          </a:p>
        </p:txBody>
      </p:sp>
      <p:sp>
        <p:nvSpPr>
          <p:cNvPr id="33" name="Rectangle 33"/>
          <p:cNvSpPr txBox="1"/>
          <p:nvPr/>
        </p:nvSpPr>
        <p:spPr>
          <a:xfrm>
            <a:off x="2645983" y="1502271"/>
            <a:ext cx="2909507" cy="323202"/>
          </a:xfrm>
          <a:prstGeom prst="rect">
            <a:avLst/>
          </a:prstGeom>
        </p:spPr>
        <p:txBody>
          <a:bodyPr vert="horz" lIns="91395" tIns="45698" rIns="91395" bIns="45698" rtlCol="0">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fontAlgn="base">
              <a:spcBef>
                <a:spcPct val="0"/>
              </a:spcBef>
              <a:spcAft>
                <a:spcPct val="0"/>
              </a:spcAft>
            </a:pPr>
            <a:r>
              <a:rPr lang="fr-FR" sz="1470" b="1" dirty="0">
                <a:solidFill>
                  <a:prstClr val="black"/>
                </a:solidFill>
              </a:rPr>
              <a:t>Questions types</a:t>
            </a:r>
          </a:p>
        </p:txBody>
      </p:sp>
      <p:sp>
        <p:nvSpPr>
          <p:cNvPr id="35" name="Rectangle 33"/>
          <p:cNvSpPr txBox="1"/>
          <p:nvPr/>
        </p:nvSpPr>
        <p:spPr>
          <a:xfrm>
            <a:off x="449179" y="1502271"/>
            <a:ext cx="2909507" cy="323202"/>
          </a:xfrm>
          <a:prstGeom prst="rect">
            <a:avLst/>
          </a:prstGeom>
        </p:spPr>
        <p:txBody>
          <a:bodyPr vert="horz" lIns="91395" tIns="45698" rIns="91395" bIns="45698" rtlCol="0">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fontAlgn="base">
              <a:spcBef>
                <a:spcPct val="0"/>
              </a:spcBef>
              <a:spcAft>
                <a:spcPct val="0"/>
              </a:spcAft>
            </a:pPr>
            <a:r>
              <a:rPr lang="fr-FR" sz="1470" b="1" dirty="0">
                <a:solidFill>
                  <a:prstClr val="black"/>
                </a:solidFill>
              </a:rPr>
              <a:t>Sujet</a:t>
            </a:r>
          </a:p>
        </p:txBody>
      </p:sp>
      <p:cxnSp>
        <p:nvCxnSpPr>
          <p:cNvPr id="37" name="Straight Connector 36"/>
          <p:cNvCxnSpPr/>
          <p:nvPr/>
        </p:nvCxnSpPr>
        <p:spPr>
          <a:xfrm>
            <a:off x="2645985" y="1840804"/>
            <a:ext cx="567839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2645985" y="2533222"/>
            <a:ext cx="5678399" cy="0"/>
          </a:xfrm>
          <a:prstGeom prst="line">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645985" y="4864308"/>
            <a:ext cx="5678399" cy="0"/>
          </a:xfrm>
          <a:prstGeom prst="line">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34" name="Rectangle 11"/>
          <p:cNvSpPr txBox="1">
            <a:spLocks noChangeArrowheads="1"/>
          </p:cNvSpPr>
          <p:nvPr>
            <p:custDataLst>
              <p:tags r:id="rId6"/>
            </p:custDataLst>
          </p:nvPr>
        </p:nvSpPr>
        <p:spPr bwMode="gray">
          <a:xfrm>
            <a:off x="356818" y="217681"/>
            <a:ext cx="5921985" cy="57310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fr-FR" sz="1862" dirty="0">
                <a:solidFill>
                  <a:srgbClr val="39302A"/>
                </a:solidFill>
              </a:rPr>
              <a:t>Après avoir trouvé le problème... puis déterminer les causes profondes des sous-performances ... </a:t>
            </a:r>
            <a:endParaRPr lang="fr-FR" sz="1862" kern="0" dirty="0">
              <a:solidFill>
                <a:srgbClr val="39302A"/>
              </a:solidFill>
            </a:endParaRPr>
          </a:p>
        </p:txBody>
      </p:sp>
      <p:sp>
        <p:nvSpPr>
          <p:cNvPr id="3" name="Rectangle 3"/>
          <p:cNvSpPr txBox="1"/>
          <p:nvPr/>
        </p:nvSpPr>
        <p:spPr>
          <a:xfrm>
            <a:off x="2760472" y="1940810"/>
            <a:ext cx="5687105" cy="482568"/>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fontAlgn="base">
              <a:spcBef>
                <a:spcPct val="0"/>
              </a:spcBef>
              <a:spcAft>
                <a:spcPct val="0"/>
              </a:spcAft>
              <a:buClr>
                <a:srgbClr val="39302A"/>
              </a:buClr>
            </a:pPr>
            <a:r>
              <a:rPr lang="fr-FR" sz="1568" dirty="0">
                <a:solidFill>
                  <a:srgbClr val="000000"/>
                </a:solidFill>
              </a:rPr>
              <a:t>Y a-t-il une claire implication de performance ou faut-il analyser davantage pour cerner les goulots d’étranglement ?</a:t>
            </a:r>
            <a:endParaRPr lang="fr-FR" sz="1568" dirty="0">
              <a:solidFill>
                <a:prstClr val="black"/>
              </a:solidFill>
            </a:endParaRPr>
          </a:p>
        </p:txBody>
      </p:sp>
      <p:sp>
        <p:nvSpPr>
          <p:cNvPr id="40" name="Rectangle 3"/>
          <p:cNvSpPr txBox="1"/>
          <p:nvPr/>
        </p:nvSpPr>
        <p:spPr>
          <a:xfrm>
            <a:off x="2760472" y="2640645"/>
            <a:ext cx="5687105" cy="482568"/>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fontAlgn="base">
              <a:spcBef>
                <a:spcPct val="0"/>
              </a:spcBef>
              <a:spcAft>
                <a:spcPct val="0"/>
              </a:spcAft>
              <a:buClr>
                <a:srgbClr val="39302A"/>
              </a:buClr>
            </a:pPr>
            <a:r>
              <a:rPr lang="fr-FR" sz="1568" dirty="0">
                <a:solidFill>
                  <a:srgbClr val="000000"/>
                </a:solidFill>
              </a:rPr>
              <a:t>Quelles sont les causes profondes des performances de la région ?</a:t>
            </a:r>
            <a:endParaRPr lang="fr-FR" sz="1568" dirty="0">
              <a:solidFill>
                <a:prstClr val="black"/>
              </a:solidFill>
            </a:endParaRPr>
          </a:p>
        </p:txBody>
      </p:sp>
      <p:sp>
        <p:nvSpPr>
          <p:cNvPr id="51" name="Rectangle 3"/>
          <p:cNvSpPr txBox="1"/>
          <p:nvPr/>
        </p:nvSpPr>
        <p:spPr>
          <a:xfrm>
            <a:off x="2760472" y="3184729"/>
            <a:ext cx="5687105" cy="482568"/>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fontAlgn="base">
              <a:spcBef>
                <a:spcPct val="0"/>
              </a:spcBef>
              <a:spcAft>
                <a:spcPct val="0"/>
              </a:spcAft>
              <a:buClr>
                <a:srgbClr val="39302A"/>
              </a:buClr>
            </a:pPr>
            <a:r>
              <a:rPr lang="fr-FR" sz="1568" dirty="0">
                <a:solidFill>
                  <a:srgbClr val="000000"/>
                </a:solidFill>
              </a:rPr>
              <a:t>Quels sont les facteurs qui impactent le plus les performances de la région sous-nationale ?</a:t>
            </a:r>
            <a:endParaRPr lang="fr-FR" sz="1568" dirty="0">
              <a:solidFill>
                <a:prstClr val="black"/>
              </a:solidFill>
            </a:endParaRPr>
          </a:p>
        </p:txBody>
      </p:sp>
      <p:sp>
        <p:nvSpPr>
          <p:cNvPr id="52" name="Rectangle 3"/>
          <p:cNvSpPr txBox="1"/>
          <p:nvPr/>
        </p:nvSpPr>
        <p:spPr>
          <a:xfrm>
            <a:off x="2760477" y="3706266"/>
            <a:ext cx="5267039" cy="241285"/>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fontAlgn="base">
              <a:spcBef>
                <a:spcPct val="0"/>
              </a:spcBef>
              <a:spcAft>
                <a:spcPct val="0"/>
              </a:spcAft>
              <a:buClr>
                <a:srgbClr val="39302A"/>
              </a:buClr>
            </a:pPr>
            <a:r>
              <a:rPr lang="fr-FR" sz="1568" dirty="0">
                <a:solidFill>
                  <a:srgbClr val="000000"/>
                </a:solidFill>
              </a:rPr>
              <a:t>Quels facteurs peuvent être gérés / contrôlés ?</a:t>
            </a:r>
            <a:endParaRPr lang="fr-FR" sz="1568" dirty="0">
              <a:solidFill>
                <a:prstClr val="black"/>
              </a:solidFill>
            </a:endParaRPr>
          </a:p>
        </p:txBody>
      </p:sp>
      <p:sp>
        <p:nvSpPr>
          <p:cNvPr id="53" name="Rectangle 3"/>
          <p:cNvSpPr txBox="1"/>
          <p:nvPr/>
        </p:nvSpPr>
        <p:spPr>
          <a:xfrm>
            <a:off x="2760477" y="4041654"/>
            <a:ext cx="5267039" cy="723853"/>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fontAlgn="base">
              <a:spcBef>
                <a:spcPct val="0"/>
              </a:spcBef>
              <a:spcAft>
                <a:spcPct val="0"/>
              </a:spcAft>
              <a:buClr>
                <a:srgbClr val="39302A"/>
              </a:buClr>
            </a:pPr>
            <a:r>
              <a:rPr lang="fr-FR" sz="1568" dirty="0">
                <a:solidFill>
                  <a:srgbClr val="000000"/>
                </a:solidFill>
              </a:rPr>
              <a:t>Ces facteurs impactent-ils les structures de santé / les individus de manière égale dans toute la région sous-nationale ? </a:t>
            </a:r>
            <a:endParaRPr lang="fr-FR" sz="1568" dirty="0">
              <a:solidFill>
                <a:prstClr val="black"/>
              </a:solidFill>
            </a:endParaRPr>
          </a:p>
        </p:txBody>
      </p:sp>
      <p:sp>
        <p:nvSpPr>
          <p:cNvPr id="54" name="Rectangle 3"/>
          <p:cNvSpPr txBox="1"/>
          <p:nvPr/>
        </p:nvSpPr>
        <p:spPr>
          <a:xfrm>
            <a:off x="2760477" y="5040407"/>
            <a:ext cx="5468908" cy="241285"/>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fontAlgn="base">
              <a:spcBef>
                <a:spcPct val="0"/>
              </a:spcBef>
              <a:spcAft>
                <a:spcPct val="0"/>
              </a:spcAft>
              <a:buClr>
                <a:srgbClr val="39302A"/>
              </a:buClr>
            </a:pPr>
            <a:r>
              <a:rPr lang="fr-FR" sz="1568" dirty="0">
                <a:solidFill>
                  <a:srgbClr val="000000"/>
                </a:solidFill>
              </a:rPr>
              <a:t>Quelles sont les interventions en place / déjà essayées ?</a:t>
            </a:r>
            <a:endParaRPr lang="fr-FR" sz="1568" dirty="0">
              <a:solidFill>
                <a:prstClr val="black"/>
              </a:solidFill>
            </a:endParaRPr>
          </a:p>
        </p:txBody>
      </p:sp>
      <p:sp>
        <p:nvSpPr>
          <p:cNvPr id="55" name="Rectangle 3"/>
          <p:cNvSpPr txBox="1"/>
          <p:nvPr/>
        </p:nvSpPr>
        <p:spPr>
          <a:xfrm>
            <a:off x="2760477" y="5448120"/>
            <a:ext cx="5267039" cy="482568"/>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fontAlgn="base">
              <a:spcBef>
                <a:spcPct val="0"/>
              </a:spcBef>
              <a:spcAft>
                <a:spcPct val="0"/>
              </a:spcAft>
              <a:buClr>
                <a:srgbClr val="39302A"/>
              </a:buClr>
            </a:pPr>
            <a:r>
              <a:rPr lang="fr-FR" sz="1568" dirty="0">
                <a:solidFill>
                  <a:srgbClr val="000000"/>
                </a:solidFill>
              </a:rPr>
              <a:t>Quelles interventions ont produit de bons résultats ? Lesquelles n'ont pas réussi ?</a:t>
            </a:r>
            <a:endParaRPr lang="fr-FR" sz="1568" dirty="0">
              <a:solidFill>
                <a:prstClr val="black"/>
              </a:solidFill>
            </a:endParaRPr>
          </a:p>
        </p:txBody>
      </p:sp>
    </p:spTree>
    <p:extLst>
      <p:ext uri="{BB962C8B-B14F-4D97-AF65-F5344CB8AC3E}">
        <p14:creationId xmlns:p14="http://schemas.microsoft.com/office/powerpoint/2010/main" val="244119037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itle 1">
            <a:extLst>
              <a:ext uri="{FF2B5EF4-FFF2-40B4-BE49-F238E27FC236}">
                <a16:creationId xmlns:a16="http://schemas.microsoft.com/office/drawing/2014/main" id="{BDBB51EB-56A4-9345-A802-B224723D8688}"/>
              </a:ext>
            </a:extLst>
          </p:cNvPr>
          <p:cNvSpPr txBox="1">
            <a:spLocks/>
          </p:cNvSpPr>
          <p:nvPr/>
        </p:nvSpPr>
        <p:spPr>
          <a:xfrm>
            <a:off x="448072" y="419400"/>
            <a:ext cx="8065294" cy="651589"/>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Les actions doivent être formulées en utilisant les critères SMART</a:t>
            </a:r>
          </a:p>
        </p:txBody>
      </p:sp>
      <p:sp>
        <p:nvSpPr>
          <p:cNvPr id="31" name="Text Placeholder 5">
            <a:extLst>
              <a:ext uri="{FF2B5EF4-FFF2-40B4-BE49-F238E27FC236}">
                <a16:creationId xmlns:a16="http://schemas.microsoft.com/office/drawing/2014/main" id="{652BD367-3CB6-5241-9D60-3E50F1837AC6}"/>
              </a:ext>
            </a:extLst>
          </p:cNvPr>
          <p:cNvSpPr txBox="1">
            <a:spLocks/>
          </p:cNvSpPr>
          <p:nvPr/>
        </p:nvSpPr>
        <p:spPr>
          <a:xfrm>
            <a:off x="448072" y="1693563"/>
            <a:ext cx="7865400" cy="282321"/>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ts val="2352"/>
              </a:lnSpc>
              <a:spcAft>
                <a:spcPts val="588"/>
              </a:spcAft>
            </a:pPr>
            <a:r>
              <a:rPr lang="fr-FR" sz="1764" dirty="0">
                <a:solidFill>
                  <a:schemeClr val="bg1"/>
                </a:solidFill>
              </a:rPr>
              <a:t>La liste d’indicateurs initiale doit être testée par rapport aux critères SMART.</a:t>
            </a:r>
          </a:p>
        </p:txBody>
      </p:sp>
      <p:grpSp>
        <p:nvGrpSpPr>
          <p:cNvPr id="2" name="Group 1">
            <a:extLst>
              <a:ext uri="{FF2B5EF4-FFF2-40B4-BE49-F238E27FC236}">
                <a16:creationId xmlns:a16="http://schemas.microsoft.com/office/drawing/2014/main" id="{985FDBD5-FAAE-0240-A2EE-C1EF9EFE96CB}"/>
              </a:ext>
            </a:extLst>
          </p:cNvPr>
          <p:cNvGrpSpPr/>
          <p:nvPr/>
        </p:nvGrpSpPr>
        <p:grpSpPr>
          <a:xfrm>
            <a:off x="272267" y="1283234"/>
            <a:ext cx="8264150" cy="4880346"/>
            <a:chOff x="277813" y="1049187"/>
            <a:chExt cx="8432509" cy="4729752"/>
          </a:xfrm>
        </p:grpSpPr>
        <p:sp>
          <p:nvSpPr>
            <p:cNvPr id="70" name="Rectangle 3">
              <a:extLst>
                <a:ext uri="{FF2B5EF4-FFF2-40B4-BE49-F238E27FC236}">
                  <a16:creationId xmlns:a16="http://schemas.microsoft.com/office/drawing/2014/main" id="{517A08F8-F3D8-164D-BCF8-AE665FCAAB1F}"/>
                </a:ext>
              </a:extLst>
            </p:cNvPr>
            <p:cNvSpPr>
              <a:spLocks noChangeArrowheads="1"/>
            </p:cNvSpPr>
            <p:nvPr/>
          </p:nvSpPr>
          <p:spPr bwMode="gray">
            <a:xfrm>
              <a:off x="277813" y="1049187"/>
              <a:ext cx="8405813" cy="4729752"/>
            </a:xfrm>
            <a:prstGeom prst="rect">
              <a:avLst/>
            </a:prstGeom>
            <a:solidFill>
              <a:schemeClr val="bg1"/>
            </a:solidFill>
            <a:ln w="19050" algn="ctr">
              <a:solidFill>
                <a:schemeClr val="accent1"/>
              </a:solidFill>
              <a:miter lim="800000"/>
              <a:headEnd/>
              <a:tailEnd/>
            </a:ln>
            <a:effectLst>
              <a:outerShdw blurRad="50800" dist="38100" dir="2700000" algn="tl" rotWithShape="0">
                <a:prstClr val="black">
                  <a:alpha val="40000"/>
                </a:prstClr>
              </a:outerShdw>
            </a:effectLst>
          </p:spPr>
          <p:txBody>
            <a:bodyPr lIns="62232" tIns="62232" rIns="62232" bIns="0"/>
            <a:lstStyle>
              <a:lvl1pPr>
                <a:defRPr sz="1100" b="1">
                  <a:solidFill>
                    <a:schemeClr val="tx1"/>
                  </a:solidFill>
                  <a:latin typeface="Arial" charset="0"/>
                </a:defRPr>
              </a:lvl1pPr>
              <a:lvl2pPr marL="742950" indent="-285750">
                <a:defRPr sz="1100" b="1">
                  <a:solidFill>
                    <a:schemeClr val="tx1"/>
                  </a:solidFill>
                  <a:latin typeface="Arial" charset="0"/>
                </a:defRPr>
              </a:lvl2pPr>
              <a:lvl3pPr marL="1143000" indent="-228600">
                <a:defRPr sz="1100" b="1">
                  <a:solidFill>
                    <a:schemeClr val="tx1"/>
                  </a:solidFill>
                  <a:latin typeface="Arial" charset="0"/>
                </a:defRPr>
              </a:lvl3pPr>
              <a:lvl4pPr marL="1600200" indent="-228600">
                <a:defRPr sz="1100" b="1">
                  <a:solidFill>
                    <a:schemeClr val="tx1"/>
                  </a:solidFill>
                  <a:latin typeface="Arial" charset="0"/>
                </a:defRPr>
              </a:lvl4pPr>
              <a:lvl5pPr marL="2057400" indent="-228600">
                <a:defRPr sz="1100" b="1">
                  <a:solidFill>
                    <a:schemeClr val="tx1"/>
                  </a:solidFill>
                  <a:latin typeface="Arial" charset="0"/>
                </a:defRPr>
              </a:lvl5pPr>
              <a:lvl6pPr marL="25146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6pPr>
              <a:lvl7pPr marL="29718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7pPr>
              <a:lvl8pPr marL="34290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8pPr>
              <a:lvl9pPr marL="38862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9pPr>
            </a:lstStyle>
            <a:p>
              <a:pPr eaLnBrk="1" hangingPunct="1">
                <a:buClrTx/>
                <a:buSzTx/>
                <a:buFontTx/>
                <a:buNone/>
              </a:pPr>
              <a:endParaRPr lang="en-US" sz="1372" b="0">
                <a:latin typeface="Arial" panose="020B0604020202020204" pitchFamily="34" charset="0"/>
                <a:cs typeface="Arial" panose="020B0604020202020204" pitchFamily="34" charset="0"/>
              </a:endParaRPr>
            </a:p>
          </p:txBody>
        </p:sp>
        <p:sp>
          <p:nvSpPr>
            <p:cNvPr id="71" name="Rectangle 9">
              <a:extLst>
                <a:ext uri="{FF2B5EF4-FFF2-40B4-BE49-F238E27FC236}">
                  <a16:creationId xmlns:a16="http://schemas.microsoft.com/office/drawing/2014/main" id="{EA51C218-2E07-8840-A792-202EB41F368D}"/>
                </a:ext>
              </a:extLst>
            </p:cNvPr>
            <p:cNvSpPr>
              <a:spLocks noChangeArrowheads="1"/>
            </p:cNvSpPr>
            <p:nvPr/>
          </p:nvSpPr>
          <p:spPr bwMode="gray">
            <a:xfrm>
              <a:off x="1896269" y="1082483"/>
              <a:ext cx="6672263" cy="2693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342900" indent="-342900" defTabSz="895350">
                <a:defRPr sz="1600">
                  <a:solidFill>
                    <a:schemeClr val="tx1"/>
                  </a:solidFill>
                  <a:latin typeface="Arial" charset="0"/>
                </a:defRPr>
              </a:lvl1pPr>
              <a:lvl2pPr marL="144463" indent="-142875"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lvl="1" eaLnBrk="1" hangingPunct="1">
                <a:spcBef>
                  <a:spcPct val="20000"/>
                </a:spcBef>
                <a:buClr>
                  <a:srgbClr val="352A49"/>
                </a:buClr>
                <a:buSzPct val="80000"/>
                <a:buFont typeface="Wingdings" pitchFamily="2" charset="2"/>
                <a:buNone/>
              </a:pPr>
              <a:r>
                <a:rPr lang="fr-FR" sz="1372" dirty="0">
                  <a:latin typeface="Arial" panose="020B0604020202020204" pitchFamily="34" charset="0"/>
                  <a:cs typeface="Arial" panose="020B0604020202020204" pitchFamily="34" charset="0"/>
                </a:rPr>
                <a:t>Questions</a:t>
              </a:r>
            </a:p>
          </p:txBody>
        </p:sp>
        <p:grpSp>
          <p:nvGrpSpPr>
            <p:cNvPr id="72" name="Group 10">
              <a:extLst>
                <a:ext uri="{FF2B5EF4-FFF2-40B4-BE49-F238E27FC236}">
                  <a16:creationId xmlns:a16="http://schemas.microsoft.com/office/drawing/2014/main" id="{1FAB0969-FE3B-0A41-A8EC-90AB63D10FE5}"/>
                </a:ext>
              </a:extLst>
            </p:cNvPr>
            <p:cNvGrpSpPr>
              <a:grpSpLocks/>
            </p:cNvGrpSpPr>
            <p:nvPr>
              <p:custDataLst>
                <p:tags r:id="rId1"/>
              </p:custDataLst>
            </p:nvPr>
          </p:nvGrpSpPr>
          <p:grpSpPr bwMode="auto">
            <a:xfrm>
              <a:off x="392906" y="5002356"/>
              <a:ext cx="1439863" cy="584200"/>
              <a:chOff x="352" y="3175"/>
              <a:chExt cx="737" cy="335"/>
            </a:xfrm>
            <a:solidFill>
              <a:schemeClr val="accent1"/>
            </a:solidFill>
            <a:effectLst>
              <a:outerShdw blurRad="50800" dist="38100" dir="2700000" algn="tl" rotWithShape="0">
                <a:prstClr val="black">
                  <a:alpha val="40000"/>
                </a:prstClr>
              </a:outerShdw>
            </a:effectLst>
          </p:grpSpPr>
          <p:sp>
            <p:nvSpPr>
              <p:cNvPr id="73" name="Freeform 12">
                <a:extLst>
                  <a:ext uri="{FF2B5EF4-FFF2-40B4-BE49-F238E27FC236}">
                    <a16:creationId xmlns:a16="http://schemas.microsoft.com/office/drawing/2014/main" id="{3D8437A2-2373-6548-B362-4AA081241073}"/>
                  </a:ext>
                </a:extLst>
              </p:cNvPr>
              <p:cNvSpPr>
                <a:spLocks/>
              </p:cNvSpPr>
              <p:nvPr>
                <p:custDataLst>
                  <p:tags r:id="rId14"/>
                </p:custDataLst>
              </p:nvPr>
            </p:nvSpPr>
            <p:spPr bwMode="gray">
              <a:xfrm>
                <a:off x="352" y="3175"/>
                <a:ext cx="737" cy="335"/>
              </a:xfrm>
              <a:custGeom>
                <a:avLst/>
                <a:gdLst>
                  <a:gd name="T0" fmla="*/ 0 w 737"/>
                  <a:gd name="T1" fmla="*/ 0 h 335"/>
                  <a:gd name="T2" fmla="*/ 814 w 737"/>
                  <a:gd name="T3" fmla="*/ 0 h 335"/>
                  <a:gd name="T4" fmla="*/ 878 w 737"/>
                  <a:gd name="T5" fmla="*/ 179 h 335"/>
                  <a:gd name="T6" fmla="*/ 814 w 737"/>
                  <a:gd name="T7" fmla="*/ 357 h 335"/>
                  <a:gd name="T8" fmla="*/ 0 w 737"/>
                  <a:gd name="T9" fmla="*/ 357 h 335"/>
                  <a:gd name="T10" fmla="*/ 0 w 737"/>
                  <a:gd name="T11" fmla="*/ 179 h 335"/>
                  <a:gd name="T12" fmla="*/ 0 w 737"/>
                  <a:gd name="T13" fmla="*/ 0 h 33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37" h="335">
                    <a:moveTo>
                      <a:pt x="0" y="0"/>
                    </a:moveTo>
                    <a:lnTo>
                      <a:pt x="677" y="0"/>
                    </a:lnTo>
                    <a:lnTo>
                      <a:pt x="737" y="168"/>
                    </a:lnTo>
                    <a:lnTo>
                      <a:pt x="677" y="335"/>
                    </a:lnTo>
                    <a:lnTo>
                      <a:pt x="0" y="335"/>
                    </a:lnTo>
                    <a:lnTo>
                      <a:pt x="0" y="168"/>
                    </a:lnTo>
                    <a:lnTo>
                      <a:pt x="0" y="0"/>
                    </a:lnTo>
                    <a:close/>
                  </a:path>
                </a:pathLst>
              </a:custGeom>
              <a:grpFill/>
              <a:ln w="12700" cap="flat"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a:latin typeface="Arial" panose="020B0604020202020204" pitchFamily="34" charset="0"/>
                  <a:cs typeface="Arial" panose="020B0604020202020204" pitchFamily="34" charset="0"/>
                </a:endParaRPr>
              </a:p>
            </p:txBody>
          </p:sp>
          <p:sp>
            <p:nvSpPr>
              <p:cNvPr id="74" name="Rectangle 13">
                <a:extLst>
                  <a:ext uri="{FF2B5EF4-FFF2-40B4-BE49-F238E27FC236}">
                    <a16:creationId xmlns:a16="http://schemas.microsoft.com/office/drawing/2014/main" id="{475BD1DB-5E2E-754D-9279-9AA359A373C2}"/>
                  </a:ext>
                </a:extLst>
              </p:cNvPr>
              <p:cNvSpPr>
                <a:spLocks noChangeArrowheads="1"/>
              </p:cNvSpPr>
              <p:nvPr>
                <p:custDataLst>
                  <p:tags r:id="rId15"/>
                </p:custDataLst>
              </p:nvPr>
            </p:nvSpPr>
            <p:spPr bwMode="gray">
              <a:xfrm>
                <a:off x="384" y="3184"/>
                <a:ext cx="645" cy="309"/>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490" tIns="0" rIns="3490" bIns="0" anchor="ctr">
                <a:noAutofit/>
              </a:bodyP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eaLnBrk="1" hangingPunct="1">
                  <a:buClr>
                    <a:srgbClr val="352A49"/>
                  </a:buClr>
                  <a:buSzPct val="80000"/>
                  <a:buFont typeface="Wingdings" pitchFamily="2" charset="2"/>
                  <a:buNone/>
                </a:pPr>
                <a:r>
                  <a:rPr lang="fr-FR" sz="1372" dirty="0">
                    <a:latin typeface="Arial" panose="020B0604020202020204" pitchFamily="34" charset="0"/>
                    <a:cs typeface="Arial" panose="020B0604020202020204" pitchFamily="34" charset="0"/>
                  </a:rPr>
                  <a:t>Défini dans le </a:t>
                </a:r>
                <a:r>
                  <a:rPr lang="fr-FR" sz="1372" u="sng" dirty="0">
                    <a:latin typeface="Arial" panose="020B0604020202020204" pitchFamily="34" charset="0"/>
                    <a:cs typeface="Arial" panose="020B0604020202020204" pitchFamily="34" charset="0"/>
                  </a:rPr>
                  <a:t>t</a:t>
                </a:r>
                <a:r>
                  <a:rPr lang="fr-FR" sz="1372" dirty="0">
                    <a:latin typeface="Arial" panose="020B0604020202020204" pitchFamily="34" charset="0"/>
                    <a:cs typeface="Arial" panose="020B0604020202020204" pitchFamily="34" charset="0"/>
                  </a:rPr>
                  <a:t>emps</a:t>
                </a:r>
              </a:p>
            </p:txBody>
          </p:sp>
        </p:grpSp>
        <p:sp>
          <p:nvSpPr>
            <p:cNvPr id="75" name="Rectangle 10">
              <a:extLst>
                <a:ext uri="{FF2B5EF4-FFF2-40B4-BE49-F238E27FC236}">
                  <a16:creationId xmlns:a16="http://schemas.microsoft.com/office/drawing/2014/main" id="{BB3A1D64-581B-2A44-8BB8-44449CBF92F3}"/>
                </a:ext>
              </a:extLst>
            </p:cNvPr>
            <p:cNvSpPr>
              <a:spLocks noChangeArrowheads="1"/>
            </p:cNvSpPr>
            <p:nvPr/>
          </p:nvSpPr>
          <p:spPr bwMode="gray">
            <a:xfrm>
              <a:off x="1919791" y="5002356"/>
              <a:ext cx="6790531" cy="6138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defTabSz="895350">
                <a:defRPr sz="1600">
                  <a:solidFill>
                    <a:schemeClr val="tx1"/>
                  </a:solidFill>
                  <a:latin typeface="Arial" charset="0"/>
                </a:defRPr>
              </a:lvl1pPr>
              <a:lvl2pPr marL="193675" indent="-192088"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287337" lvl="1" indent="-285750" eaLnBrk="1" hangingPunct="1">
                <a:spcBef>
                  <a:spcPct val="20000"/>
                </a:spcBef>
                <a:buFont typeface="Arial" panose="020B0604020202020204" pitchFamily="34" charset="0"/>
                <a:buChar char="•"/>
              </a:pPr>
              <a:r>
                <a:rPr lang="fr-FR" sz="1372" dirty="0">
                  <a:latin typeface="Arial" panose="020B0604020202020204" pitchFamily="34" charset="0"/>
                  <a:cs typeface="Arial" panose="020B0604020202020204" pitchFamily="34" charset="0"/>
                </a:rPr>
                <a:t>Les actions doivent avoir une date limite spécifique qui indique au propriétaire de l'action quand elle doit être mise en œuvre. Si plusieurs étapes sont requises pour l'action, chaque étape peut être une action distincte, avec un délai défini.</a:t>
              </a:r>
            </a:p>
          </p:txBody>
        </p:sp>
        <p:grpSp>
          <p:nvGrpSpPr>
            <p:cNvPr id="76" name="Group 13">
              <a:extLst>
                <a:ext uri="{FF2B5EF4-FFF2-40B4-BE49-F238E27FC236}">
                  <a16:creationId xmlns:a16="http://schemas.microsoft.com/office/drawing/2014/main" id="{09FA9202-FD98-E547-9E65-5B74241494B3}"/>
                </a:ext>
              </a:extLst>
            </p:cNvPr>
            <p:cNvGrpSpPr>
              <a:grpSpLocks/>
            </p:cNvGrpSpPr>
            <p:nvPr>
              <p:custDataLst>
                <p:tags r:id="rId2"/>
              </p:custDataLst>
            </p:nvPr>
          </p:nvGrpSpPr>
          <p:grpSpPr bwMode="auto">
            <a:xfrm>
              <a:off x="392906" y="2359685"/>
              <a:ext cx="1439863" cy="582613"/>
              <a:chOff x="352" y="1612"/>
              <a:chExt cx="737" cy="335"/>
            </a:xfrm>
            <a:solidFill>
              <a:schemeClr val="accent1"/>
            </a:solidFill>
            <a:effectLst>
              <a:outerShdw blurRad="50800" dist="38100" dir="2700000" algn="tl" rotWithShape="0">
                <a:prstClr val="black">
                  <a:alpha val="40000"/>
                </a:prstClr>
              </a:outerShdw>
            </a:effectLst>
          </p:grpSpPr>
          <p:sp>
            <p:nvSpPr>
              <p:cNvPr id="77" name="Freeform 15">
                <a:extLst>
                  <a:ext uri="{FF2B5EF4-FFF2-40B4-BE49-F238E27FC236}">
                    <a16:creationId xmlns:a16="http://schemas.microsoft.com/office/drawing/2014/main" id="{55A5BA81-97EF-4849-AC1D-44EAD247D115}"/>
                  </a:ext>
                </a:extLst>
              </p:cNvPr>
              <p:cNvSpPr>
                <a:spLocks/>
              </p:cNvSpPr>
              <p:nvPr>
                <p:custDataLst>
                  <p:tags r:id="rId12"/>
                </p:custDataLst>
              </p:nvPr>
            </p:nvSpPr>
            <p:spPr bwMode="gray">
              <a:xfrm>
                <a:off x="352" y="1612"/>
                <a:ext cx="737" cy="335"/>
              </a:xfrm>
              <a:custGeom>
                <a:avLst/>
                <a:gdLst>
                  <a:gd name="T0" fmla="*/ 0 w 737"/>
                  <a:gd name="T1" fmla="*/ 0 h 335"/>
                  <a:gd name="T2" fmla="*/ 814 w 737"/>
                  <a:gd name="T3" fmla="*/ 0 h 335"/>
                  <a:gd name="T4" fmla="*/ 878 w 737"/>
                  <a:gd name="T5" fmla="*/ 179 h 335"/>
                  <a:gd name="T6" fmla="*/ 814 w 737"/>
                  <a:gd name="T7" fmla="*/ 357 h 335"/>
                  <a:gd name="T8" fmla="*/ 0 w 737"/>
                  <a:gd name="T9" fmla="*/ 357 h 335"/>
                  <a:gd name="T10" fmla="*/ 0 w 737"/>
                  <a:gd name="T11" fmla="*/ 179 h 335"/>
                  <a:gd name="T12" fmla="*/ 0 w 737"/>
                  <a:gd name="T13" fmla="*/ 0 h 33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37" h="335">
                    <a:moveTo>
                      <a:pt x="0" y="0"/>
                    </a:moveTo>
                    <a:lnTo>
                      <a:pt x="677" y="0"/>
                    </a:lnTo>
                    <a:lnTo>
                      <a:pt x="737" y="168"/>
                    </a:lnTo>
                    <a:lnTo>
                      <a:pt x="677" y="335"/>
                    </a:lnTo>
                    <a:lnTo>
                      <a:pt x="0" y="335"/>
                    </a:lnTo>
                    <a:lnTo>
                      <a:pt x="0" y="168"/>
                    </a:lnTo>
                    <a:lnTo>
                      <a:pt x="0" y="0"/>
                    </a:lnTo>
                    <a:close/>
                  </a:path>
                </a:pathLst>
              </a:custGeom>
              <a:grpFill/>
              <a:ln w="12700" cap="flat"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a:latin typeface="Arial" panose="020B0604020202020204" pitchFamily="34" charset="0"/>
                  <a:cs typeface="Arial" panose="020B0604020202020204" pitchFamily="34" charset="0"/>
                </a:endParaRPr>
              </a:p>
            </p:txBody>
          </p:sp>
          <p:sp>
            <p:nvSpPr>
              <p:cNvPr id="78" name="Rectangle 16">
                <a:extLst>
                  <a:ext uri="{FF2B5EF4-FFF2-40B4-BE49-F238E27FC236}">
                    <a16:creationId xmlns:a16="http://schemas.microsoft.com/office/drawing/2014/main" id="{2CF2C31D-44C6-5F41-9812-F8EAEFF357F7}"/>
                  </a:ext>
                </a:extLst>
              </p:cNvPr>
              <p:cNvSpPr>
                <a:spLocks noChangeArrowheads="1"/>
              </p:cNvSpPr>
              <p:nvPr>
                <p:custDataLst>
                  <p:tags r:id="rId13"/>
                </p:custDataLst>
              </p:nvPr>
            </p:nvSpPr>
            <p:spPr bwMode="gray">
              <a:xfrm>
                <a:off x="384" y="1631"/>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eaLnBrk="1" hangingPunct="1">
                  <a:buClr>
                    <a:srgbClr val="352A49"/>
                  </a:buClr>
                  <a:buSzPct val="80000"/>
                  <a:buFont typeface="Wingdings" pitchFamily="2" charset="2"/>
                  <a:buNone/>
                </a:pPr>
                <a:r>
                  <a:rPr lang="fr-FR" sz="1372" u="sng" dirty="0">
                    <a:latin typeface="Arial" panose="020B0604020202020204" pitchFamily="34" charset="0"/>
                    <a:cs typeface="Arial" panose="020B0604020202020204" pitchFamily="34" charset="0"/>
                  </a:rPr>
                  <a:t>M</a:t>
                </a:r>
                <a:r>
                  <a:rPr lang="fr-FR" sz="1372" dirty="0">
                    <a:latin typeface="Arial" panose="020B0604020202020204" pitchFamily="34" charset="0"/>
                    <a:cs typeface="Arial" panose="020B0604020202020204" pitchFamily="34" charset="0"/>
                  </a:rPr>
                  <a:t>esurable</a:t>
                </a:r>
              </a:p>
            </p:txBody>
          </p:sp>
        </p:grpSp>
        <p:sp>
          <p:nvSpPr>
            <p:cNvPr id="79" name="Rectangle 17">
              <a:extLst>
                <a:ext uri="{FF2B5EF4-FFF2-40B4-BE49-F238E27FC236}">
                  <a16:creationId xmlns:a16="http://schemas.microsoft.com/office/drawing/2014/main" id="{BA98BD5D-40BC-284E-BEE4-25861D1CE6DE}"/>
                </a:ext>
              </a:extLst>
            </p:cNvPr>
            <p:cNvSpPr>
              <a:spLocks noChangeArrowheads="1"/>
            </p:cNvSpPr>
            <p:nvPr/>
          </p:nvSpPr>
          <p:spPr bwMode="gray">
            <a:xfrm>
              <a:off x="1919791" y="2334838"/>
              <a:ext cx="6787357" cy="6138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defTabSz="895350">
                <a:defRPr sz="1600">
                  <a:solidFill>
                    <a:schemeClr val="tx1"/>
                  </a:solidFill>
                  <a:latin typeface="Arial" charset="0"/>
                </a:defRPr>
              </a:lvl1pPr>
              <a:lvl2pPr marL="193675" indent="-192088"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287337" lvl="1" indent="-285750" eaLnBrk="1" hangingPunct="1">
                <a:spcBef>
                  <a:spcPct val="20000"/>
                </a:spcBef>
                <a:buFont typeface="Arial" panose="020B0604020202020204" pitchFamily="34" charset="0"/>
                <a:buChar char="•"/>
              </a:pPr>
              <a:r>
                <a:rPr lang="fr-FR" sz="1372" dirty="0">
                  <a:latin typeface="Arial" panose="020B0604020202020204" pitchFamily="34" charset="0"/>
                  <a:cs typeface="Arial" panose="020B0604020202020204" pitchFamily="34" charset="0"/>
                </a:rPr>
                <a:t>Les actions doivent être claires et spécifiques. Ils doivent inclure toutes les informations requises pour que le propriétaire de l'action coordonne l'action et être précis sur ce qui est attendu, quand et à quel niveau.</a:t>
              </a:r>
            </a:p>
          </p:txBody>
        </p:sp>
        <p:grpSp>
          <p:nvGrpSpPr>
            <p:cNvPr id="80" name="Group 79">
              <a:extLst>
                <a:ext uri="{FF2B5EF4-FFF2-40B4-BE49-F238E27FC236}">
                  <a16:creationId xmlns:a16="http://schemas.microsoft.com/office/drawing/2014/main" id="{94161678-ED63-0840-AD6C-3F8E5934C694}"/>
                </a:ext>
              </a:extLst>
            </p:cNvPr>
            <p:cNvGrpSpPr>
              <a:grpSpLocks/>
            </p:cNvGrpSpPr>
            <p:nvPr>
              <p:custDataLst>
                <p:tags r:id="rId3"/>
              </p:custDataLst>
            </p:nvPr>
          </p:nvGrpSpPr>
          <p:grpSpPr bwMode="auto">
            <a:xfrm>
              <a:off x="392906" y="3240577"/>
              <a:ext cx="1439863" cy="584200"/>
              <a:chOff x="352" y="2071"/>
              <a:chExt cx="737" cy="335"/>
            </a:xfrm>
            <a:solidFill>
              <a:schemeClr val="accent1"/>
            </a:solidFill>
            <a:effectLst>
              <a:outerShdw blurRad="50800" dist="38100" dir="2700000" algn="tl" rotWithShape="0">
                <a:prstClr val="black">
                  <a:alpha val="40000"/>
                </a:prstClr>
              </a:outerShdw>
            </a:effectLst>
          </p:grpSpPr>
          <p:sp>
            <p:nvSpPr>
              <p:cNvPr id="81" name="Freeform 19">
                <a:extLst>
                  <a:ext uri="{FF2B5EF4-FFF2-40B4-BE49-F238E27FC236}">
                    <a16:creationId xmlns:a16="http://schemas.microsoft.com/office/drawing/2014/main" id="{CED94DF2-DDC2-FE4B-9AA9-E032A077A37D}"/>
                  </a:ext>
                </a:extLst>
              </p:cNvPr>
              <p:cNvSpPr>
                <a:spLocks/>
              </p:cNvSpPr>
              <p:nvPr>
                <p:custDataLst>
                  <p:tags r:id="rId10"/>
                </p:custDataLst>
              </p:nvPr>
            </p:nvSpPr>
            <p:spPr bwMode="gray">
              <a:xfrm>
                <a:off x="352" y="2071"/>
                <a:ext cx="737" cy="335"/>
              </a:xfrm>
              <a:custGeom>
                <a:avLst/>
                <a:gdLst>
                  <a:gd name="T0" fmla="*/ 0 w 737"/>
                  <a:gd name="T1" fmla="*/ 0 h 335"/>
                  <a:gd name="T2" fmla="*/ 814 w 737"/>
                  <a:gd name="T3" fmla="*/ 0 h 335"/>
                  <a:gd name="T4" fmla="*/ 878 w 737"/>
                  <a:gd name="T5" fmla="*/ 178 h 335"/>
                  <a:gd name="T6" fmla="*/ 814 w 737"/>
                  <a:gd name="T7" fmla="*/ 356 h 335"/>
                  <a:gd name="T8" fmla="*/ 0 w 737"/>
                  <a:gd name="T9" fmla="*/ 356 h 335"/>
                  <a:gd name="T10" fmla="*/ 0 w 737"/>
                  <a:gd name="T11" fmla="*/ 178 h 335"/>
                  <a:gd name="T12" fmla="*/ 0 w 737"/>
                  <a:gd name="T13" fmla="*/ 0 h 33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37" h="335">
                    <a:moveTo>
                      <a:pt x="0" y="0"/>
                    </a:moveTo>
                    <a:lnTo>
                      <a:pt x="677" y="0"/>
                    </a:lnTo>
                    <a:lnTo>
                      <a:pt x="737" y="168"/>
                    </a:lnTo>
                    <a:lnTo>
                      <a:pt x="677" y="335"/>
                    </a:lnTo>
                    <a:lnTo>
                      <a:pt x="0" y="335"/>
                    </a:lnTo>
                    <a:lnTo>
                      <a:pt x="0" y="168"/>
                    </a:lnTo>
                    <a:lnTo>
                      <a:pt x="0" y="0"/>
                    </a:lnTo>
                    <a:close/>
                  </a:path>
                </a:pathLst>
              </a:custGeom>
              <a:grpFill/>
              <a:ln w="12700" cap="flat"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a:latin typeface="Arial" panose="020B0604020202020204" pitchFamily="34" charset="0"/>
                  <a:cs typeface="Arial" panose="020B0604020202020204" pitchFamily="34" charset="0"/>
                </a:endParaRPr>
              </a:p>
            </p:txBody>
          </p:sp>
          <p:sp>
            <p:nvSpPr>
              <p:cNvPr id="82" name="Rectangle 20">
                <a:extLst>
                  <a:ext uri="{FF2B5EF4-FFF2-40B4-BE49-F238E27FC236}">
                    <a16:creationId xmlns:a16="http://schemas.microsoft.com/office/drawing/2014/main" id="{1DC6CE35-20EC-1444-8893-70E7234A0546}"/>
                  </a:ext>
                </a:extLst>
              </p:cNvPr>
              <p:cNvSpPr>
                <a:spLocks noChangeArrowheads="1"/>
              </p:cNvSpPr>
              <p:nvPr>
                <p:custDataLst>
                  <p:tags r:id="rId11"/>
                </p:custDataLst>
              </p:nvPr>
            </p:nvSpPr>
            <p:spPr bwMode="gray">
              <a:xfrm>
                <a:off x="384" y="2090"/>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a:buClr>
                    <a:srgbClr val="352A49"/>
                  </a:buClr>
                  <a:buSzPct val="80000"/>
                </a:pPr>
                <a:r>
                  <a:rPr lang="fr-FR" sz="1372" u="sng" dirty="0">
                    <a:latin typeface="Arial" panose="020B0604020202020204" pitchFamily="34" charset="0"/>
                    <a:cs typeface="Arial" panose="020B0604020202020204" pitchFamily="34" charset="0"/>
                  </a:rPr>
                  <a:t>A</a:t>
                </a:r>
                <a:r>
                  <a:rPr lang="fr-FR" sz="1372" dirty="0">
                    <a:latin typeface="Arial" panose="020B0604020202020204" pitchFamily="34" charset="0"/>
                    <a:cs typeface="Arial" panose="020B0604020202020204" pitchFamily="34" charset="0"/>
                  </a:rPr>
                  <a:t>ccessible et accepté</a:t>
                </a:r>
              </a:p>
            </p:txBody>
          </p:sp>
        </p:grpSp>
        <p:sp>
          <p:nvSpPr>
            <p:cNvPr id="83" name="Rectangle 21">
              <a:extLst>
                <a:ext uri="{FF2B5EF4-FFF2-40B4-BE49-F238E27FC236}">
                  <a16:creationId xmlns:a16="http://schemas.microsoft.com/office/drawing/2014/main" id="{868A94D3-96BC-C44A-981E-D35DD7EE5A12}"/>
                </a:ext>
              </a:extLst>
            </p:cNvPr>
            <p:cNvSpPr>
              <a:spLocks noChangeArrowheads="1"/>
            </p:cNvSpPr>
            <p:nvPr/>
          </p:nvSpPr>
          <p:spPr bwMode="gray">
            <a:xfrm>
              <a:off x="1919791" y="3390119"/>
              <a:ext cx="6672262" cy="4092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342900" indent="-342900" defTabSz="895350">
                <a:defRPr sz="1600">
                  <a:solidFill>
                    <a:schemeClr val="tx1"/>
                  </a:solidFill>
                  <a:latin typeface="Arial" charset="0"/>
                </a:defRPr>
              </a:lvl1pPr>
              <a:lvl2pPr marL="193675" indent="-192088"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287337" lvl="1" indent="-285750" eaLnBrk="1" hangingPunct="1">
                <a:spcBef>
                  <a:spcPct val="20000"/>
                </a:spcBef>
                <a:buFont typeface="Arial" panose="020B0604020202020204" pitchFamily="34" charset="0"/>
                <a:buChar char="•"/>
              </a:pPr>
              <a:r>
                <a:rPr lang="fr-FR" sz="1372" dirty="0">
                  <a:latin typeface="Arial" panose="020B0604020202020204" pitchFamily="34" charset="0"/>
                  <a:cs typeface="Arial" panose="020B0604020202020204" pitchFamily="34" charset="0"/>
                </a:rPr>
                <a:t>Les actions doivent être réalistes et réalisables par le propriétaire identifié qui doit avoir les moyens de les mettre en œuvre.</a:t>
              </a:r>
            </a:p>
          </p:txBody>
        </p:sp>
        <p:grpSp>
          <p:nvGrpSpPr>
            <p:cNvPr id="84" name="Group 19">
              <a:extLst>
                <a:ext uri="{FF2B5EF4-FFF2-40B4-BE49-F238E27FC236}">
                  <a16:creationId xmlns:a16="http://schemas.microsoft.com/office/drawing/2014/main" id="{44F93AD6-2DBA-5A42-B4D1-CEAE765AD5C9}"/>
                </a:ext>
              </a:extLst>
            </p:cNvPr>
            <p:cNvGrpSpPr>
              <a:grpSpLocks/>
            </p:cNvGrpSpPr>
            <p:nvPr>
              <p:custDataLst>
                <p:tags r:id="rId4"/>
              </p:custDataLst>
            </p:nvPr>
          </p:nvGrpSpPr>
          <p:grpSpPr bwMode="auto">
            <a:xfrm>
              <a:off x="392906" y="4121468"/>
              <a:ext cx="1439863" cy="584200"/>
              <a:chOff x="352" y="2702"/>
              <a:chExt cx="737" cy="335"/>
            </a:xfrm>
            <a:solidFill>
              <a:schemeClr val="accent1"/>
            </a:solidFill>
            <a:effectLst>
              <a:outerShdw blurRad="50800" dist="38100" dir="2700000" algn="tl" rotWithShape="0">
                <a:prstClr val="black">
                  <a:alpha val="40000"/>
                </a:prstClr>
              </a:outerShdw>
            </a:effectLst>
          </p:grpSpPr>
          <p:sp>
            <p:nvSpPr>
              <p:cNvPr id="85" name="Freeform 23">
                <a:extLst>
                  <a:ext uri="{FF2B5EF4-FFF2-40B4-BE49-F238E27FC236}">
                    <a16:creationId xmlns:a16="http://schemas.microsoft.com/office/drawing/2014/main" id="{2E474C64-86D4-DB4B-907A-8B8466205D40}"/>
                  </a:ext>
                </a:extLst>
              </p:cNvPr>
              <p:cNvSpPr>
                <a:spLocks/>
              </p:cNvSpPr>
              <p:nvPr>
                <p:custDataLst>
                  <p:tags r:id="rId8"/>
                </p:custDataLst>
              </p:nvPr>
            </p:nvSpPr>
            <p:spPr bwMode="gray">
              <a:xfrm>
                <a:off x="352" y="2702"/>
                <a:ext cx="737" cy="335"/>
              </a:xfrm>
              <a:custGeom>
                <a:avLst/>
                <a:gdLst>
                  <a:gd name="T0" fmla="*/ 0 w 737"/>
                  <a:gd name="T1" fmla="*/ 0 h 335"/>
                  <a:gd name="T2" fmla="*/ 814 w 737"/>
                  <a:gd name="T3" fmla="*/ 0 h 335"/>
                  <a:gd name="T4" fmla="*/ 878 w 737"/>
                  <a:gd name="T5" fmla="*/ 179 h 335"/>
                  <a:gd name="T6" fmla="*/ 814 w 737"/>
                  <a:gd name="T7" fmla="*/ 357 h 335"/>
                  <a:gd name="T8" fmla="*/ 0 w 737"/>
                  <a:gd name="T9" fmla="*/ 357 h 335"/>
                  <a:gd name="T10" fmla="*/ 0 w 737"/>
                  <a:gd name="T11" fmla="*/ 179 h 335"/>
                  <a:gd name="T12" fmla="*/ 0 w 737"/>
                  <a:gd name="T13" fmla="*/ 0 h 33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37" h="335">
                    <a:moveTo>
                      <a:pt x="0" y="0"/>
                    </a:moveTo>
                    <a:lnTo>
                      <a:pt x="677" y="0"/>
                    </a:lnTo>
                    <a:lnTo>
                      <a:pt x="737" y="168"/>
                    </a:lnTo>
                    <a:lnTo>
                      <a:pt x="677" y="335"/>
                    </a:lnTo>
                    <a:lnTo>
                      <a:pt x="0" y="335"/>
                    </a:lnTo>
                    <a:lnTo>
                      <a:pt x="0" y="168"/>
                    </a:lnTo>
                    <a:lnTo>
                      <a:pt x="0" y="0"/>
                    </a:lnTo>
                    <a:close/>
                  </a:path>
                </a:pathLst>
              </a:custGeom>
              <a:grpFill/>
              <a:ln w="12700" cap="flat"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a:latin typeface="Arial" panose="020B0604020202020204" pitchFamily="34" charset="0"/>
                  <a:cs typeface="Arial" panose="020B0604020202020204" pitchFamily="34" charset="0"/>
                </a:endParaRPr>
              </a:p>
            </p:txBody>
          </p:sp>
          <p:sp>
            <p:nvSpPr>
              <p:cNvPr id="86" name="Rectangle 24">
                <a:extLst>
                  <a:ext uri="{FF2B5EF4-FFF2-40B4-BE49-F238E27FC236}">
                    <a16:creationId xmlns:a16="http://schemas.microsoft.com/office/drawing/2014/main" id="{8AD29EDE-E47B-B244-A1D3-06111378AA55}"/>
                  </a:ext>
                </a:extLst>
              </p:cNvPr>
              <p:cNvSpPr>
                <a:spLocks noChangeArrowheads="1"/>
              </p:cNvSpPr>
              <p:nvPr>
                <p:custDataLst>
                  <p:tags r:id="rId9"/>
                </p:custDataLst>
              </p:nvPr>
            </p:nvSpPr>
            <p:spPr bwMode="gray">
              <a:xfrm>
                <a:off x="384" y="2721"/>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a:lnSpc>
                    <a:spcPct val="90000"/>
                  </a:lnSpc>
                  <a:buClr>
                    <a:srgbClr val="352A49"/>
                  </a:buClr>
                  <a:buSzPct val="80000"/>
                </a:pPr>
                <a:r>
                  <a:rPr lang="fr-FR" sz="1372" dirty="0">
                    <a:latin typeface="Arial" panose="020B0604020202020204" pitchFamily="34" charset="0"/>
                    <a:cs typeface="Arial" panose="020B0604020202020204" pitchFamily="34" charset="0"/>
                  </a:rPr>
                  <a:t>Axé sur les </a:t>
                </a:r>
                <a:r>
                  <a:rPr lang="fr-FR" sz="1372" u="sng" dirty="0">
                    <a:latin typeface="Arial" panose="020B0604020202020204" pitchFamily="34" charset="0"/>
                    <a:cs typeface="Arial" panose="020B0604020202020204" pitchFamily="34" charset="0"/>
                  </a:rPr>
                  <a:t>r</a:t>
                </a:r>
                <a:r>
                  <a:rPr lang="fr-FR" sz="1372" dirty="0">
                    <a:latin typeface="Arial" panose="020B0604020202020204" pitchFamily="34" charset="0"/>
                    <a:cs typeface="Arial" panose="020B0604020202020204" pitchFamily="34" charset="0"/>
                  </a:rPr>
                  <a:t>ésultats</a:t>
                </a:r>
              </a:p>
            </p:txBody>
          </p:sp>
        </p:grpSp>
        <p:sp>
          <p:nvSpPr>
            <p:cNvPr id="87" name="Rectangle 25">
              <a:extLst>
                <a:ext uri="{FF2B5EF4-FFF2-40B4-BE49-F238E27FC236}">
                  <a16:creationId xmlns:a16="http://schemas.microsoft.com/office/drawing/2014/main" id="{609222FF-8700-6348-9A9E-C6D219DC53EB}"/>
                </a:ext>
              </a:extLst>
            </p:cNvPr>
            <p:cNvSpPr>
              <a:spLocks noChangeArrowheads="1"/>
            </p:cNvSpPr>
            <p:nvPr/>
          </p:nvSpPr>
          <p:spPr bwMode="gray">
            <a:xfrm>
              <a:off x="1919791" y="4121468"/>
              <a:ext cx="6672262" cy="4092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342900" indent="-342900" defTabSz="895350">
                <a:defRPr sz="1600">
                  <a:solidFill>
                    <a:schemeClr val="tx1"/>
                  </a:solidFill>
                  <a:latin typeface="Arial" charset="0"/>
                </a:defRPr>
              </a:lvl1pPr>
              <a:lvl2pPr marL="193675" indent="-192088"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287337" lvl="1" indent="-285750" eaLnBrk="1" hangingPunct="1">
                <a:spcBef>
                  <a:spcPct val="20000"/>
                </a:spcBef>
                <a:buFont typeface="Arial" panose="020B0604020202020204" pitchFamily="34" charset="0"/>
                <a:buChar char="•"/>
              </a:pPr>
              <a:r>
                <a:rPr lang="fr-FR" sz="1372" dirty="0">
                  <a:latin typeface="Arial" panose="020B0604020202020204" pitchFamily="34" charset="0"/>
                  <a:cs typeface="Arial" panose="020B0604020202020204" pitchFamily="34" charset="0"/>
                </a:rPr>
                <a:t>L'action doit s'attaquer à la cause première du problème d'une manière qui se traduira par une amélioration de la performance de l'indicateur.</a:t>
              </a:r>
            </a:p>
          </p:txBody>
        </p:sp>
        <p:grpSp>
          <p:nvGrpSpPr>
            <p:cNvPr id="88" name="Group 22">
              <a:extLst>
                <a:ext uri="{FF2B5EF4-FFF2-40B4-BE49-F238E27FC236}">
                  <a16:creationId xmlns:a16="http://schemas.microsoft.com/office/drawing/2014/main" id="{2225BD80-9F35-8F4F-A840-DFBB7B1EED57}"/>
                </a:ext>
              </a:extLst>
            </p:cNvPr>
            <p:cNvGrpSpPr>
              <a:grpSpLocks/>
            </p:cNvGrpSpPr>
            <p:nvPr>
              <p:custDataLst>
                <p:tags r:id="rId5"/>
              </p:custDataLst>
            </p:nvPr>
          </p:nvGrpSpPr>
          <p:grpSpPr bwMode="auto">
            <a:xfrm>
              <a:off x="392906" y="1477206"/>
              <a:ext cx="1439863" cy="584200"/>
              <a:chOff x="352" y="975"/>
              <a:chExt cx="737" cy="335"/>
            </a:xfrm>
            <a:solidFill>
              <a:schemeClr val="accent1"/>
            </a:solidFill>
            <a:effectLst>
              <a:outerShdw blurRad="50800" dist="38100" dir="2700000" algn="tl" rotWithShape="0">
                <a:prstClr val="black">
                  <a:alpha val="40000"/>
                </a:prstClr>
              </a:outerShdw>
            </a:effectLst>
          </p:grpSpPr>
          <p:sp>
            <p:nvSpPr>
              <p:cNvPr id="89" name="Freeform 27">
                <a:extLst>
                  <a:ext uri="{FF2B5EF4-FFF2-40B4-BE49-F238E27FC236}">
                    <a16:creationId xmlns:a16="http://schemas.microsoft.com/office/drawing/2014/main" id="{1AB92D35-608C-434F-ABF3-BA93F5B70FEA}"/>
                  </a:ext>
                </a:extLst>
              </p:cNvPr>
              <p:cNvSpPr>
                <a:spLocks/>
              </p:cNvSpPr>
              <p:nvPr>
                <p:custDataLst>
                  <p:tags r:id="rId6"/>
                </p:custDataLst>
              </p:nvPr>
            </p:nvSpPr>
            <p:spPr bwMode="gray">
              <a:xfrm>
                <a:off x="352" y="975"/>
                <a:ext cx="737" cy="335"/>
              </a:xfrm>
              <a:custGeom>
                <a:avLst/>
                <a:gdLst>
                  <a:gd name="T0" fmla="*/ 0 w 737"/>
                  <a:gd name="T1" fmla="*/ 0 h 335"/>
                  <a:gd name="T2" fmla="*/ 814 w 737"/>
                  <a:gd name="T3" fmla="*/ 0 h 335"/>
                  <a:gd name="T4" fmla="*/ 878 w 737"/>
                  <a:gd name="T5" fmla="*/ 179 h 335"/>
                  <a:gd name="T6" fmla="*/ 814 w 737"/>
                  <a:gd name="T7" fmla="*/ 357 h 335"/>
                  <a:gd name="T8" fmla="*/ 0 w 737"/>
                  <a:gd name="T9" fmla="*/ 357 h 335"/>
                  <a:gd name="T10" fmla="*/ 0 w 737"/>
                  <a:gd name="T11" fmla="*/ 179 h 335"/>
                  <a:gd name="T12" fmla="*/ 0 w 737"/>
                  <a:gd name="T13" fmla="*/ 0 h 33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37" h="335">
                    <a:moveTo>
                      <a:pt x="0" y="0"/>
                    </a:moveTo>
                    <a:lnTo>
                      <a:pt x="677" y="0"/>
                    </a:lnTo>
                    <a:lnTo>
                      <a:pt x="737" y="168"/>
                    </a:lnTo>
                    <a:lnTo>
                      <a:pt x="677" y="335"/>
                    </a:lnTo>
                    <a:lnTo>
                      <a:pt x="0" y="335"/>
                    </a:lnTo>
                    <a:lnTo>
                      <a:pt x="0" y="168"/>
                    </a:lnTo>
                    <a:lnTo>
                      <a:pt x="0" y="0"/>
                    </a:lnTo>
                    <a:close/>
                  </a:path>
                </a:pathLst>
              </a:custGeom>
              <a:grpFill/>
              <a:ln w="12700" cap="flat"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a:latin typeface="Arial" panose="020B0604020202020204" pitchFamily="34" charset="0"/>
                  <a:cs typeface="Arial" panose="020B0604020202020204" pitchFamily="34" charset="0"/>
                </a:endParaRPr>
              </a:p>
            </p:txBody>
          </p:sp>
          <p:sp>
            <p:nvSpPr>
              <p:cNvPr id="90" name="Rectangle 28">
                <a:extLst>
                  <a:ext uri="{FF2B5EF4-FFF2-40B4-BE49-F238E27FC236}">
                    <a16:creationId xmlns:a16="http://schemas.microsoft.com/office/drawing/2014/main" id="{35D29CFE-48CC-094A-9689-D62FC3198D72}"/>
                  </a:ext>
                </a:extLst>
              </p:cNvPr>
              <p:cNvSpPr>
                <a:spLocks noChangeArrowheads="1"/>
              </p:cNvSpPr>
              <p:nvPr>
                <p:custDataLst>
                  <p:tags r:id="rId7"/>
                </p:custDataLst>
              </p:nvPr>
            </p:nvSpPr>
            <p:spPr bwMode="gray">
              <a:xfrm>
                <a:off x="384" y="994"/>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a:buClr>
                    <a:srgbClr val="352A49"/>
                  </a:buClr>
                  <a:buSzPct val="80000"/>
                </a:pPr>
                <a:r>
                  <a:rPr lang="fr-FR" sz="1372" u="sng" dirty="0">
                    <a:latin typeface="Arial" panose="020B0604020202020204" pitchFamily="34" charset="0"/>
                    <a:cs typeface="Arial" panose="020B0604020202020204" pitchFamily="34" charset="0"/>
                  </a:rPr>
                  <a:t>S</a:t>
                </a:r>
                <a:r>
                  <a:rPr lang="fr-FR" sz="1372" dirty="0">
                    <a:latin typeface="Arial" panose="020B0604020202020204" pitchFamily="34" charset="0"/>
                    <a:cs typeface="Arial" panose="020B0604020202020204" pitchFamily="34" charset="0"/>
                  </a:rPr>
                  <a:t>imple et spécifique</a:t>
                </a:r>
              </a:p>
            </p:txBody>
          </p:sp>
        </p:grpSp>
        <p:sp>
          <p:nvSpPr>
            <p:cNvPr id="91" name="Rectangle 29">
              <a:extLst>
                <a:ext uri="{FF2B5EF4-FFF2-40B4-BE49-F238E27FC236}">
                  <a16:creationId xmlns:a16="http://schemas.microsoft.com/office/drawing/2014/main" id="{6CD5F41B-303C-ED48-A893-1E9AC334DD84}"/>
                </a:ext>
              </a:extLst>
            </p:cNvPr>
            <p:cNvSpPr>
              <a:spLocks noChangeArrowheads="1"/>
            </p:cNvSpPr>
            <p:nvPr/>
          </p:nvSpPr>
          <p:spPr bwMode="gray">
            <a:xfrm>
              <a:off x="1919791" y="1499021"/>
              <a:ext cx="6672262" cy="6138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342900" indent="-342900" defTabSz="895350">
                <a:defRPr sz="1600">
                  <a:solidFill>
                    <a:schemeClr val="tx1"/>
                  </a:solidFill>
                  <a:latin typeface="Arial" charset="0"/>
                </a:defRPr>
              </a:lvl1pPr>
              <a:lvl2pPr marL="193675" indent="-192088"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287337" lvl="1" indent="-285750" eaLnBrk="1" hangingPunct="1">
                <a:spcBef>
                  <a:spcPct val="20000"/>
                </a:spcBef>
                <a:buFont typeface="Arial" panose="020B0604020202020204" pitchFamily="34" charset="0"/>
                <a:buChar char="•"/>
              </a:pPr>
              <a:r>
                <a:rPr lang="fr-FR" sz="1372" dirty="0">
                  <a:latin typeface="Arial" panose="020B0604020202020204" pitchFamily="34" charset="0"/>
                  <a:cs typeface="Arial" panose="020B0604020202020204" pitchFamily="34" charset="0"/>
                </a:rPr>
                <a:t>Les actions doivent être claires et spécifiques. Ils doivent inclure toutes les informations requises pour que le propriétaire de l'action coordonne l'action et être précis sur ce qui est attendu, quand et à quel niveau.</a:t>
              </a:r>
            </a:p>
          </p:txBody>
        </p:sp>
        <p:sp>
          <p:nvSpPr>
            <p:cNvPr id="92" name="Line 30">
              <a:extLst>
                <a:ext uri="{FF2B5EF4-FFF2-40B4-BE49-F238E27FC236}">
                  <a16:creationId xmlns:a16="http://schemas.microsoft.com/office/drawing/2014/main" id="{8A1AD301-EB89-E047-8406-0ED23DCE9540}"/>
                </a:ext>
              </a:extLst>
            </p:cNvPr>
            <p:cNvSpPr>
              <a:spLocks noChangeShapeType="1"/>
            </p:cNvSpPr>
            <p:nvPr/>
          </p:nvSpPr>
          <p:spPr bwMode="gray">
            <a:xfrm>
              <a:off x="1896269" y="2283112"/>
              <a:ext cx="6672263" cy="3175"/>
            </a:xfrm>
            <a:prstGeom prst="line">
              <a:avLst/>
            </a:prstGeom>
            <a:noFill/>
            <a:ln w="12700">
              <a:solidFill>
                <a:srgbClr val="80808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en-US" sz="1372">
                <a:latin typeface="Arial" panose="020B0604020202020204" pitchFamily="34" charset="0"/>
                <a:cs typeface="Arial" panose="020B0604020202020204" pitchFamily="34" charset="0"/>
              </a:endParaRPr>
            </a:p>
          </p:txBody>
        </p:sp>
        <p:sp>
          <p:nvSpPr>
            <p:cNvPr id="93" name="Line 31">
              <a:extLst>
                <a:ext uri="{FF2B5EF4-FFF2-40B4-BE49-F238E27FC236}">
                  <a16:creationId xmlns:a16="http://schemas.microsoft.com/office/drawing/2014/main" id="{DF62F8C2-7031-6A42-90A8-7519FF5679E1}"/>
                </a:ext>
              </a:extLst>
            </p:cNvPr>
            <p:cNvSpPr>
              <a:spLocks noChangeShapeType="1"/>
            </p:cNvSpPr>
            <p:nvPr/>
          </p:nvSpPr>
          <p:spPr bwMode="gray">
            <a:xfrm>
              <a:off x="1896269" y="3165591"/>
              <a:ext cx="6672263" cy="1588"/>
            </a:xfrm>
            <a:prstGeom prst="line">
              <a:avLst/>
            </a:prstGeom>
            <a:noFill/>
            <a:ln w="12700">
              <a:solidFill>
                <a:srgbClr val="80808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en-US" sz="1372">
                <a:latin typeface="Arial" panose="020B0604020202020204" pitchFamily="34" charset="0"/>
                <a:cs typeface="Arial" panose="020B0604020202020204" pitchFamily="34" charset="0"/>
              </a:endParaRPr>
            </a:p>
          </p:txBody>
        </p:sp>
        <p:sp>
          <p:nvSpPr>
            <p:cNvPr id="94" name="Line 32">
              <a:extLst>
                <a:ext uri="{FF2B5EF4-FFF2-40B4-BE49-F238E27FC236}">
                  <a16:creationId xmlns:a16="http://schemas.microsoft.com/office/drawing/2014/main" id="{EEB25CA4-9C91-E849-9E6E-FB3BCEB6B3E9}"/>
                </a:ext>
              </a:extLst>
            </p:cNvPr>
            <p:cNvSpPr>
              <a:spLocks noChangeShapeType="1"/>
            </p:cNvSpPr>
            <p:nvPr/>
          </p:nvSpPr>
          <p:spPr bwMode="gray">
            <a:xfrm>
              <a:off x="1896269" y="4046483"/>
              <a:ext cx="6672263" cy="1588"/>
            </a:xfrm>
            <a:prstGeom prst="line">
              <a:avLst/>
            </a:prstGeom>
            <a:noFill/>
            <a:ln w="12700">
              <a:solidFill>
                <a:srgbClr val="80808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en-US" sz="1372">
                <a:latin typeface="Arial" panose="020B0604020202020204" pitchFamily="34" charset="0"/>
                <a:cs typeface="Arial" panose="020B0604020202020204" pitchFamily="34" charset="0"/>
              </a:endParaRPr>
            </a:p>
          </p:txBody>
        </p:sp>
        <p:sp>
          <p:nvSpPr>
            <p:cNvPr id="95" name="Line 33">
              <a:extLst>
                <a:ext uri="{FF2B5EF4-FFF2-40B4-BE49-F238E27FC236}">
                  <a16:creationId xmlns:a16="http://schemas.microsoft.com/office/drawing/2014/main" id="{F6BAD5A8-D32C-9B41-A9B0-481275B22D4D}"/>
                </a:ext>
              </a:extLst>
            </p:cNvPr>
            <p:cNvSpPr>
              <a:spLocks noChangeShapeType="1"/>
            </p:cNvSpPr>
            <p:nvPr/>
          </p:nvSpPr>
          <p:spPr bwMode="gray">
            <a:xfrm>
              <a:off x="1896269" y="4927373"/>
              <a:ext cx="6672263" cy="1587"/>
            </a:xfrm>
            <a:prstGeom prst="line">
              <a:avLst/>
            </a:prstGeom>
            <a:noFill/>
            <a:ln w="12700">
              <a:solidFill>
                <a:srgbClr val="80808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en-US" sz="1372">
                <a:latin typeface="Arial" panose="020B0604020202020204" pitchFamily="34" charset="0"/>
                <a:cs typeface="Arial" panose="020B0604020202020204" pitchFamily="34" charset="0"/>
              </a:endParaRPr>
            </a:p>
          </p:txBody>
        </p:sp>
        <p:sp>
          <p:nvSpPr>
            <p:cNvPr id="96" name="Line 36">
              <a:extLst>
                <a:ext uri="{FF2B5EF4-FFF2-40B4-BE49-F238E27FC236}">
                  <a16:creationId xmlns:a16="http://schemas.microsoft.com/office/drawing/2014/main" id="{ACF6B76F-4027-DD41-A5E2-E12FB56CA80E}"/>
                </a:ext>
              </a:extLst>
            </p:cNvPr>
            <p:cNvSpPr>
              <a:spLocks noChangeShapeType="1"/>
            </p:cNvSpPr>
            <p:nvPr/>
          </p:nvSpPr>
          <p:spPr bwMode="gray">
            <a:xfrm>
              <a:off x="1896269" y="1393068"/>
              <a:ext cx="667226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2">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71276898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idx="4294967295"/>
          </p:nvPr>
        </p:nvSpPr>
        <p:spPr>
          <a:xfrm>
            <a:off x="447278" y="128242"/>
            <a:ext cx="8066088" cy="1107996"/>
          </a:xfrm>
        </p:spPr>
        <p:txBody>
          <a:bodyPr vert="horz" wrap="square" lIns="0" tIns="0" rIns="0" bIns="0" numCol="1" anchor="t" anchorCtr="0" compatLnSpc="1">
            <a:prstTxWarp prst="textNoShape">
              <a:avLst/>
            </a:prstTxWarp>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sz="2400" dirty="0"/>
              <a:t>Une fois qu'un problème a été identifié et que vous en comprenez la cause, générez des éléments d'action spécifiques pour résoudre le problème</a:t>
            </a:r>
            <a:endParaRPr lang="en-GB" sz="2400" dirty="0"/>
          </a:p>
        </p:txBody>
      </p:sp>
      <p:graphicFrame>
        <p:nvGraphicFramePr>
          <p:cNvPr id="40" name="Table 39">
            <a:extLst>
              <a:ext uri="{FF2B5EF4-FFF2-40B4-BE49-F238E27FC236}">
                <a16:creationId xmlns:a16="http://schemas.microsoft.com/office/drawing/2014/main" id="{CEB71251-A04A-A644-A98B-DEB57EBA3B0F}"/>
              </a:ext>
            </a:extLst>
          </p:cNvPr>
          <p:cNvGraphicFramePr>
            <a:graphicFrameLocks noGrp="1"/>
          </p:cNvGraphicFramePr>
          <p:nvPr>
            <p:extLst>
              <p:ext uri="{D42A27DB-BD31-4B8C-83A1-F6EECF244321}">
                <p14:modId xmlns:p14="http://schemas.microsoft.com/office/powerpoint/2010/main" val="2712105356"/>
              </p:ext>
            </p:extLst>
          </p:nvPr>
        </p:nvGraphicFramePr>
        <p:xfrm>
          <a:off x="53789" y="1420904"/>
          <a:ext cx="8907649" cy="4902260"/>
        </p:xfrm>
        <a:graphic>
          <a:graphicData uri="http://schemas.openxmlformats.org/drawingml/2006/table">
            <a:tbl>
              <a:tblPr firstRow="1" firstCol="1" bandRow="1">
                <a:tableStyleId>{C083E6E3-FA7D-4D7B-A595-EF9225AFEA82}</a:tableStyleId>
              </a:tblPr>
              <a:tblGrid>
                <a:gridCol w="2630621">
                  <a:extLst>
                    <a:ext uri="{9D8B030D-6E8A-4147-A177-3AD203B41FA5}">
                      <a16:colId xmlns:a16="http://schemas.microsoft.com/office/drawing/2014/main" val="1626781027"/>
                    </a:ext>
                  </a:extLst>
                </a:gridCol>
                <a:gridCol w="3823966">
                  <a:extLst>
                    <a:ext uri="{9D8B030D-6E8A-4147-A177-3AD203B41FA5}">
                      <a16:colId xmlns:a16="http://schemas.microsoft.com/office/drawing/2014/main" val="3864351043"/>
                    </a:ext>
                  </a:extLst>
                </a:gridCol>
                <a:gridCol w="2453062">
                  <a:extLst>
                    <a:ext uri="{9D8B030D-6E8A-4147-A177-3AD203B41FA5}">
                      <a16:colId xmlns:a16="http://schemas.microsoft.com/office/drawing/2014/main" val="893572735"/>
                    </a:ext>
                  </a:extLst>
                </a:gridCol>
              </a:tblGrid>
              <a:tr h="336113">
                <a:tc>
                  <a:txBody>
                    <a:bodyPr/>
                    <a:lstStyle/>
                    <a:p>
                      <a:endParaRPr lang="en-US" sz="1400" dirty="0">
                        <a:solidFill>
                          <a:schemeClr val="tx2"/>
                        </a:solidFill>
                        <a:latin typeface="Arial" panose="020B0604020202020204" pitchFamily="34" charset="0"/>
                        <a:cs typeface="Arial" panose="020B0604020202020204" pitchFamily="34" charset="0"/>
                      </a:endParaRPr>
                    </a:p>
                  </a:txBody>
                  <a:tcPr marL="89614" marR="89614" marT="63506" marB="63506">
                    <a:lnR w="12700" cap="flat" cmpd="sng" algn="ctr">
                      <a:solidFill>
                        <a:schemeClr val="accent3"/>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tcPr>
                </a:tc>
                <a:tc>
                  <a:txBody>
                    <a:bodyPr/>
                    <a:lstStyle/>
                    <a:p>
                      <a:r>
                        <a:rPr lang="en-US" sz="1400" dirty="0">
                          <a:solidFill>
                            <a:schemeClr val="tx2"/>
                          </a:solidFill>
                          <a:latin typeface="Arial" panose="020B0604020202020204" pitchFamily="34" charset="0"/>
                          <a:cs typeface="Arial" panose="020B0604020202020204" pitchFamily="34" charset="0"/>
                        </a:rPr>
                        <a:t>Bon </a:t>
                      </a:r>
                      <a:r>
                        <a:rPr lang="en-US" sz="1400" dirty="0" err="1">
                          <a:solidFill>
                            <a:schemeClr val="tx2"/>
                          </a:solidFill>
                          <a:latin typeface="Arial" panose="020B0604020202020204" pitchFamily="34" charset="0"/>
                          <a:cs typeface="Arial" panose="020B0604020202020204" pitchFamily="34" charset="0"/>
                        </a:rPr>
                        <a:t>exemple</a:t>
                      </a:r>
                      <a:endParaRPr lang="en-US" sz="1400" dirty="0">
                        <a:solidFill>
                          <a:schemeClr val="tx2"/>
                        </a:solidFill>
                        <a:latin typeface="Arial" panose="020B0604020202020204" pitchFamily="34" charset="0"/>
                        <a:cs typeface="Arial" panose="020B0604020202020204" pitchFamily="34" charset="0"/>
                      </a:endParaRPr>
                    </a:p>
                  </a:txBody>
                  <a:tcPr marL="89614" marR="89614" marT="63506" marB="63506">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92D050"/>
                    </a:solidFill>
                  </a:tcPr>
                </a:tc>
                <a:tc>
                  <a:txBody>
                    <a:bodyPr/>
                    <a:lstStyle/>
                    <a:p>
                      <a:r>
                        <a:rPr lang="en-US" sz="1400" dirty="0" err="1">
                          <a:solidFill>
                            <a:schemeClr val="tx2"/>
                          </a:solidFill>
                          <a:latin typeface="Arial" panose="020B0604020202020204" pitchFamily="34" charset="0"/>
                          <a:cs typeface="Arial" panose="020B0604020202020204" pitchFamily="34" charset="0"/>
                        </a:rPr>
                        <a:t>Mauvais</a:t>
                      </a:r>
                      <a:r>
                        <a:rPr lang="en-US" sz="1400" dirty="0">
                          <a:solidFill>
                            <a:schemeClr val="tx2"/>
                          </a:solidFill>
                          <a:latin typeface="Arial" panose="020B0604020202020204" pitchFamily="34" charset="0"/>
                          <a:cs typeface="Arial" panose="020B0604020202020204" pitchFamily="34" charset="0"/>
                        </a:rPr>
                        <a:t> </a:t>
                      </a:r>
                      <a:r>
                        <a:rPr lang="en-US" sz="1400" dirty="0" err="1">
                          <a:solidFill>
                            <a:schemeClr val="tx2"/>
                          </a:solidFill>
                          <a:latin typeface="Arial" panose="020B0604020202020204" pitchFamily="34" charset="0"/>
                          <a:cs typeface="Arial" panose="020B0604020202020204" pitchFamily="34" charset="0"/>
                        </a:rPr>
                        <a:t>exemple</a:t>
                      </a:r>
                      <a:endParaRPr lang="en-US" sz="1400" dirty="0">
                        <a:solidFill>
                          <a:schemeClr val="tx2"/>
                        </a:solidFill>
                        <a:latin typeface="Arial" panose="020B0604020202020204" pitchFamily="34" charset="0"/>
                        <a:cs typeface="Arial" panose="020B0604020202020204" pitchFamily="34" charset="0"/>
                      </a:endParaRPr>
                    </a:p>
                  </a:txBody>
                  <a:tcPr marL="89614" marR="89614" marT="63506" marB="63506">
                    <a:lnL w="12700" cap="flat" cmpd="sng" algn="ctr">
                      <a:solidFill>
                        <a:schemeClr val="accent3"/>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458275634"/>
                  </a:ext>
                </a:extLst>
              </a:tr>
              <a:tr h="963413">
                <a:tc>
                  <a:txBody>
                    <a:bodyPr/>
                    <a:lstStyle/>
                    <a:p>
                      <a:r>
                        <a:rPr lang="fr-FR" sz="1400" b="1" dirty="0">
                          <a:solidFill>
                            <a:schemeClr val="tx2"/>
                          </a:solidFill>
                          <a:latin typeface="Arial" panose="020B0604020202020204" pitchFamily="34" charset="0"/>
                          <a:cs typeface="Arial" panose="020B0604020202020204" pitchFamily="34" charset="0"/>
                        </a:rPr>
                        <a:t>Les actions sont spécifiques : qui, quoi, quand, où</a:t>
                      </a:r>
                      <a:endParaRPr lang="en-US" sz="1400" b="1" dirty="0">
                        <a:solidFill>
                          <a:schemeClr val="tx2"/>
                        </a:solidFill>
                        <a:latin typeface="Arial" panose="020B0604020202020204" pitchFamily="34" charset="0"/>
                        <a:cs typeface="Arial" panose="020B0604020202020204" pitchFamily="34" charset="0"/>
                      </a:endParaRP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r>
                        <a:rPr lang="fr-FR" sz="1400" dirty="0">
                          <a:solidFill>
                            <a:schemeClr val="tx2"/>
                          </a:solidFill>
                          <a:latin typeface="Arial" panose="020B0604020202020204" pitchFamily="34" charset="0"/>
                          <a:cs typeface="Arial" panose="020B0604020202020204" pitchFamily="34" charset="0"/>
                        </a:rPr>
                        <a:t>Le coordinateur national de S&amp;E devrait installer 3 nouveaux ordinateurs avec le logiciel DHIS2 dans chaque bureau régional de santé d'ici décembre 2021.</a:t>
                      </a:r>
                      <a:endParaRPr lang="en-US" sz="1400" dirty="0">
                        <a:solidFill>
                          <a:schemeClr val="tx2"/>
                        </a:solidFill>
                        <a:latin typeface="Arial" panose="020B0604020202020204" pitchFamily="34" charset="0"/>
                        <a:cs typeface="Arial" panose="020B0604020202020204" pitchFamily="34" charset="0"/>
                      </a:endParaRP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fr-FR" sz="1400" dirty="0">
                          <a:solidFill>
                            <a:schemeClr val="tx2"/>
                          </a:solidFill>
                          <a:latin typeface="Arial" panose="020B0604020202020204" pitchFamily="34" charset="0"/>
                          <a:cs typeface="Arial" panose="020B0604020202020204" pitchFamily="34" charset="0"/>
                        </a:rPr>
                        <a:t>Améliorer la qualité des données</a:t>
                      </a:r>
                      <a:endParaRPr lang="en-US" sz="1400" dirty="0">
                        <a:solidFill>
                          <a:schemeClr val="tx2"/>
                        </a:solidFill>
                        <a:latin typeface="Arial" panose="020B0604020202020204" pitchFamily="34" charset="0"/>
                        <a:cs typeface="Arial" panose="020B0604020202020204" pitchFamily="34" charset="0"/>
                      </a:endParaRP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63787484"/>
                  </a:ext>
                </a:extLst>
              </a:tr>
              <a:tr h="1172514">
                <a:tc>
                  <a:txBody>
                    <a:bodyPr/>
                    <a:lstStyle/>
                    <a:p>
                      <a:r>
                        <a:rPr lang="fr-FR" sz="1400" b="1" dirty="0">
                          <a:solidFill>
                            <a:schemeClr val="tx2"/>
                          </a:solidFill>
                          <a:latin typeface="Arial" panose="020B0604020202020204" pitchFamily="34" charset="0"/>
                          <a:cs typeface="Arial" panose="020B0604020202020204" pitchFamily="34" charset="0"/>
                        </a:rPr>
                        <a:t>Devrait décrire le processus de « comment » pour atteindre l'objectif final. Ne devrait pas être l'objectif final. </a:t>
                      </a:r>
                      <a:endParaRPr lang="en-US" sz="1400" b="1" dirty="0">
                        <a:solidFill>
                          <a:schemeClr val="tx2"/>
                        </a:solidFill>
                        <a:latin typeface="Arial" panose="020B0604020202020204" pitchFamily="34" charset="0"/>
                        <a:cs typeface="Arial" panose="020B0604020202020204" pitchFamily="34" charset="0"/>
                      </a:endParaRP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r>
                        <a:rPr lang="fr-FR" sz="1400" dirty="0">
                          <a:solidFill>
                            <a:schemeClr val="tx2"/>
                          </a:solidFill>
                          <a:latin typeface="Arial" panose="020B0604020202020204" pitchFamily="34" charset="0"/>
                          <a:cs typeface="Arial" panose="020B0604020202020204" pitchFamily="34" charset="0"/>
                        </a:rPr>
                        <a:t>Le responsable du programme du PNLP écrira une lettre au bureau de pays du Fonds mondial pour demander des fonds d'urgence pour 50 000 MILD pour les régions A, B, C.</a:t>
                      </a:r>
                      <a:endParaRPr lang="en-US" sz="1400" dirty="0">
                        <a:solidFill>
                          <a:schemeClr val="tx2"/>
                        </a:solidFill>
                        <a:latin typeface="Arial" panose="020B0604020202020204" pitchFamily="34" charset="0"/>
                        <a:cs typeface="Arial" panose="020B0604020202020204" pitchFamily="34" charset="0"/>
                      </a:endParaRP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fr-FR" sz="1400" dirty="0">
                          <a:solidFill>
                            <a:schemeClr val="tx2"/>
                          </a:solidFill>
                          <a:latin typeface="Arial" panose="020B0604020202020204" pitchFamily="34" charset="0"/>
                          <a:cs typeface="Arial" panose="020B0604020202020204" pitchFamily="34" charset="0"/>
                        </a:rPr>
                        <a:t>Acheter 50 000 MILD pour augmenter la couverture de 12 % à 80 %.</a:t>
                      </a:r>
                      <a:endParaRPr lang="en-US" sz="1400" dirty="0">
                        <a:solidFill>
                          <a:schemeClr val="tx2"/>
                        </a:solidFill>
                        <a:latin typeface="Arial" panose="020B0604020202020204" pitchFamily="34" charset="0"/>
                        <a:cs typeface="Arial" panose="020B0604020202020204" pitchFamily="34" charset="0"/>
                      </a:endParaRP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42353510"/>
                  </a:ext>
                </a:extLst>
              </a:tr>
              <a:tr h="1172514">
                <a:tc>
                  <a:txBody>
                    <a:bodyPr/>
                    <a:lstStyle/>
                    <a:p>
                      <a:r>
                        <a:rPr lang="fr-FR" sz="1400" b="1" dirty="0">
                          <a:solidFill>
                            <a:schemeClr val="tx2"/>
                          </a:solidFill>
                          <a:latin typeface="Arial" panose="020B0604020202020204" pitchFamily="34" charset="0"/>
                          <a:cs typeface="Arial" panose="020B0604020202020204" pitchFamily="34" charset="0"/>
                        </a:rPr>
                        <a:t>Il est clair qui est responsable de l'action et la personne doit être en mesure de mettre en œuvre</a:t>
                      </a:r>
                      <a:endParaRPr lang="en-US" sz="1400" b="1" dirty="0">
                        <a:solidFill>
                          <a:schemeClr val="tx2"/>
                        </a:solidFill>
                        <a:latin typeface="Arial" panose="020B0604020202020204" pitchFamily="34" charset="0"/>
                        <a:cs typeface="Arial" panose="020B0604020202020204" pitchFamily="34" charset="0"/>
                      </a:endParaRP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r>
                        <a:rPr lang="fr-FR" sz="1400" dirty="0">
                          <a:solidFill>
                            <a:schemeClr val="tx2"/>
                          </a:solidFill>
                          <a:latin typeface="Arial" panose="020B0604020202020204" pitchFamily="34" charset="0"/>
                          <a:cs typeface="Arial" panose="020B0604020202020204" pitchFamily="34" charset="0"/>
                        </a:rPr>
                        <a:t>Le directeur de la santé maternelle et néonatale établira un forum mensuel pour engager les partenaires, mobiliser des fonds et améliorer l'allocation des fonds à la SRMNIA</a:t>
                      </a:r>
                      <a:endParaRPr lang="en-US" sz="1400" dirty="0">
                        <a:solidFill>
                          <a:schemeClr val="tx2"/>
                        </a:solidFill>
                        <a:latin typeface="Arial" panose="020B0604020202020204" pitchFamily="34" charset="0"/>
                        <a:cs typeface="Arial" panose="020B0604020202020204" pitchFamily="34" charset="0"/>
                      </a:endParaRP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fr-FR" sz="1400" dirty="0">
                          <a:solidFill>
                            <a:schemeClr val="tx2"/>
                          </a:solidFill>
                          <a:latin typeface="Arial" panose="020B0604020202020204" pitchFamily="34" charset="0"/>
                          <a:cs typeface="Arial" panose="020B0604020202020204" pitchFamily="34" charset="0"/>
                        </a:rPr>
                        <a:t>Augmenter la contribution des donateurs à la SRMNIA</a:t>
                      </a:r>
                      <a:endParaRPr lang="en-US" sz="1400" dirty="0">
                        <a:solidFill>
                          <a:schemeClr val="tx2"/>
                        </a:solidFill>
                        <a:latin typeface="Arial" panose="020B0604020202020204" pitchFamily="34" charset="0"/>
                        <a:cs typeface="Arial" panose="020B0604020202020204" pitchFamily="34" charset="0"/>
                      </a:endParaRP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19393756"/>
                  </a:ext>
                </a:extLst>
              </a:tr>
              <a:tr h="963413">
                <a:tc>
                  <a:txBody>
                    <a:bodyPr/>
                    <a:lstStyle/>
                    <a:p>
                      <a:r>
                        <a:rPr lang="fr-FR" sz="1400" b="1" dirty="0">
                          <a:solidFill>
                            <a:schemeClr val="tx2"/>
                          </a:solidFill>
                          <a:latin typeface="Arial" panose="020B0604020202020204" pitchFamily="34" charset="0"/>
                          <a:cs typeface="Arial" panose="020B0604020202020204" pitchFamily="34" charset="0"/>
                        </a:rPr>
                        <a:t>Vous pouvez surveiller clairement les progrès de l'action en utilisant des chiffres lorsque cela est possible</a:t>
                      </a:r>
                      <a:endParaRPr lang="en-US" sz="1400" b="1" dirty="0">
                        <a:solidFill>
                          <a:schemeClr val="tx2"/>
                        </a:solidFill>
                        <a:latin typeface="Arial" panose="020B0604020202020204" pitchFamily="34" charset="0"/>
                        <a:cs typeface="Arial" panose="020B0604020202020204" pitchFamily="34" charset="0"/>
                      </a:endParaRP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r>
                        <a:rPr lang="fr-FR" sz="1400" dirty="0">
                          <a:solidFill>
                            <a:schemeClr val="tx2"/>
                          </a:solidFill>
                          <a:latin typeface="Arial" panose="020B0604020202020204" pitchFamily="34" charset="0"/>
                          <a:cs typeface="Arial" panose="020B0604020202020204" pitchFamily="34" charset="0"/>
                        </a:rPr>
                        <a:t>La Direction de la santé du district devrait organiser des </a:t>
                      </a:r>
                      <a:r>
                        <a:rPr lang="fr-FR" sz="1400" dirty="0" err="1">
                          <a:solidFill>
                            <a:schemeClr val="tx2"/>
                          </a:solidFill>
                          <a:latin typeface="Arial" panose="020B0604020202020204" pitchFamily="34" charset="0"/>
                          <a:cs typeface="Arial" panose="020B0604020202020204" pitchFamily="34" charset="0"/>
                        </a:rPr>
                        <a:t>durbars</a:t>
                      </a:r>
                      <a:r>
                        <a:rPr lang="fr-FR" sz="1400" dirty="0">
                          <a:solidFill>
                            <a:schemeClr val="tx2"/>
                          </a:solidFill>
                          <a:latin typeface="Arial" panose="020B0604020202020204" pitchFamily="34" charset="0"/>
                          <a:cs typeface="Arial" panose="020B0604020202020204" pitchFamily="34" charset="0"/>
                        </a:rPr>
                        <a:t> communautaires dans les 5 communautés du district X, afin de les sensibiliser à la prochaine campagne IRS</a:t>
                      </a:r>
                      <a:endParaRPr lang="en-US" sz="1400" dirty="0">
                        <a:solidFill>
                          <a:schemeClr val="tx2"/>
                        </a:solidFill>
                        <a:latin typeface="Arial" panose="020B0604020202020204" pitchFamily="34" charset="0"/>
                        <a:cs typeface="Arial" panose="020B0604020202020204" pitchFamily="34" charset="0"/>
                      </a:endParaRP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fr-FR" sz="1400" dirty="0">
                          <a:solidFill>
                            <a:schemeClr val="tx2"/>
                          </a:solidFill>
                          <a:latin typeface="Arial" panose="020B0604020202020204" pitchFamily="34" charset="0"/>
                          <a:cs typeface="Arial" panose="020B0604020202020204" pitchFamily="34" charset="0"/>
                        </a:rPr>
                        <a:t>Veiller à ce que les communautés soient sensibilisées pour la prochaine campagne PID</a:t>
                      </a:r>
                      <a:endParaRPr lang="en-US" sz="1400" dirty="0">
                        <a:solidFill>
                          <a:schemeClr val="tx2"/>
                        </a:solidFill>
                        <a:latin typeface="Arial" panose="020B0604020202020204" pitchFamily="34" charset="0"/>
                        <a:cs typeface="Arial" panose="020B0604020202020204" pitchFamily="34" charset="0"/>
                      </a:endParaRP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6417451"/>
                  </a:ext>
                </a:extLst>
              </a:tr>
            </a:tbl>
          </a:graphicData>
        </a:graphic>
      </p:graphicFrame>
      <p:pic>
        <p:nvPicPr>
          <p:cNvPr id="41" name="Picture 29" descr="Symbol-Delete">
            <a:extLst>
              <a:ext uri="{FF2B5EF4-FFF2-40B4-BE49-F238E27FC236}">
                <a16:creationId xmlns:a16="http://schemas.microsoft.com/office/drawing/2014/main" id="{86136D1B-4504-1240-B5FA-6CF9B857FCE5}"/>
              </a:ext>
            </a:extLst>
          </p:cNvPr>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8051993" y="1665989"/>
            <a:ext cx="376026" cy="376024"/>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30" descr="Symbol-Check">
            <a:extLst>
              <a:ext uri="{FF2B5EF4-FFF2-40B4-BE49-F238E27FC236}">
                <a16:creationId xmlns:a16="http://schemas.microsoft.com/office/drawing/2014/main" id="{38CC37B5-0AC1-6340-9657-52B5AC8BE51E}"/>
              </a:ext>
            </a:extLst>
          </p:cNvPr>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5329221" y="1636696"/>
            <a:ext cx="376026" cy="3760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093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148989" y="3900190"/>
            <a:ext cx="6858728" cy="1930272"/>
          </a:xfrm>
        </p:spPr>
        <p:txBody>
          <a:bodyPr/>
          <a:lstStyle/>
          <a:p>
            <a:pPr algn="ctr"/>
            <a:r>
              <a:rPr lang="fr-FR" sz="3136" dirty="0">
                <a:solidFill>
                  <a:schemeClr val="tx1"/>
                </a:solidFill>
              </a:rPr>
              <a:t>Matériel de formation</a:t>
            </a:r>
            <a:br>
              <a:rPr lang="fr-FR" sz="3136" dirty="0">
                <a:solidFill>
                  <a:schemeClr val="tx1"/>
                </a:solidFill>
              </a:rPr>
            </a:br>
            <a:r>
              <a:rPr lang="fr-FR" sz="3136" dirty="0">
                <a:solidFill>
                  <a:schemeClr val="tx1"/>
                </a:solidFill>
              </a:rPr>
              <a:t>pour les Formateurs</a:t>
            </a:r>
            <a:br>
              <a:rPr lang="fr-FR" sz="3136" dirty="0">
                <a:solidFill>
                  <a:schemeClr val="tx1"/>
                </a:solidFill>
              </a:rPr>
            </a:br>
            <a:br>
              <a:rPr lang="fr-FR" sz="3136" dirty="0">
                <a:solidFill>
                  <a:schemeClr val="tx1"/>
                </a:solidFill>
              </a:rPr>
            </a:br>
            <a:endParaRPr lang="en-US" sz="3136" dirty="0">
              <a:solidFill>
                <a:schemeClr val="tx1"/>
              </a:solidFill>
            </a:endParaRPr>
          </a:p>
        </p:txBody>
      </p:sp>
      <p:sp>
        <p:nvSpPr>
          <p:cNvPr id="3" name="Subtitle 2"/>
          <p:cNvSpPr>
            <a:spLocks noGrp="1"/>
          </p:cNvSpPr>
          <p:nvPr>
            <p:ph type="subTitle" idx="1"/>
          </p:nvPr>
        </p:nvSpPr>
        <p:spPr>
          <a:xfrm>
            <a:off x="3824242" y="5182963"/>
            <a:ext cx="2355102" cy="338554"/>
          </a:xfrm>
        </p:spPr>
        <p:txBody>
          <a:bodyPr/>
          <a:lstStyle/>
          <a:p>
            <a:r>
              <a:rPr lang="en-US" dirty="0" err="1"/>
              <a:t>Juin</a:t>
            </a:r>
            <a:r>
              <a:rPr lang="en-US" dirty="0"/>
              <a:t> 2021</a:t>
            </a: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7" name="Picture 6">
            <a:extLst>
              <a:ext uri="{FF2B5EF4-FFF2-40B4-BE49-F238E27FC236}">
                <a16:creationId xmlns:a16="http://schemas.microsoft.com/office/drawing/2014/main" id="{BD3EC41E-2E01-4968-9C5E-48C4A7D40588}"/>
              </a:ext>
            </a:extLst>
          </p:cNvPr>
          <p:cNvPicPr>
            <a:picLocks noChangeAspect="1"/>
          </p:cNvPicPr>
          <p:nvPr/>
        </p:nvPicPr>
        <p:blipFill>
          <a:blip r:embed="rId3"/>
          <a:stretch>
            <a:fillRect/>
          </a:stretch>
        </p:blipFill>
        <p:spPr>
          <a:xfrm>
            <a:off x="3072511" y="477067"/>
            <a:ext cx="3011685" cy="3036071"/>
          </a:xfrm>
          <a:prstGeom prst="rect">
            <a:avLst/>
          </a:prstGeom>
        </p:spPr>
      </p:pic>
    </p:spTree>
    <p:extLst>
      <p:ext uri="{BB962C8B-B14F-4D97-AF65-F5344CB8AC3E}">
        <p14:creationId xmlns:p14="http://schemas.microsoft.com/office/powerpoint/2010/main" val="39250845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819" name="Object 10" hidden="1"/>
          <p:cNvGraphicFramePr>
            <a:graphicFrameLocks noChangeAspect="1"/>
          </p:cNvGraphicFramePr>
          <p:nvPr>
            <p:custDataLst>
              <p:tags r:id="rId3"/>
            </p:custDataLst>
          </p:nvPr>
        </p:nvGraphicFramePr>
        <p:xfrm>
          <a:off x="266" y="199"/>
          <a:ext cx="158742" cy="158740"/>
        </p:xfrm>
        <a:graphic>
          <a:graphicData uri="http://schemas.openxmlformats.org/presentationml/2006/ole">
            <mc:AlternateContent xmlns:mc="http://schemas.openxmlformats.org/markup-compatibility/2006">
              <mc:Choice xmlns:v="urn:schemas-microsoft-com:vml" Requires="v">
                <p:oleObj spid="_x0000_s15361" name="think-cell Slide" r:id="rId50" imgW="360" imgH="360" progId="">
                  <p:embed/>
                </p:oleObj>
              </mc:Choice>
              <mc:Fallback>
                <p:oleObj name="think-cell Slide" r:id="rId50" imgW="360" imgH="360" progId="">
                  <p:embed/>
                  <p:pic>
                    <p:nvPicPr>
                      <p:cNvPr id="34819" name="Object 10" hidden="1"/>
                      <p:cNvPicPr>
                        <a:picLocks noChangeAspect="1"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266" y="199"/>
                        <a:ext cx="158742" cy="15874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4822" name="McK 5. Source"/>
          <p:cNvSpPr>
            <a:spLocks noChangeArrowheads="1"/>
          </p:cNvSpPr>
          <p:nvPr>
            <p:custDataLst>
              <p:tags r:id="rId4"/>
            </p:custDataLst>
          </p:nvPr>
        </p:nvSpPr>
        <p:spPr bwMode="gray">
          <a:xfrm>
            <a:off x="119322" y="6434795"/>
            <a:ext cx="6862357" cy="15388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536" indent="-609536" defTabSz="895255">
              <a:tabLst>
                <a:tab pos="612710" algn="l"/>
              </a:tabLst>
            </a:pPr>
            <a:r>
              <a:rPr lang="fr-FR" sz="1000" dirty="0">
                <a:solidFill>
                  <a:srgbClr val="000000"/>
                </a:solidFill>
              </a:rPr>
              <a:t>SOURCE : Capture d’écran de l’outil Suivi d’action.</a:t>
            </a:r>
          </a:p>
        </p:txBody>
      </p:sp>
      <p:sp>
        <p:nvSpPr>
          <p:cNvPr id="34825" name="Rectangle 10"/>
          <p:cNvSpPr>
            <a:spLocks noGrp="1" noChangeArrowheads="1"/>
          </p:cNvSpPr>
          <p:nvPr>
            <p:ph type="title"/>
            <p:custDataLst>
              <p:tags r:id="rId5"/>
            </p:custDataLst>
          </p:nvPr>
        </p:nvSpPr>
        <p:spPr bwMode="gray">
          <a:xfrm>
            <a:off x="119323" y="230375"/>
            <a:ext cx="8618028" cy="584741"/>
          </a:xfr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fr-FR" dirty="0"/>
              <a:t>Le suivi d’action appuie le suivi des actions recommandées et la redevabilité.</a:t>
            </a:r>
          </a:p>
        </p:txBody>
      </p:sp>
      <p:grpSp>
        <p:nvGrpSpPr>
          <p:cNvPr id="27" name="Group 26"/>
          <p:cNvGrpSpPr/>
          <p:nvPr>
            <p:custDataLst>
              <p:tags r:id="rId6"/>
            </p:custDataLst>
          </p:nvPr>
        </p:nvGrpSpPr>
        <p:grpSpPr>
          <a:xfrm>
            <a:off x="7678565" y="730913"/>
            <a:ext cx="1139669" cy="216072"/>
            <a:chOff x="7616845" y="285750"/>
            <a:chExt cx="1139737" cy="216085"/>
          </a:xfrm>
        </p:grpSpPr>
        <p:sp>
          <p:nvSpPr>
            <p:cNvPr id="28" name="StickerRectangle"/>
            <p:cNvSpPr>
              <a:spLocks noChangeArrowheads="1"/>
            </p:cNvSpPr>
            <p:nvPr/>
          </p:nvSpPr>
          <p:spPr bwMode="auto">
            <a:xfrm>
              <a:off x="7616845" y="285750"/>
              <a:ext cx="1139737" cy="216085"/>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0" tIns="0" rIns="0" bIns="27430">
              <a:spAutoFit/>
            </a:bodyPr>
            <a:lstStyle/>
            <a:p>
              <a:pPr defTabSz="895255" eaLnBrk="0" hangingPunct="0">
                <a:buClr>
                  <a:srgbClr val="002960"/>
                </a:buClr>
                <a:buSzPct val="125000"/>
              </a:pPr>
              <a:r>
                <a:rPr lang="fr-FR" sz="1200" dirty="0">
                  <a:solidFill>
                    <a:srgbClr val="808080"/>
                  </a:solidFill>
                </a:rPr>
                <a:t>ILLUSTRATION</a:t>
              </a:r>
            </a:p>
          </p:txBody>
        </p:sp>
        <p:cxnSp>
          <p:nvCxnSpPr>
            <p:cNvPr id="29" name="AutoShape 31"/>
            <p:cNvCxnSpPr>
              <a:cxnSpLocks noChangeShapeType="1"/>
              <a:stCxn id="28" idx="2"/>
              <a:endCxn id="28" idx="4"/>
            </p:cNvCxnSpPr>
            <p:nvPr/>
          </p:nvCxnSpPr>
          <p:spPr bwMode="auto">
            <a:xfrm>
              <a:off x="7616845" y="285750"/>
              <a:ext cx="0" cy="216085"/>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30" name="AutoShape 32"/>
            <p:cNvCxnSpPr>
              <a:cxnSpLocks noChangeShapeType="1"/>
              <a:stCxn id="28" idx="4"/>
              <a:endCxn id="28" idx="6"/>
            </p:cNvCxnSpPr>
            <p:nvPr/>
          </p:nvCxnSpPr>
          <p:spPr bwMode="auto">
            <a:xfrm>
              <a:off x="7616845" y="501835"/>
              <a:ext cx="1139737"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sp>
        <p:nvSpPr>
          <p:cNvPr id="17" name="Rectangle 286"/>
          <p:cNvSpPr>
            <a:spLocks noChangeArrowheads="1"/>
          </p:cNvSpPr>
          <p:nvPr>
            <p:custDataLst>
              <p:tags r:id="rId7"/>
            </p:custDataLst>
          </p:nvPr>
        </p:nvSpPr>
        <p:spPr bwMode="gray">
          <a:xfrm>
            <a:off x="799620" y="3968244"/>
            <a:ext cx="3424632" cy="1238086"/>
          </a:xfrm>
          <a:prstGeom prst="rect">
            <a:avLst/>
          </a:prstGeom>
          <a:solidFill>
            <a:schemeClr val="bg1"/>
          </a:solidFill>
          <a:ln w="9525">
            <a:solidFill>
              <a:schemeClr val="accent6"/>
            </a:solidFill>
            <a:miter lim="800000"/>
            <a:headEnd/>
            <a:tailEnd/>
          </a:ln>
          <a:effectLst>
            <a:outerShdw blurRad="50800" dist="38100" dir="2700000" algn="tl" rotWithShape="0">
              <a:prstClr val="black">
                <a:alpha val="40000"/>
              </a:prstClr>
            </a:outerShdw>
          </a:effectLst>
        </p:spPr>
        <p:txBody>
          <a:bodyPr wrap="square" lIns="72005" tIns="72005" rIns="72005" bIns="72005" anchor="ctr">
            <a:spAutoFit/>
          </a:bodyPr>
          <a:lstStyle>
            <a:lvl1pPr marL="342900" indent="-342900" defTabSz="895350">
              <a:defRPr sz="1600">
                <a:solidFill>
                  <a:schemeClr val="tx1"/>
                </a:solidFill>
                <a:latin typeface="Arial" charset="0"/>
              </a:defRPr>
            </a:lvl1pPr>
            <a:lvl2pPr marL="193675" indent="-192088" defTabSz="895350">
              <a:defRPr sz="1600">
                <a:solidFill>
                  <a:schemeClr val="tx1"/>
                </a:solidFill>
                <a:latin typeface="Arial" charset="0"/>
              </a:defRPr>
            </a:lvl2pPr>
            <a:lvl3pPr marL="457200" indent="-261938" defTabSz="895350">
              <a:buSzPct val="120000"/>
              <a:buChar char="–"/>
              <a:defRPr sz="1600">
                <a:solidFill>
                  <a:schemeClr val="tx1"/>
                </a:solidFill>
                <a:latin typeface="Arial" charset="0"/>
              </a:defRPr>
            </a:lvl3pPr>
            <a:lvl4pPr marL="614363" indent="-155575" defTabSz="895350">
              <a:buSzPct val="120000"/>
              <a:buChar char="▫"/>
              <a:defRPr sz="1600">
                <a:solidFill>
                  <a:schemeClr val="tx1"/>
                </a:solidFill>
                <a:latin typeface="Arial" charset="0"/>
              </a:defRPr>
            </a:lvl4pPr>
            <a:lvl5pPr marL="746125" indent="-130175" defTabSz="895350">
              <a:buSzPct val="89000"/>
              <a:buChar char="-"/>
              <a:defRPr sz="1600">
                <a:solidFill>
                  <a:schemeClr val="tx1"/>
                </a:solidFill>
                <a:latin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eaLnBrk="0" fontAlgn="base" hangingPunct="0">
              <a:spcBef>
                <a:spcPct val="40000"/>
              </a:spcBef>
              <a:spcAft>
                <a:spcPct val="0"/>
              </a:spcAft>
              <a:buClr>
                <a:srgbClr val="002960"/>
              </a:buClr>
            </a:pPr>
            <a:r>
              <a:rPr lang="fr-FR" sz="1200" b="1" dirty="0">
                <a:solidFill>
                  <a:srgbClr val="002960"/>
                </a:solidFill>
              </a:rPr>
              <a:t>Le suivi d'action capte :</a:t>
            </a:r>
          </a:p>
          <a:p>
            <a:pPr lvl="1" eaLnBrk="0" fontAlgn="base" hangingPunct="0">
              <a:spcBef>
                <a:spcPct val="20000"/>
              </a:spcBef>
              <a:spcAft>
                <a:spcPct val="0"/>
              </a:spcAft>
              <a:buClr>
                <a:srgbClr val="002960"/>
              </a:buClr>
              <a:buSzPct val="125000"/>
              <a:buFont typeface="Arial" charset="0"/>
              <a:buChar char="▪"/>
            </a:pPr>
            <a:r>
              <a:rPr lang="fr-FR" sz="1200" dirty="0">
                <a:solidFill>
                  <a:srgbClr val="000000"/>
                </a:solidFill>
              </a:rPr>
              <a:t>La(les) personne(s) responsable(s) </a:t>
            </a:r>
          </a:p>
          <a:p>
            <a:pPr lvl="1" eaLnBrk="0" fontAlgn="base" hangingPunct="0">
              <a:spcBef>
                <a:spcPct val="20000"/>
              </a:spcBef>
              <a:spcAft>
                <a:spcPct val="0"/>
              </a:spcAft>
              <a:buClr>
                <a:srgbClr val="002960"/>
              </a:buClr>
              <a:buSzPct val="125000"/>
              <a:buFont typeface="Arial" charset="0"/>
              <a:buChar char="▪"/>
            </a:pPr>
            <a:r>
              <a:rPr lang="fr-FR" sz="1200" dirty="0">
                <a:solidFill>
                  <a:srgbClr val="000000"/>
                </a:solidFill>
              </a:rPr>
              <a:t>L'échéance fixée pour chaque mesure/action </a:t>
            </a:r>
          </a:p>
          <a:p>
            <a:pPr lvl="1" eaLnBrk="0" fontAlgn="base" hangingPunct="0">
              <a:spcBef>
                <a:spcPct val="20000"/>
              </a:spcBef>
              <a:spcAft>
                <a:spcPct val="0"/>
              </a:spcAft>
              <a:buClr>
                <a:srgbClr val="002960"/>
              </a:buClr>
              <a:buSzPct val="125000"/>
              <a:buFont typeface="Arial" charset="0"/>
              <a:buChar char="▪"/>
            </a:pPr>
            <a:r>
              <a:rPr lang="fr-FR" sz="1200" dirty="0">
                <a:solidFill>
                  <a:srgbClr val="000000"/>
                </a:solidFill>
              </a:rPr>
              <a:t>L'état de progression actuel </a:t>
            </a:r>
          </a:p>
          <a:p>
            <a:pPr lvl="1" eaLnBrk="0" fontAlgn="base" hangingPunct="0">
              <a:spcBef>
                <a:spcPct val="20000"/>
              </a:spcBef>
              <a:spcAft>
                <a:spcPct val="0"/>
              </a:spcAft>
              <a:buClr>
                <a:srgbClr val="002960"/>
              </a:buClr>
              <a:buSzPct val="125000"/>
              <a:buFont typeface="Arial" charset="0"/>
              <a:buChar char="▪"/>
            </a:pPr>
            <a:r>
              <a:rPr lang="fr-FR" sz="1200" dirty="0">
                <a:solidFill>
                  <a:srgbClr val="000000"/>
                </a:solidFill>
              </a:rPr>
              <a:t>D'autres commentaires. </a:t>
            </a:r>
          </a:p>
        </p:txBody>
      </p:sp>
      <p:sp>
        <p:nvSpPr>
          <p:cNvPr id="85" name="TextBox 8"/>
          <p:cNvSpPr txBox="1"/>
          <p:nvPr>
            <p:custDataLst>
              <p:tags r:id="rId8"/>
            </p:custDataLst>
          </p:nvPr>
        </p:nvSpPr>
        <p:spPr>
          <a:xfrm>
            <a:off x="4229713" y="1658280"/>
            <a:ext cx="666113" cy="690506"/>
          </a:xfrm>
          <a:prstGeom prst="rect">
            <a:avLst/>
          </a:prstGeom>
          <a:solidFill>
            <a:schemeClr val="bg1"/>
          </a:solidFill>
          <a:ln>
            <a:noFill/>
          </a:ln>
        </p:spPr>
        <p:txBody>
          <a:bodyPr vert="horz" lIns="0"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algn="ctr" fontAlgn="base">
              <a:spcBef>
                <a:spcPct val="0"/>
              </a:spcBef>
              <a:spcAft>
                <a:spcPct val="0"/>
              </a:spcAft>
              <a:buClr>
                <a:srgbClr val="002960"/>
              </a:buClr>
              <a:buSzPct val="125000"/>
              <a:buFont typeface="Arial" charset="0"/>
              <a:buNone/>
            </a:pPr>
            <a:r>
              <a:rPr lang="fr-FR" sz="600" b="1" dirty="0">
                <a:solidFill>
                  <a:srgbClr val="000000"/>
                </a:solidFill>
              </a:rPr>
              <a:t>15/11/2016</a:t>
            </a:r>
          </a:p>
        </p:txBody>
      </p:sp>
      <p:grpSp>
        <p:nvGrpSpPr>
          <p:cNvPr id="6" name="Group 5"/>
          <p:cNvGrpSpPr/>
          <p:nvPr/>
        </p:nvGrpSpPr>
        <p:grpSpPr>
          <a:xfrm>
            <a:off x="51354" y="1181891"/>
            <a:ext cx="8770272" cy="2718908"/>
            <a:chOff x="51092" y="1181761"/>
            <a:chExt cx="8770790" cy="2719069"/>
          </a:xfrm>
        </p:grpSpPr>
        <p:pic>
          <p:nvPicPr>
            <p:cNvPr id="3" name="Picture 2" descr="Screen Clipping"/>
            <p:cNvPicPr>
              <a:picLocks noChangeAspect="1"/>
            </p:cNvPicPr>
            <p:nvPr/>
          </p:nvPicPr>
          <p:blipFill>
            <a:blip r:embed="rId52">
              <a:extLst>
                <a:ext uri="{28A0092B-C50C-407E-A947-70E740481C1C}">
                  <a14:useLocalDpi xmlns:a14="http://schemas.microsoft.com/office/drawing/2010/main" val="0"/>
                </a:ext>
              </a:extLst>
            </a:blip>
            <a:stretch>
              <a:fillRect/>
            </a:stretch>
          </p:blipFill>
          <p:spPr>
            <a:xfrm>
              <a:off x="73157" y="1181761"/>
              <a:ext cx="8748725" cy="2719069"/>
            </a:xfrm>
            <a:prstGeom prst="rect">
              <a:avLst/>
            </a:prstGeom>
          </p:spPr>
        </p:pic>
        <p:grpSp>
          <p:nvGrpSpPr>
            <p:cNvPr id="4" name="Group 3"/>
            <p:cNvGrpSpPr/>
            <p:nvPr/>
          </p:nvGrpSpPr>
          <p:grpSpPr>
            <a:xfrm>
              <a:off x="51092" y="1200235"/>
              <a:ext cx="8686510" cy="2683953"/>
              <a:chOff x="51092" y="1200235"/>
              <a:chExt cx="8686510" cy="2683953"/>
            </a:xfrm>
          </p:grpSpPr>
          <p:sp>
            <p:nvSpPr>
              <p:cNvPr id="47" name="TextBox 8"/>
              <p:cNvSpPr txBox="1"/>
              <p:nvPr>
                <p:custDataLst>
                  <p:tags r:id="rId10"/>
                </p:custDataLst>
              </p:nvPr>
            </p:nvSpPr>
            <p:spPr>
              <a:xfrm>
                <a:off x="51092" y="1708224"/>
                <a:ext cx="591583" cy="418602"/>
              </a:xfrm>
              <a:prstGeom prst="rect">
                <a:avLst/>
              </a:prstGeom>
              <a:solidFill>
                <a:srgbClr val="FFFFFF"/>
              </a:solidFill>
              <a:ln>
                <a:noFill/>
              </a:ln>
            </p:spPr>
            <p:txBody>
              <a:bodyPr vert="horz" lIns="76196"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None/>
                </a:pPr>
                <a:r>
                  <a:rPr lang="fr-FR" sz="800" b="1" dirty="0">
                    <a:solidFill>
                      <a:prstClr val="black"/>
                    </a:solidFill>
                  </a:rPr>
                  <a:t>Région</a:t>
                </a:r>
                <a:r>
                  <a:rPr lang="fr-FR" sz="800" b="1" dirty="0">
                    <a:solidFill>
                      <a:srgbClr val="000000"/>
                    </a:solidFill>
                  </a:rPr>
                  <a:t> 2</a:t>
                </a:r>
              </a:p>
            </p:txBody>
          </p:sp>
          <p:sp>
            <p:nvSpPr>
              <p:cNvPr id="48" name="TextBox 8"/>
              <p:cNvSpPr txBox="1"/>
              <p:nvPr>
                <p:custDataLst>
                  <p:tags r:id="rId11"/>
                </p:custDataLst>
              </p:nvPr>
            </p:nvSpPr>
            <p:spPr>
              <a:xfrm>
                <a:off x="88210" y="3197226"/>
                <a:ext cx="591583" cy="418602"/>
              </a:xfrm>
              <a:prstGeom prst="rect">
                <a:avLst/>
              </a:prstGeom>
              <a:solidFill>
                <a:srgbClr val="FFFFFF"/>
              </a:solidFill>
              <a:ln>
                <a:noFill/>
              </a:ln>
            </p:spPr>
            <p:txBody>
              <a:bodyPr vert="horz" lIns="76196"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None/>
                </a:pPr>
                <a:r>
                  <a:rPr lang="fr-FR" sz="800" b="1" dirty="0">
                    <a:solidFill>
                      <a:prstClr val="black"/>
                    </a:solidFill>
                  </a:rPr>
                  <a:t>Région </a:t>
                </a:r>
                <a:r>
                  <a:rPr lang="fr-FR" sz="800" b="1" dirty="0">
                    <a:solidFill>
                      <a:srgbClr val="000000"/>
                    </a:solidFill>
                  </a:rPr>
                  <a:t>3</a:t>
                </a:r>
              </a:p>
            </p:txBody>
          </p:sp>
          <p:sp>
            <p:nvSpPr>
              <p:cNvPr id="49" name="TextBox 8"/>
              <p:cNvSpPr txBox="1"/>
              <p:nvPr>
                <p:custDataLst>
                  <p:tags r:id="rId12"/>
                </p:custDataLst>
              </p:nvPr>
            </p:nvSpPr>
            <p:spPr>
              <a:xfrm>
                <a:off x="88210" y="2411828"/>
                <a:ext cx="566139" cy="418602"/>
              </a:xfrm>
              <a:prstGeom prst="rect">
                <a:avLst/>
              </a:prstGeom>
              <a:solidFill>
                <a:srgbClr val="F2F2F2"/>
              </a:solidFill>
              <a:ln>
                <a:noFill/>
              </a:ln>
            </p:spPr>
            <p:txBody>
              <a:bodyPr vert="horz" lIns="76196"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None/>
                </a:pPr>
                <a:r>
                  <a:rPr lang="fr-FR" sz="700" b="1" dirty="0">
                    <a:solidFill>
                      <a:srgbClr val="000000"/>
                    </a:solidFill>
                  </a:rPr>
                  <a:t>District A</a:t>
                </a:r>
              </a:p>
            </p:txBody>
          </p:sp>
          <p:sp>
            <p:nvSpPr>
              <p:cNvPr id="79" name="TextBox 8"/>
              <p:cNvSpPr txBox="1"/>
              <p:nvPr>
                <p:custDataLst>
                  <p:tags r:id="rId13"/>
                </p:custDataLst>
              </p:nvPr>
            </p:nvSpPr>
            <p:spPr>
              <a:xfrm>
                <a:off x="1586518" y="1640613"/>
                <a:ext cx="2576593" cy="672981"/>
              </a:xfrm>
              <a:prstGeom prst="rect">
                <a:avLst/>
              </a:prstGeom>
              <a:solidFill>
                <a:schemeClr val="bg1"/>
              </a:solidFill>
              <a:ln>
                <a:noFill/>
              </a:ln>
            </p:spPr>
            <p:txBody>
              <a:bodyPr vert="horz" lIns="0"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None/>
                </a:pPr>
                <a:r>
                  <a:rPr lang="fr-FR" sz="800" b="1" dirty="0">
                    <a:solidFill>
                      <a:srgbClr val="000000"/>
                    </a:solidFill>
                  </a:rPr>
                  <a:t>Engager trois membres de personnel de S-É temporaires pour liquider l'arriéré SIGS.</a:t>
                </a:r>
              </a:p>
            </p:txBody>
          </p:sp>
          <p:sp>
            <p:nvSpPr>
              <p:cNvPr id="80" name="TextBox 8"/>
              <p:cNvSpPr txBox="1"/>
              <p:nvPr>
                <p:custDataLst>
                  <p:tags r:id="rId14"/>
                </p:custDataLst>
              </p:nvPr>
            </p:nvSpPr>
            <p:spPr>
              <a:xfrm>
                <a:off x="1586518" y="2429401"/>
                <a:ext cx="2559101" cy="636995"/>
              </a:xfrm>
              <a:prstGeom prst="rect">
                <a:avLst/>
              </a:prstGeom>
              <a:solidFill>
                <a:srgbClr val="F2F2F2"/>
              </a:solidFill>
              <a:ln>
                <a:noFill/>
              </a:ln>
            </p:spPr>
            <p:txBody>
              <a:bodyPr vert="horz" lIns="0"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None/>
                </a:pPr>
                <a:r>
                  <a:rPr lang="fr-FR" sz="800" b="1" dirty="0">
                    <a:solidFill>
                      <a:srgbClr val="000000"/>
                    </a:solidFill>
                  </a:rPr>
                  <a:t>Améliorer la régularité et la qualité des données en reformant les agents des USP à la gestion des données.</a:t>
                </a:r>
              </a:p>
            </p:txBody>
          </p:sp>
          <p:sp>
            <p:nvSpPr>
              <p:cNvPr id="81" name="TextBox 8"/>
              <p:cNvSpPr txBox="1"/>
              <p:nvPr>
                <p:custDataLst>
                  <p:tags r:id="rId15"/>
                </p:custDataLst>
              </p:nvPr>
            </p:nvSpPr>
            <p:spPr>
              <a:xfrm>
                <a:off x="1586518" y="3210572"/>
                <a:ext cx="2559101" cy="655127"/>
              </a:xfrm>
              <a:prstGeom prst="rect">
                <a:avLst/>
              </a:prstGeom>
              <a:solidFill>
                <a:schemeClr val="bg1"/>
              </a:solidFill>
              <a:ln>
                <a:noFill/>
              </a:ln>
            </p:spPr>
            <p:txBody>
              <a:bodyPr vert="horz" lIns="0"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None/>
                </a:pPr>
                <a:r>
                  <a:rPr lang="fr-FR" sz="800" b="1" dirty="0">
                    <a:solidFill>
                      <a:srgbClr val="000000"/>
                    </a:solidFill>
                  </a:rPr>
                  <a:t>Mettre en œuvre un programme d'allaitement maternel exclusif pendant 6 mois aux USP et mener une campagne de sensibilisation de la communauté à l'AME.</a:t>
                </a:r>
              </a:p>
            </p:txBody>
          </p:sp>
          <p:sp>
            <p:nvSpPr>
              <p:cNvPr id="82" name="TextBox 8"/>
              <p:cNvSpPr txBox="1"/>
              <p:nvPr>
                <p:custDataLst>
                  <p:tags r:id="rId16"/>
                </p:custDataLst>
              </p:nvPr>
            </p:nvSpPr>
            <p:spPr>
              <a:xfrm>
                <a:off x="867740" y="1658178"/>
                <a:ext cx="465760" cy="672981"/>
              </a:xfrm>
              <a:prstGeom prst="rect">
                <a:avLst/>
              </a:prstGeom>
              <a:solidFill>
                <a:schemeClr val="bg1"/>
              </a:solidFill>
              <a:ln>
                <a:noFill/>
              </a:ln>
            </p:spPr>
            <p:txBody>
              <a:bodyPr vert="horz" lIns="0"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None/>
                </a:pPr>
                <a:r>
                  <a:rPr lang="fr-FR" sz="800" b="1" dirty="0">
                    <a:solidFill>
                      <a:srgbClr val="000000"/>
                    </a:solidFill>
                  </a:rPr>
                  <a:t>S-É</a:t>
                </a:r>
              </a:p>
            </p:txBody>
          </p:sp>
          <p:sp>
            <p:nvSpPr>
              <p:cNvPr id="83" name="TextBox 8"/>
              <p:cNvSpPr txBox="1"/>
              <p:nvPr>
                <p:custDataLst>
                  <p:tags r:id="rId17"/>
                </p:custDataLst>
              </p:nvPr>
            </p:nvSpPr>
            <p:spPr>
              <a:xfrm>
                <a:off x="856221" y="3133903"/>
                <a:ext cx="659524" cy="655127"/>
              </a:xfrm>
              <a:prstGeom prst="rect">
                <a:avLst/>
              </a:prstGeom>
              <a:solidFill>
                <a:schemeClr val="bg1"/>
              </a:solidFill>
              <a:ln>
                <a:noFill/>
              </a:ln>
            </p:spPr>
            <p:txBody>
              <a:bodyPr vert="horz" lIns="0"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None/>
                </a:pPr>
                <a:r>
                  <a:rPr lang="fr-FR" sz="800" b="1" dirty="0">
                    <a:solidFill>
                      <a:srgbClr val="000000"/>
                    </a:solidFill>
                  </a:rPr>
                  <a:t>Santé néonatale</a:t>
                </a:r>
              </a:p>
            </p:txBody>
          </p:sp>
          <p:sp>
            <p:nvSpPr>
              <p:cNvPr id="84" name="TextBox 8"/>
              <p:cNvSpPr txBox="1"/>
              <p:nvPr>
                <p:custDataLst>
                  <p:tags r:id="rId18"/>
                </p:custDataLst>
              </p:nvPr>
            </p:nvSpPr>
            <p:spPr>
              <a:xfrm>
                <a:off x="4895850" y="1623824"/>
                <a:ext cx="676275" cy="724902"/>
              </a:xfrm>
              <a:prstGeom prst="rect">
                <a:avLst/>
              </a:prstGeom>
              <a:solidFill>
                <a:schemeClr val="bg1"/>
              </a:solidFill>
              <a:ln>
                <a:noFill/>
              </a:ln>
            </p:spPr>
            <p:txBody>
              <a:bodyPr vert="horz" lIns="0"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algn="ctr" fontAlgn="base">
                  <a:spcBef>
                    <a:spcPct val="0"/>
                  </a:spcBef>
                  <a:spcAft>
                    <a:spcPct val="0"/>
                  </a:spcAft>
                  <a:buClr>
                    <a:srgbClr val="002960"/>
                  </a:buClr>
                  <a:buSzPct val="125000"/>
                  <a:buFont typeface="Arial" charset="0"/>
                  <a:buNone/>
                </a:pPr>
                <a:r>
                  <a:rPr lang="fr-FR" sz="600" b="1" dirty="0">
                    <a:solidFill>
                      <a:srgbClr val="000000"/>
                    </a:solidFill>
                  </a:rPr>
                  <a:t>15/12/2016</a:t>
                </a:r>
              </a:p>
            </p:txBody>
          </p:sp>
          <p:sp>
            <p:nvSpPr>
              <p:cNvPr id="86" name="TextBox 8"/>
              <p:cNvSpPr txBox="1"/>
              <p:nvPr>
                <p:custDataLst>
                  <p:tags r:id="rId19"/>
                </p:custDataLst>
              </p:nvPr>
            </p:nvSpPr>
            <p:spPr>
              <a:xfrm>
                <a:off x="4905452" y="3177813"/>
                <a:ext cx="655761" cy="639000"/>
              </a:xfrm>
              <a:prstGeom prst="rect">
                <a:avLst/>
              </a:prstGeom>
              <a:solidFill>
                <a:schemeClr val="bg1"/>
              </a:solidFill>
              <a:ln>
                <a:noFill/>
              </a:ln>
            </p:spPr>
            <p:txBody>
              <a:bodyPr vert="horz" lIns="0"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algn="ctr" fontAlgn="base">
                  <a:spcBef>
                    <a:spcPct val="0"/>
                  </a:spcBef>
                  <a:spcAft>
                    <a:spcPct val="0"/>
                  </a:spcAft>
                  <a:buClr>
                    <a:srgbClr val="002960"/>
                  </a:buClr>
                  <a:buSzPct val="125000"/>
                  <a:buFont typeface="Arial" charset="0"/>
                  <a:buNone/>
                </a:pPr>
                <a:r>
                  <a:rPr lang="fr-FR" sz="600" b="1" dirty="0">
                    <a:solidFill>
                      <a:srgbClr val="000000"/>
                    </a:solidFill>
                  </a:rPr>
                  <a:t>30/09/2016</a:t>
                </a:r>
              </a:p>
            </p:txBody>
          </p:sp>
          <p:sp>
            <p:nvSpPr>
              <p:cNvPr id="87" name="TextBox 8"/>
              <p:cNvSpPr txBox="1"/>
              <p:nvPr>
                <p:custDataLst>
                  <p:tags r:id="rId20"/>
                </p:custDataLst>
              </p:nvPr>
            </p:nvSpPr>
            <p:spPr>
              <a:xfrm>
                <a:off x="4229698" y="3157583"/>
                <a:ext cx="676275" cy="708113"/>
              </a:xfrm>
              <a:prstGeom prst="rect">
                <a:avLst/>
              </a:prstGeom>
              <a:solidFill>
                <a:schemeClr val="bg1"/>
              </a:solidFill>
              <a:ln>
                <a:noFill/>
              </a:ln>
            </p:spPr>
            <p:txBody>
              <a:bodyPr vert="horz" lIns="0"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algn="ctr" fontAlgn="base">
                  <a:spcBef>
                    <a:spcPct val="0"/>
                  </a:spcBef>
                  <a:spcAft>
                    <a:spcPct val="0"/>
                  </a:spcAft>
                  <a:buClr>
                    <a:srgbClr val="002960"/>
                  </a:buClr>
                  <a:buSzPct val="125000"/>
                  <a:buFont typeface="Arial" charset="0"/>
                  <a:buNone/>
                </a:pPr>
                <a:r>
                  <a:rPr lang="fr-FR" sz="600" b="1" dirty="0">
                    <a:solidFill>
                      <a:srgbClr val="000000"/>
                    </a:solidFill>
                  </a:rPr>
                  <a:t>30/03/2016</a:t>
                </a:r>
              </a:p>
            </p:txBody>
          </p:sp>
          <p:sp>
            <p:nvSpPr>
              <p:cNvPr id="88" name="TextBox 8"/>
              <p:cNvSpPr txBox="1"/>
              <p:nvPr>
                <p:custDataLst>
                  <p:tags r:id="rId21"/>
                </p:custDataLst>
              </p:nvPr>
            </p:nvSpPr>
            <p:spPr>
              <a:xfrm>
                <a:off x="4149728" y="1658178"/>
                <a:ext cx="676275" cy="690547"/>
              </a:xfrm>
              <a:prstGeom prst="rect">
                <a:avLst/>
              </a:prstGeom>
              <a:solidFill>
                <a:schemeClr val="bg1"/>
              </a:solidFill>
              <a:ln>
                <a:noFill/>
              </a:ln>
            </p:spPr>
            <p:txBody>
              <a:bodyPr vert="horz" lIns="0"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algn="ctr" fontAlgn="base">
                  <a:spcBef>
                    <a:spcPct val="0"/>
                  </a:spcBef>
                  <a:spcAft>
                    <a:spcPct val="0"/>
                  </a:spcAft>
                  <a:buClr>
                    <a:srgbClr val="002960"/>
                  </a:buClr>
                  <a:buSzPct val="125000"/>
                  <a:buFont typeface="Arial" charset="0"/>
                  <a:buNone/>
                </a:pPr>
                <a:r>
                  <a:rPr lang="fr-FR" sz="600" b="1" dirty="0">
                    <a:solidFill>
                      <a:srgbClr val="000000"/>
                    </a:solidFill>
                  </a:rPr>
                  <a:t>15/12/2016</a:t>
                </a:r>
              </a:p>
            </p:txBody>
          </p:sp>
          <p:sp>
            <p:nvSpPr>
              <p:cNvPr id="89" name="TextBox 8"/>
              <p:cNvSpPr txBox="1"/>
              <p:nvPr>
                <p:custDataLst>
                  <p:tags r:id="rId22"/>
                </p:custDataLst>
              </p:nvPr>
            </p:nvSpPr>
            <p:spPr>
              <a:xfrm>
                <a:off x="4224236" y="2434460"/>
                <a:ext cx="631605" cy="626875"/>
              </a:xfrm>
              <a:prstGeom prst="rect">
                <a:avLst/>
              </a:prstGeom>
              <a:solidFill>
                <a:srgbClr val="F2F2F2"/>
              </a:solidFill>
              <a:ln>
                <a:noFill/>
              </a:ln>
            </p:spPr>
            <p:txBody>
              <a:bodyPr vert="horz" lIns="0"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None/>
                </a:pPr>
                <a:r>
                  <a:rPr lang="fr-FR" sz="600" b="1" dirty="0">
                    <a:solidFill>
                      <a:srgbClr val="000000"/>
                    </a:solidFill>
                  </a:rPr>
                  <a:t>25/10/2016</a:t>
                </a:r>
              </a:p>
            </p:txBody>
          </p:sp>
          <p:sp>
            <p:nvSpPr>
              <p:cNvPr id="90" name="TextBox 8"/>
              <p:cNvSpPr txBox="1"/>
              <p:nvPr>
                <p:custDataLst>
                  <p:tags r:id="rId23"/>
                </p:custDataLst>
              </p:nvPr>
            </p:nvSpPr>
            <p:spPr>
              <a:xfrm>
                <a:off x="6445939" y="1640611"/>
                <a:ext cx="1066800" cy="708113"/>
              </a:xfrm>
              <a:prstGeom prst="rect">
                <a:avLst/>
              </a:prstGeom>
              <a:solidFill>
                <a:schemeClr val="bg1"/>
              </a:solidFill>
              <a:ln>
                <a:noFill/>
              </a:ln>
            </p:spPr>
            <p:txBody>
              <a:bodyPr vert="horz" lIns="0"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algn="ctr" fontAlgn="base">
                  <a:spcBef>
                    <a:spcPct val="0"/>
                  </a:spcBef>
                  <a:spcAft>
                    <a:spcPct val="0"/>
                  </a:spcAft>
                  <a:buClr>
                    <a:srgbClr val="002960"/>
                  </a:buClr>
                  <a:buSzPct val="125000"/>
                  <a:buFont typeface="Arial" charset="0"/>
                  <a:buNone/>
                </a:pPr>
                <a:endParaRPr lang="en-US" sz="600" b="1" dirty="0">
                  <a:solidFill>
                    <a:srgbClr val="000000"/>
                  </a:solidFill>
                </a:endParaRPr>
              </a:p>
            </p:txBody>
          </p:sp>
          <p:sp>
            <p:nvSpPr>
              <p:cNvPr id="91" name="TextBox 8"/>
              <p:cNvSpPr txBox="1"/>
              <p:nvPr>
                <p:custDataLst>
                  <p:tags r:id="rId24"/>
                </p:custDataLst>
              </p:nvPr>
            </p:nvSpPr>
            <p:spPr>
              <a:xfrm>
                <a:off x="7534803" y="1672267"/>
                <a:ext cx="704879" cy="641328"/>
              </a:xfrm>
              <a:prstGeom prst="rect">
                <a:avLst/>
              </a:prstGeom>
              <a:solidFill>
                <a:schemeClr val="bg1"/>
              </a:solidFill>
              <a:ln>
                <a:noFill/>
              </a:ln>
            </p:spPr>
            <p:txBody>
              <a:bodyPr vert="horz" lIns="0"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None/>
                </a:pPr>
                <a:r>
                  <a:rPr lang="fr-FR" sz="800" b="1" dirty="0">
                    <a:solidFill>
                      <a:srgbClr val="000000"/>
                    </a:solidFill>
                  </a:rPr>
                  <a:t>Utilisateur 1</a:t>
                </a:r>
              </a:p>
            </p:txBody>
          </p:sp>
          <p:sp>
            <p:nvSpPr>
              <p:cNvPr id="92" name="TextBox 8"/>
              <p:cNvSpPr txBox="1"/>
              <p:nvPr>
                <p:custDataLst>
                  <p:tags r:id="rId25"/>
                </p:custDataLst>
              </p:nvPr>
            </p:nvSpPr>
            <p:spPr>
              <a:xfrm>
                <a:off x="4876800" y="2366291"/>
                <a:ext cx="695325" cy="748964"/>
              </a:xfrm>
              <a:prstGeom prst="rect">
                <a:avLst/>
              </a:prstGeom>
              <a:solidFill>
                <a:srgbClr val="F2F2F2"/>
              </a:solidFill>
              <a:ln>
                <a:noFill/>
              </a:ln>
            </p:spPr>
            <p:txBody>
              <a:bodyPr vert="horz" lIns="0"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None/>
                </a:pPr>
                <a:r>
                  <a:rPr lang="fr-FR" sz="600" b="1" dirty="0">
                    <a:solidFill>
                      <a:srgbClr val="000000"/>
                    </a:solidFill>
                  </a:rPr>
                  <a:t>25/11/2016</a:t>
                </a:r>
              </a:p>
            </p:txBody>
          </p:sp>
          <p:sp>
            <p:nvSpPr>
              <p:cNvPr id="93" name="TextBox 14"/>
              <p:cNvSpPr txBox="1"/>
              <p:nvPr>
                <p:custDataLst>
                  <p:tags r:id="rId26"/>
                </p:custDataLst>
              </p:nvPr>
            </p:nvSpPr>
            <p:spPr>
              <a:xfrm>
                <a:off x="5594190" y="2366291"/>
                <a:ext cx="808861" cy="739247"/>
              </a:xfrm>
              <a:prstGeom prst="rect">
                <a:avLst/>
              </a:prstGeom>
              <a:solidFill>
                <a:srgbClr val="FF0000"/>
              </a:solidFill>
              <a:ln>
                <a:noFill/>
              </a:ln>
            </p:spPr>
            <p:txBody>
              <a:bodyPr vert="horz" lIns="76196" tIns="76196" rIns="76196" bIns="76196" rtlCol="0" anchor="t"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Char char="▪"/>
                </a:pPr>
                <a:endParaRPr lang="en-US" b="1" dirty="0">
                  <a:solidFill>
                    <a:srgbClr val="000000"/>
                  </a:solidFill>
                </a:endParaRPr>
              </a:p>
            </p:txBody>
          </p:sp>
          <p:sp>
            <p:nvSpPr>
              <p:cNvPr id="94" name="TextBox 8"/>
              <p:cNvSpPr txBox="1"/>
              <p:nvPr>
                <p:custDataLst>
                  <p:tags r:id="rId27"/>
                </p:custDataLst>
              </p:nvPr>
            </p:nvSpPr>
            <p:spPr>
              <a:xfrm>
                <a:off x="5623054" y="2491136"/>
                <a:ext cx="680252" cy="426390"/>
              </a:xfrm>
              <a:prstGeom prst="rect">
                <a:avLst/>
              </a:prstGeom>
              <a:noFill/>
              <a:ln>
                <a:noFill/>
              </a:ln>
            </p:spPr>
            <p:txBody>
              <a:bodyPr vert="horz" lIns="76196"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39302A"/>
                  </a:buClr>
                  <a:buSzPct val="125000"/>
                  <a:buFont typeface="Arial" charset="0"/>
                  <a:buNone/>
                </a:pPr>
                <a:r>
                  <a:rPr lang="fr-FR" sz="900" b="1" dirty="0">
                    <a:solidFill>
                      <a:srgbClr val="000000"/>
                    </a:solidFill>
                    <a:latin typeface="Arial Narrow" panose="020B0606020202030204" pitchFamily="34" charset="0"/>
                    <a:cs typeface="Calibri" panose="020F0502020204030204" pitchFamily="34" charset="0"/>
                  </a:rPr>
                  <a:t>Pas de progrès</a:t>
                </a:r>
                <a:endParaRPr lang="fr-FR" sz="900" b="1" dirty="0">
                  <a:solidFill>
                    <a:prstClr val="black"/>
                  </a:solidFill>
                  <a:latin typeface="Arial Narrow" panose="020B0606020202030204" pitchFamily="34" charset="0"/>
                  <a:cs typeface="Calibri" panose="020F0502020204030204" pitchFamily="34" charset="0"/>
                </a:endParaRPr>
              </a:p>
            </p:txBody>
          </p:sp>
          <p:sp>
            <p:nvSpPr>
              <p:cNvPr id="95" name="TextBox 14"/>
              <p:cNvSpPr txBox="1"/>
              <p:nvPr>
                <p:custDataLst>
                  <p:tags r:id="rId28"/>
                </p:custDataLst>
              </p:nvPr>
            </p:nvSpPr>
            <p:spPr>
              <a:xfrm>
                <a:off x="5561213" y="3115255"/>
                <a:ext cx="841838" cy="768933"/>
              </a:xfrm>
              <a:prstGeom prst="rect">
                <a:avLst/>
              </a:prstGeom>
              <a:solidFill>
                <a:srgbClr val="FFFF00"/>
              </a:solidFill>
              <a:ln>
                <a:noFill/>
              </a:ln>
            </p:spPr>
            <p:txBody>
              <a:bodyPr vert="horz" lIns="76196" tIns="76196" rIns="76196" bIns="76196" rtlCol="0" anchor="t"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Char char="▪"/>
                </a:pPr>
                <a:endParaRPr lang="en-US" b="1" dirty="0">
                  <a:solidFill>
                    <a:srgbClr val="000000"/>
                  </a:solidFill>
                </a:endParaRPr>
              </a:p>
            </p:txBody>
          </p:sp>
          <p:sp>
            <p:nvSpPr>
              <p:cNvPr id="96" name="TextBox 8"/>
              <p:cNvSpPr txBox="1"/>
              <p:nvPr>
                <p:custDataLst>
                  <p:tags r:id="rId29"/>
                </p:custDataLst>
              </p:nvPr>
            </p:nvSpPr>
            <p:spPr>
              <a:xfrm>
                <a:off x="5590386" y="3262829"/>
                <a:ext cx="763902" cy="397276"/>
              </a:xfrm>
              <a:prstGeom prst="rect">
                <a:avLst/>
              </a:prstGeom>
              <a:noFill/>
              <a:ln>
                <a:noFill/>
              </a:ln>
            </p:spPr>
            <p:txBody>
              <a:bodyPr vert="horz" lIns="76196"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39302A"/>
                  </a:buClr>
                  <a:buSzPct val="125000"/>
                  <a:buFont typeface="Arial" charset="0"/>
                  <a:buNone/>
                </a:pPr>
                <a:r>
                  <a:rPr lang="fr-FR" sz="900" b="1" dirty="0">
                    <a:solidFill>
                      <a:srgbClr val="000000"/>
                    </a:solidFill>
                    <a:latin typeface="Arial Narrow" panose="020B0606020202030204" pitchFamily="34" charset="0"/>
                    <a:cs typeface="Calibri" panose="020F0502020204030204" pitchFamily="34" charset="0"/>
                  </a:rPr>
                  <a:t>Des progrès</a:t>
                </a:r>
                <a:endParaRPr lang="fr-FR" sz="900" b="1" dirty="0">
                  <a:solidFill>
                    <a:prstClr val="black"/>
                  </a:solidFill>
                  <a:latin typeface="Arial Narrow" panose="020B0606020202030204" pitchFamily="34" charset="0"/>
                  <a:cs typeface="Calibri" panose="020F0502020204030204" pitchFamily="34" charset="0"/>
                </a:endParaRPr>
              </a:p>
            </p:txBody>
          </p:sp>
          <p:sp>
            <p:nvSpPr>
              <p:cNvPr id="97" name="TextBox 14"/>
              <p:cNvSpPr txBox="1"/>
              <p:nvPr>
                <p:custDataLst>
                  <p:tags r:id="rId30"/>
                </p:custDataLst>
              </p:nvPr>
            </p:nvSpPr>
            <p:spPr>
              <a:xfrm>
                <a:off x="5572125" y="1621892"/>
                <a:ext cx="830926" cy="718023"/>
              </a:xfrm>
              <a:prstGeom prst="rect">
                <a:avLst/>
              </a:prstGeom>
              <a:solidFill>
                <a:srgbClr val="00B050"/>
              </a:solidFill>
              <a:ln>
                <a:noFill/>
              </a:ln>
            </p:spPr>
            <p:txBody>
              <a:bodyPr vert="horz" lIns="76196" tIns="76196" rIns="76196" bIns="76196" rtlCol="0" anchor="t"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Char char="▪"/>
                </a:pPr>
                <a:endParaRPr lang="en-US" b="1" dirty="0">
                  <a:solidFill>
                    <a:srgbClr val="000000"/>
                  </a:solidFill>
                </a:endParaRPr>
              </a:p>
            </p:txBody>
          </p:sp>
          <p:sp>
            <p:nvSpPr>
              <p:cNvPr id="98" name="TextBox 8"/>
              <p:cNvSpPr txBox="1"/>
              <p:nvPr>
                <p:custDataLst>
                  <p:tags r:id="rId31"/>
                </p:custDataLst>
              </p:nvPr>
            </p:nvSpPr>
            <p:spPr>
              <a:xfrm>
                <a:off x="5623054" y="1756503"/>
                <a:ext cx="680252" cy="426390"/>
              </a:xfrm>
              <a:prstGeom prst="rect">
                <a:avLst/>
              </a:prstGeom>
              <a:noFill/>
              <a:ln>
                <a:noFill/>
              </a:ln>
            </p:spPr>
            <p:txBody>
              <a:bodyPr vert="horz" lIns="76196"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39302A"/>
                  </a:buClr>
                  <a:buSzPct val="125000"/>
                  <a:buFont typeface="Arial" charset="0"/>
                  <a:buNone/>
                </a:pPr>
                <a:r>
                  <a:rPr lang="fr-FR" sz="900" b="1" dirty="0">
                    <a:solidFill>
                      <a:srgbClr val="000000"/>
                    </a:solidFill>
                    <a:latin typeface="Arial Narrow" panose="020B0606020202030204" pitchFamily="34" charset="0"/>
                    <a:cs typeface="Calibri" panose="020F0502020204030204" pitchFamily="34" charset="0"/>
                  </a:rPr>
                  <a:t>Action accomplie</a:t>
                </a:r>
                <a:endParaRPr lang="fr-FR" sz="900" b="1" dirty="0">
                  <a:solidFill>
                    <a:prstClr val="black"/>
                  </a:solidFill>
                  <a:latin typeface="Arial Narrow" panose="020B0606020202030204" pitchFamily="34" charset="0"/>
                  <a:cs typeface="Calibri" panose="020F0502020204030204" pitchFamily="34" charset="0"/>
                </a:endParaRPr>
              </a:p>
            </p:txBody>
          </p:sp>
          <p:sp>
            <p:nvSpPr>
              <p:cNvPr id="99" name="TextBox 8"/>
              <p:cNvSpPr txBox="1"/>
              <p:nvPr>
                <p:custDataLst>
                  <p:tags r:id="rId32"/>
                </p:custDataLst>
              </p:nvPr>
            </p:nvSpPr>
            <p:spPr>
              <a:xfrm>
                <a:off x="817550" y="2411828"/>
                <a:ext cx="566139" cy="418602"/>
              </a:xfrm>
              <a:prstGeom prst="rect">
                <a:avLst/>
              </a:prstGeom>
              <a:solidFill>
                <a:srgbClr val="F2F2F2"/>
              </a:solidFill>
              <a:ln>
                <a:noFill/>
              </a:ln>
            </p:spPr>
            <p:txBody>
              <a:bodyPr vert="horz" lIns="76196"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None/>
                </a:pPr>
                <a:r>
                  <a:rPr lang="fr-FR" sz="800" b="1" dirty="0">
                    <a:solidFill>
                      <a:srgbClr val="000000"/>
                    </a:solidFill>
                  </a:rPr>
                  <a:t>S-É</a:t>
                </a:r>
              </a:p>
            </p:txBody>
          </p:sp>
          <p:sp>
            <p:nvSpPr>
              <p:cNvPr id="100" name="TextBox 8"/>
              <p:cNvSpPr txBox="1"/>
              <p:nvPr>
                <p:custDataLst>
                  <p:tags r:id="rId33"/>
                </p:custDataLst>
              </p:nvPr>
            </p:nvSpPr>
            <p:spPr>
              <a:xfrm>
                <a:off x="8311359" y="1697679"/>
                <a:ext cx="359582" cy="534571"/>
              </a:xfrm>
              <a:prstGeom prst="rect">
                <a:avLst/>
              </a:prstGeom>
              <a:solidFill>
                <a:schemeClr val="bg1"/>
              </a:solidFill>
              <a:ln>
                <a:noFill/>
              </a:ln>
            </p:spPr>
            <p:txBody>
              <a:bodyPr vert="horz" lIns="0"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algn="ctr" fontAlgn="base">
                  <a:spcBef>
                    <a:spcPct val="0"/>
                  </a:spcBef>
                  <a:spcAft>
                    <a:spcPct val="0"/>
                  </a:spcAft>
                  <a:buClr>
                    <a:srgbClr val="002960"/>
                  </a:buClr>
                  <a:buSzPct val="125000"/>
                  <a:buFont typeface="Arial" charset="0"/>
                  <a:buNone/>
                </a:pPr>
                <a:r>
                  <a:rPr lang="fr-FR" sz="800" b="1" dirty="0">
                    <a:solidFill>
                      <a:srgbClr val="000000"/>
                    </a:solidFill>
                  </a:rPr>
                  <a:t>1</a:t>
                </a:r>
              </a:p>
            </p:txBody>
          </p:sp>
          <p:sp>
            <p:nvSpPr>
              <p:cNvPr id="101" name="TextBox 8"/>
              <p:cNvSpPr txBox="1"/>
              <p:nvPr>
                <p:custDataLst>
                  <p:tags r:id="rId34"/>
                </p:custDataLst>
              </p:nvPr>
            </p:nvSpPr>
            <p:spPr>
              <a:xfrm>
                <a:off x="8322162" y="2429401"/>
                <a:ext cx="415440" cy="626875"/>
              </a:xfrm>
              <a:prstGeom prst="rect">
                <a:avLst/>
              </a:prstGeom>
              <a:solidFill>
                <a:srgbClr val="F2F2F2"/>
              </a:solidFill>
              <a:ln>
                <a:noFill/>
              </a:ln>
            </p:spPr>
            <p:txBody>
              <a:bodyPr vert="horz" lIns="0"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algn="ctr" fontAlgn="base">
                  <a:spcBef>
                    <a:spcPct val="0"/>
                  </a:spcBef>
                  <a:spcAft>
                    <a:spcPct val="0"/>
                  </a:spcAft>
                  <a:buClr>
                    <a:srgbClr val="002960"/>
                  </a:buClr>
                  <a:buSzPct val="125000"/>
                  <a:buFont typeface="Arial" charset="0"/>
                  <a:buNone/>
                </a:pPr>
                <a:r>
                  <a:rPr lang="fr-FR" sz="800" b="1" dirty="0">
                    <a:solidFill>
                      <a:srgbClr val="000000"/>
                    </a:solidFill>
                  </a:rPr>
                  <a:t>2</a:t>
                </a:r>
              </a:p>
            </p:txBody>
          </p:sp>
          <p:sp>
            <p:nvSpPr>
              <p:cNvPr id="102" name="TextBox 8"/>
              <p:cNvSpPr txBox="1"/>
              <p:nvPr>
                <p:custDataLst>
                  <p:tags r:id="rId35"/>
                </p:custDataLst>
              </p:nvPr>
            </p:nvSpPr>
            <p:spPr>
              <a:xfrm>
                <a:off x="7534803" y="3165897"/>
                <a:ext cx="704879" cy="641328"/>
              </a:xfrm>
              <a:prstGeom prst="rect">
                <a:avLst/>
              </a:prstGeom>
              <a:solidFill>
                <a:schemeClr val="bg1"/>
              </a:solidFill>
              <a:ln>
                <a:noFill/>
              </a:ln>
            </p:spPr>
            <p:txBody>
              <a:bodyPr vert="horz" lIns="0"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None/>
                </a:pPr>
                <a:r>
                  <a:rPr lang="fr-FR" sz="800" b="1" dirty="0">
                    <a:solidFill>
                      <a:srgbClr val="000000"/>
                    </a:solidFill>
                  </a:rPr>
                  <a:t>Utilisateur 4</a:t>
                </a:r>
              </a:p>
            </p:txBody>
          </p:sp>
          <p:sp>
            <p:nvSpPr>
              <p:cNvPr id="105" name="TextBox 8"/>
              <p:cNvSpPr txBox="1"/>
              <p:nvPr>
                <p:custDataLst>
                  <p:tags r:id="rId36"/>
                </p:custDataLst>
              </p:nvPr>
            </p:nvSpPr>
            <p:spPr>
              <a:xfrm>
                <a:off x="7542723" y="2429401"/>
                <a:ext cx="661444" cy="626875"/>
              </a:xfrm>
              <a:prstGeom prst="rect">
                <a:avLst/>
              </a:prstGeom>
              <a:solidFill>
                <a:srgbClr val="F2F2F2"/>
              </a:solidFill>
              <a:ln>
                <a:noFill/>
              </a:ln>
            </p:spPr>
            <p:txBody>
              <a:bodyPr vert="horz" lIns="0"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None/>
                </a:pPr>
                <a:r>
                  <a:rPr lang="fr-FR" sz="800" b="1" dirty="0">
                    <a:solidFill>
                      <a:srgbClr val="000000"/>
                    </a:solidFill>
                  </a:rPr>
                  <a:t>Admin 3</a:t>
                </a:r>
              </a:p>
            </p:txBody>
          </p:sp>
          <p:sp>
            <p:nvSpPr>
              <p:cNvPr id="106" name="TextBox 8"/>
              <p:cNvSpPr txBox="1"/>
              <p:nvPr>
                <p:custDataLst>
                  <p:tags r:id="rId37"/>
                </p:custDataLst>
              </p:nvPr>
            </p:nvSpPr>
            <p:spPr>
              <a:xfrm>
                <a:off x="8311359" y="3155786"/>
                <a:ext cx="359582" cy="534571"/>
              </a:xfrm>
              <a:prstGeom prst="rect">
                <a:avLst/>
              </a:prstGeom>
              <a:solidFill>
                <a:schemeClr val="bg1"/>
              </a:solidFill>
              <a:ln>
                <a:noFill/>
              </a:ln>
            </p:spPr>
            <p:txBody>
              <a:bodyPr vert="horz" lIns="0"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algn="ctr" fontAlgn="base">
                  <a:spcBef>
                    <a:spcPct val="0"/>
                  </a:spcBef>
                  <a:spcAft>
                    <a:spcPct val="0"/>
                  </a:spcAft>
                  <a:buClr>
                    <a:srgbClr val="002960"/>
                  </a:buClr>
                  <a:buSzPct val="125000"/>
                  <a:buFont typeface="Arial" charset="0"/>
                  <a:buNone/>
                </a:pPr>
                <a:r>
                  <a:rPr lang="fr-FR" sz="800" b="1" dirty="0">
                    <a:solidFill>
                      <a:srgbClr val="000000"/>
                    </a:solidFill>
                  </a:rPr>
                  <a:t>0</a:t>
                </a:r>
              </a:p>
            </p:txBody>
          </p:sp>
          <p:sp>
            <p:nvSpPr>
              <p:cNvPr id="107" name="TextBox 8"/>
              <p:cNvSpPr txBox="1"/>
              <p:nvPr>
                <p:custDataLst>
                  <p:tags r:id="rId38"/>
                </p:custDataLst>
              </p:nvPr>
            </p:nvSpPr>
            <p:spPr>
              <a:xfrm>
                <a:off x="6445939" y="2374590"/>
                <a:ext cx="978789" cy="736496"/>
              </a:xfrm>
              <a:prstGeom prst="rect">
                <a:avLst/>
              </a:prstGeom>
              <a:solidFill>
                <a:srgbClr val="F2F2F2"/>
              </a:solidFill>
              <a:ln>
                <a:noFill/>
              </a:ln>
            </p:spPr>
            <p:txBody>
              <a:bodyPr vert="horz" lIns="0"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None/>
                </a:pPr>
                <a:r>
                  <a:rPr lang="fr-FR" sz="800" b="1" dirty="0">
                    <a:solidFill>
                      <a:srgbClr val="000000"/>
                    </a:solidFill>
                  </a:rPr>
                  <a:t>Formation annulée</a:t>
                </a:r>
              </a:p>
            </p:txBody>
          </p:sp>
          <p:sp>
            <p:nvSpPr>
              <p:cNvPr id="108" name="TextBox 8"/>
              <p:cNvSpPr txBox="1"/>
              <p:nvPr>
                <p:custDataLst>
                  <p:tags r:id="rId39"/>
                </p:custDataLst>
              </p:nvPr>
            </p:nvSpPr>
            <p:spPr>
              <a:xfrm>
                <a:off x="6459254" y="3180764"/>
                <a:ext cx="1026785" cy="641328"/>
              </a:xfrm>
              <a:prstGeom prst="rect">
                <a:avLst/>
              </a:prstGeom>
              <a:solidFill>
                <a:schemeClr val="bg1"/>
              </a:solidFill>
              <a:ln>
                <a:noFill/>
              </a:ln>
            </p:spPr>
            <p:txBody>
              <a:bodyPr vert="horz" lIns="0"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None/>
                </a:pPr>
                <a:r>
                  <a:rPr lang="fr-FR" sz="800" b="1" dirty="0">
                    <a:solidFill>
                      <a:srgbClr val="000000"/>
                    </a:solidFill>
                  </a:rPr>
                  <a:t>Responsables contactés</a:t>
                </a:r>
              </a:p>
            </p:txBody>
          </p:sp>
          <p:sp>
            <p:nvSpPr>
              <p:cNvPr id="54" name="TextBox 8"/>
              <p:cNvSpPr txBox="1"/>
              <p:nvPr>
                <p:custDataLst>
                  <p:tags r:id="rId40"/>
                </p:custDataLst>
              </p:nvPr>
            </p:nvSpPr>
            <p:spPr>
              <a:xfrm>
                <a:off x="88210" y="1210651"/>
                <a:ext cx="566139" cy="418602"/>
              </a:xfrm>
              <a:prstGeom prst="rect">
                <a:avLst/>
              </a:prstGeom>
              <a:solidFill>
                <a:srgbClr val="E2E2E2"/>
              </a:solidFill>
              <a:ln>
                <a:noFill/>
              </a:ln>
            </p:spPr>
            <p:txBody>
              <a:bodyPr vert="horz" lIns="76196"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None/>
                </a:pPr>
                <a:r>
                  <a:rPr lang="fr-FR" sz="900" b="1" dirty="0">
                    <a:solidFill>
                      <a:prstClr val="black"/>
                    </a:solidFill>
                  </a:rPr>
                  <a:t>Région</a:t>
                </a:r>
                <a:endParaRPr lang="fr-FR" sz="900" b="1" dirty="0">
                  <a:solidFill>
                    <a:srgbClr val="000000"/>
                  </a:solidFill>
                </a:endParaRPr>
              </a:p>
            </p:txBody>
          </p:sp>
          <p:sp>
            <p:nvSpPr>
              <p:cNvPr id="55" name="TextBox 8"/>
              <p:cNvSpPr txBox="1"/>
              <p:nvPr>
                <p:custDataLst>
                  <p:tags r:id="rId41"/>
                </p:custDataLst>
              </p:nvPr>
            </p:nvSpPr>
            <p:spPr>
              <a:xfrm>
                <a:off x="867740" y="1210651"/>
                <a:ext cx="712955" cy="418602"/>
              </a:xfrm>
              <a:prstGeom prst="rect">
                <a:avLst/>
              </a:prstGeom>
              <a:solidFill>
                <a:srgbClr val="E2E2E2"/>
              </a:solidFill>
              <a:ln>
                <a:noFill/>
              </a:ln>
            </p:spPr>
            <p:txBody>
              <a:bodyPr vert="horz" lIns="76196"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None/>
                </a:pPr>
                <a:r>
                  <a:rPr lang="fr-FR" sz="900" b="1" dirty="0">
                    <a:solidFill>
                      <a:prstClr val="black"/>
                    </a:solidFill>
                  </a:rPr>
                  <a:t>Catégorie</a:t>
                </a:r>
                <a:endParaRPr lang="fr-FR" sz="900" b="1" dirty="0">
                  <a:solidFill>
                    <a:srgbClr val="000000"/>
                  </a:solidFill>
                </a:endParaRPr>
              </a:p>
            </p:txBody>
          </p:sp>
          <p:sp>
            <p:nvSpPr>
              <p:cNvPr id="56" name="TextBox 8"/>
              <p:cNvSpPr txBox="1"/>
              <p:nvPr>
                <p:custDataLst>
                  <p:tags r:id="rId42"/>
                </p:custDataLst>
              </p:nvPr>
            </p:nvSpPr>
            <p:spPr>
              <a:xfrm>
                <a:off x="2313434" y="1210651"/>
                <a:ext cx="917857" cy="418602"/>
              </a:xfrm>
              <a:prstGeom prst="rect">
                <a:avLst/>
              </a:prstGeom>
              <a:solidFill>
                <a:srgbClr val="E2E2E2"/>
              </a:solidFill>
              <a:ln>
                <a:noFill/>
              </a:ln>
            </p:spPr>
            <p:txBody>
              <a:bodyPr vert="horz" lIns="76196"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None/>
                </a:pPr>
                <a:r>
                  <a:rPr lang="fr-FR" sz="900" b="1" dirty="0">
                    <a:solidFill>
                      <a:prstClr val="black"/>
                    </a:solidFill>
                  </a:rPr>
                  <a:t>Description</a:t>
                </a:r>
                <a:endParaRPr lang="fr-FR" sz="900" b="1" dirty="0">
                  <a:solidFill>
                    <a:srgbClr val="000000"/>
                  </a:solidFill>
                </a:endParaRPr>
              </a:p>
            </p:txBody>
          </p:sp>
          <p:sp>
            <p:nvSpPr>
              <p:cNvPr id="57" name="TextBox 8"/>
              <p:cNvSpPr txBox="1"/>
              <p:nvPr>
                <p:custDataLst>
                  <p:tags r:id="rId43"/>
                </p:custDataLst>
              </p:nvPr>
            </p:nvSpPr>
            <p:spPr>
              <a:xfrm>
                <a:off x="4247147" y="1210651"/>
                <a:ext cx="532372" cy="418602"/>
              </a:xfrm>
              <a:prstGeom prst="rect">
                <a:avLst/>
              </a:prstGeom>
              <a:solidFill>
                <a:srgbClr val="E2E2E2"/>
              </a:solidFill>
              <a:ln>
                <a:noFill/>
              </a:ln>
            </p:spPr>
            <p:txBody>
              <a:bodyPr vert="horz" lIns="76196"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None/>
                </a:pPr>
                <a:r>
                  <a:rPr lang="fr-FR" sz="900" b="1" dirty="0">
                    <a:solidFill>
                      <a:prstClr val="black"/>
                    </a:solidFill>
                  </a:rPr>
                  <a:t>Date crée</a:t>
                </a:r>
                <a:endParaRPr lang="fr-FR" sz="900" b="1" dirty="0">
                  <a:solidFill>
                    <a:srgbClr val="000000"/>
                  </a:solidFill>
                </a:endParaRPr>
              </a:p>
            </p:txBody>
          </p:sp>
          <p:sp>
            <p:nvSpPr>
              <p:cNvPr id="58" name="TextBox 8"/>
              <p:cNvSpPr txBox="1"/>
              <p:nvPr>
                <p:custDataLst>
                  <p:tags r:id="rId44"/>
                </p:custDataLst>
              </p:nvPr>
            </p:nvSpPr>
            <p:spPr>
              <a:xfrm>
                <a:off x="4905452" y="1210651"/>
                <a:ext cx="717602" cy="418602"/>
              </a:xfrm>
              <a:prstGeom prst="rect">
                <a:avLst/>
              </a:prstGeom>
              <a:solidFill>
                <a:srgbClr val="E2E2E2"/>
              </a:solidFill>
              <a:ln>
                <a:noFill/>
              </a:ln>
            </p:spPr>
            <p:txBody>
              <a:bodyPr vert="horz" lIns="76196"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None/>
                </a:pPr>
                <a:r>
                  <a:rPr lang="fr-FR" sz="900" b="1" dirty="0">
                    <a:solidFill>
                      <a:prstClr val="black"/>
                    </a:solidFill>
                  </a:rPr>
                  <a:t>Echéance</a:t>
                </a:r>
                <a:endParaRPr lang="fr-FR" sz="900" b="1" dirty="0">
                  <a:solidFill>
                    <a:srgbClr val="000000"/>
                  </a:solidFill>
                </a:endParaRPr>
              </a:p>
            </p:txBody>
          </p:sp>
          <p:sp>
            <p:nvSpPr>
              <p:cNvPr id="59" name="TextBox 8"/>
              <p:cNvSpPr txBox="1"/>
              <p:nvPr>
                <p:custDataLst>
                  <p:tags r:id="rId45"/>
                </p:custDataLst>
              </p:nvPr>
            </p:nvSpPr>
            <p:spPr>
              <a:xfrm>
                <a:off x="5639819" y="1210651"/>
                <a:ext cx="717602" cy="418602"/>
              </a:xfrm>
              <a:prstGeom prst="rect">
                <a:avLst/>
              </a:prstGeom>
              <a:solidFill>
                <a:srgbClr val="E2E2E2"/>
              </a:solidFill>
              <a:ln>
                <a:noFill/>
              </a:ln>
            </p:spPr>
            <p:txBody>
              <a:bodyPr vert="horz" lIns="76196"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None/>
                </a:pPr>
                <a:r>
                  <a:rPr lang="fr-FR" sz="900" b="1" dirty="0">
                    <a:solidFill>
                      <a:prstClr val="black"/>
                    </a:solidFill>
                  </a:rPr>
                  <a:t>Statut</a:t>
                </a:r>
                <a:endParaRPr lang="fr-FR" sz="900" b="1" dirty="0">
                  <a:solidFill>
                    <a:srgbClr val="000000"/>
                  </a:solidFill>
                </a:endParaRPr>
              </a:p>
            </p:txBody>
          </p:sp>
          <p:sp>
            <p:nvSpPr>
              <p:cNvPr id="60" name="TextBox 8"/>
              <p:cNvSpPr txBox="1"/>
              <p:nvPr>
                <p:custDataLst>
                  <p:tags r:id="rId46"/>
                </p:custDataLst>
              </p:nvPr>
            </p:nvSpPr>
            <p:spPr>
              <a:xfrm>
                <a:off x="6479400" y="1210651"/>
                <a:ext cx="945327" cy="418602"/>
              </a:xfrm>
              <a:prstGeom prst="rect">
                <a:avLst/>
              </a:prstGeom>
              <a:solidFill>
                <a:srgbClr val="E2E2E2"/>
              </a:solidFill>
              <a:ln>
                <a:noFill/>
              </a:ln>
            </p:spPr>
            <p:txBody>
              <a:bodyPr vert="horz" lIns="76196"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None/>
                </a:pPr>
                <a:r>
                  <a:rPr lang="fr-FR" sz="900" b="1" dirty="0">
                    <a:solidFill>
                      <a:prstClr val="black"/>
                    </a:solidFill>
                  </a:rPr>
                  <a:t>Explication du statut</a:t>
                </a:r>
                <a:endParaRPr lang="fr-FR" sz="900" b="1" dirty="0">
                  <a:solidFill>
                    <a:srgbClr val="000000"/>
                  </a:solidFill>
                </a:endParaRPr>
              </a:p>
            </p:txBody>
          </p:sp>
          <p:sp>
            <p:nvSpPr>
              <p:cNvPr id="61" name="TextBox 8"/>
              <p:cNvSpPr txBox="1"/>
              <p:nvPr>
                <p:custDataLst>
                  <p:tags r:id="rId47"/>
                </p:custDataLst>
              </p:nvPr>
            </p:nvSpPr>
            <p:spPr>
              <a:xfrm>
                <a:off x="7499313" y="1200235"/>
                <a:ext cx="886633" cy="418602"/>
              </a:xfrm>
              <a:prstGeom prst="rect">
                <a:avLst/>
              </a:prstGeom>
              <a:solidFill>
                <a:srgbClr val="E2E2E2"/>
              </a:solidFill>
              <a:ln>
                <a:noFill/>
              </a:ln>
            </p:spPr>
            <p:txBody>
              <a:bodyPr vert="horz" lIns="76196"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None/>
                </a:pPr>
                <a:r>
                  <a:rPr lang="fr-FR" sz="800" b="1" dirty="0">
                    <a:solidFill>
                      <a:prstClr val="black"/>
                    </a:solidFill>
                  </a:rPr>
                  <a:t>Responsable</a:t>
                </a:r>
                <a:endParaRPr lang="fr-FR" sz="800" b="1" dirty="0">
                  <a:solidFill>
                    <a:srgbClr val="000000"/>
                  </a:solidFill>
                </a:endParaRPr>
              </a:p>
            </p:txBody>
          </p:sp>
          <p:sp>
            <p:nvSpPr>
              <p:cNvPr id="62" name="TextBox 8"/>
              <p:cNvSpPr txBox="1"/>
              <p:nvPr>
                <p:custDataLst>
                  <p:tags r:id="rId48"/>
                </p:custDataLst>
              </p:nvPr>
            </p:nvSpPr>
            <p:spPr>
              <a:xfrm>
                <a:off x="8291919" y="1200235"/>
                <a:ext cx="445683" cy="418602"/>
              </a:xfrm>
              <a:prstGeom prst="rect">
                <a:avLst/>
              </a:prstGeom>
              <a:solidFill>
                <a:srgbClr val="E2E2E2"/>
              </a:solidFill>
              <a:ln>
                <a:noFill/>
              </a:ln>
            </p:spPr>
            <p:txBody>
              <a:bodyPr vert="horz" lIns="76196"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None/>
                </a:pPr>
                <a:r>
                  <a:rPr lang="fr-FR" sz="700" b="1" dirty="0">
                    <a:solidFill>
                      <a:prstClr val="black"/>
                    </a:solidFill>
                  </a:rPr>
                  <a:t># de com…</a:t>
                </a:r>
                <a:endParaRPr lang="fr-FR" sz="700" b="1" dirty="0">
                  <a:solidFill>
                    <a:srgbClr val="000000"/>
                  </a:solidFill>
                </a:endParaRPr>
              </a:p>
            </p:txBody>
          </p:sp>
        </p:grpSp>
      </p:grpSp>
      <p:cxnSp>
        <p:nvCxnSpPr>
          <p:cNvPr id="18" name="Elbow Connector 17"/>
          <p:cNvCxnSpPr>
            <a:cxnSpLocks/>
            <a:stCxn id="17" idx="0"/>
          </p:cNvCxnSpPr>
          <p:nvPr/>
        </p:nvCxnSpPr>
        <p:spPr>
          <a:xfrm flipH="1" flipV="1">
            <a:off x="2486738" y="3177825"/>
            <a:ext cx="25197" cy="790418"/>
          </a:xfrm>
          <a:prstGeom prst="straightConnector1">
            <a:avLst/>
          </a:prstGeom>
          <a:ln w="28575">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109" name="Rectangle 108"/>
          <p:cNvSpPr/>
          <p:nvPr>
            <p:custDataLst>
              <p:tags r:id="rId9"/>
            </p:custDataLst>
          </p:nvPr>
        </p:nvSpPr>
        <p:spPr>
          <a:xfrm>
            <a:off x="51354" y="2370760"/>
            <a:ext cx="8770272" cy="699662"/>
          </a:xfrm>
          <a:prstGeom prst="rect">
            <a:avLst/>
          </a:prstGeom>
          <a:noFill/>
          <a:ln w="63500" algn="ctr">
            <a:solidFill>
              <a:schemeClr val="folHlink"/>
            </a:solidFill>
            <a:miter lim="800000"/>
            <a:headEnd/>
            <a:tailEnd/>
          </a:ln>
          <a:extLst>
            <a:ext uri="{909E8E84-426E-40dd-AFC4-6F175D3DCCD1}">
              <a14:hiddenFill xmlns="" xmlns:a14="http://schemas.microsoft.com/office/drawing/2010/main">
                <a:solidFill>
                  <a:srgbClr val="FFFFFF"/>
                </a:solidFill>
              </a14:hiddenFill>
            </a:ext>
          </a:extLst>
        </p:spPr>
        <p:txBody>
          <a:bodyPr anchor="ctr"/>
          <a:lstStyle/>
          <a:p>
            <a:pPr algn="ctr" fontAlgn="base">
              <a:spcBef>
                <a:spcPct val="0"/>
              </a:spcBef>
              <a:spcAft>
                <a:spcPct val="0"/>
              </a:spcAft>
            </a:pPr>
            <a:endParaRPr lang="en-US" sz="1599" dirty="0" err="1">
              <a:solidFill>
                <a:srgbClr val="000000"/>
              </a:solidFill>
            </a:endParaRPr>
          </a:p>
        </p:txBody>
      </p:sp>
    </p:spTree>
    <p:custDataLst>
      <p:tags r:id="rId2"/>
    </p:custDataLst>
    <p:extLst>
      <p:ext uri="{BB962C8B-B14F-4D97-AF65-F5344CB8AC3E}">
        <p14:creationId xmlns:p14="http://schemas.microsoft.com/office/powerpoint/2010/main" val="156478961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1"/>
          <p:cNvSpPr txBox="1">
            <a:spLocks/>
          </p:cNvSpPr>
          <p:nvPr/>
        </p:nvSpPr>
        <p:spPr>
          <a:xfrm>
            <a:off x="119582" y="230564"/>
            <a:ext cx="6993431" cy="57310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685211" rtl="0" eaLnBrk="1" fontAlgn="base" hangingPunct="1">
              <a:spcBef>
                <a:spcPct val="0"/>
              </a:spcBef>
              <a:spcAft>
                <a:spcPct val="0"/>
              </a:spcAft>
              <a:tabLst>
                <a:tab pos="206535" algn="l"/>
              </a:tabLst>
              <a:defRPr sz="1454" b="1" baseline="0">
                <a:solidFill>
                  <a:schemeClr val="tx2"/>
                </a:solidFill>
                <a:latin typeface="+mj-lt"/>
                <a:ea typeface="Arial Unicode MS" pitchFamily="34" charset="-128"/>
                <a:cs typeface="Arial Unicode MS" pitchFamily="34" charset="-128"/>
              </a:defRPr>
            </a:lvl1pPr>
            <a:lvl2pPr algn="l" defTabSz="685211" rtl="0" eaLnBrk="1" fontAlgn="base" hangingPunct="1">
              <a:spcBef>
                <a:spcPct val="0"/>
              </a:spcBef>
              <a:spcAft>
                <a:spcPct val="0"/>
              </a:spcAft>
              <a:defRPr sz="1454" b="1">
                <a:solidFill>
                  <a:schemeClr val="tx2"/>
                </a:solidFill>
                <a:latin typeface="Arial" charset="0"/>
              </a:defRPr>
            </a:lvl2pPr>
            <a:lvl3pPr algn="l" defTabSz="685211" rtl="0" eaLnBrk="1" fontAlgn="base" hangingPunct="1">
              <a:spcBef>
                <a:spcPct val="0"/>
              </a:spcBef>
              <a:spcAft>
                <a:spcPct val="0"/>
              </a:spcAft>
              <a:defRPr sz="1454" b="1">
                <a:solidFill>
                  <a:schemeClr val="tx2"/>
                </a:solidFill>
                <a:latin typeface="Arial" charset="0"/>
              </a:defRPr>
            </a:lvl3pPr>
            <a:lvl4pPr algn="l" defTabSz="685211" rtl="0" eaLnBrk="1" fontAlgn="base" hangingPunct="1">
              <a:spcBef>
                <a:spcPct val="0"/>
              </a:spcBef>
              <a:spcAft>
                <a:spcPct val="0"/>
              </a:spcAft>
              <a:defRPr sz="1454" b="1">
                <a:solidFill>
                  <a:schemeClr val="tx2"/>
                </a:solidFill>
                <a:latin typeface="Arial" charset="0"/>
              </a:defRPr>
            </a:lvl4pPr>
            <a:lvl5pPr algn="l" defTabSz="685211" rtl="0" eaLnBrk="1" fontAlgn="base" hangingPunct="1">
              <a:spcBef>
                <a:spcPct val="0"/>
              </a:spcBef>
              <a:spcAft>
                <a:spcPct val="0"/>
              </a:spcAft>
              <a:defRPr sz="1454" b="1">
                <a:solidFill>
                  <a:schemeClr val="tx2"/>
                </a:solidFill>
                <a:latin typeface="Arial" charset="0"/>
              </a:defRPr>
            </a:lvl5pPr>
            <a:lvl6pPr marL="349895" algn="l" defTabSz="685211" rtl="0" eaLnBrk="1" fontAlgn="base" hangingPunct="1">
              <a:spcBef>
                <a:spcPct val="0"/>
              </a:spcBef>
              <a:spcAft>
                <a:spcPct val="0"/>
              </a:spcAft>
              <a:defRPr sz="1454" b="1">
                <a:solidFill>
                  <a:schemeClr val="tx2"/>
                </a:solidFill>
                <a:latin typeface="Arial" charset="0"/>
              </a:defRPr>
            </a:lvl6pPr>
            <a:lvl7pPr marL="699790" algn="l" defTabSz="685211" rtl="0" eaLnBrk="1" fontAlgn="base" hangingPunct="1">
              <a:spcBef>
                <a:spcPct val="0"/>
              </a:spcBef>
              <a:spcAft>
                <a:spcPct val="0"/>
              </a:spcAft>
              <a:defRPr sz="1454" b="1">
                <a:solidFill>
                  <a:schemeClr val="tx2"/>
                </a:solidFill>
                <a:latin typeface="Arial" charset="0"/>
              </a:defRPr>
            </a:lvl7pPr>
            <a:lvl8pPr marL="1049685" algn="l" defTabSz="685211" rtl="0" eaLnBrk="1" fontAlgn="base" hangingPunct="1">
              <a:spcBef>
                <a:spcPct val="0"/>
              </a:spcBef>
              <a:spcAft>
                <a:spcPct val="0"/>
              </a:spcAft>
              <a:defRPr sz="1454" b="1">
                <a:solidFill>
                  <a:schemeClr val="tx2"/>
                </a:solidFill>
                <a:latin typeface="Arial" charset="0"/>
              </a:defRPr>
            </a:lvl8pPr>
            <a:lvl9pPr marL="1399581" algn="l" defTabSz="685211" rtl="0" eaLnBrk="1" fontAlgn="base" hangingPunct="1">
              <a:spcBef>
                <a:spcPct val="0"/>
              </a:spcBef>
              <a:spcAft>
                <a:spcPct val="0"/>
              </a:spcAft>
              <a:defRPr sz="1454" b="1">
                <a:solidFill>
                  <a:schemeClr val="tx2"/>
                </a:solidFill>
                <a:latin typeface="Arial" charset="0"/>
              </a:defRPr>
            </a:lvl9pPr>
          </a:lstStyle>
          <a:p>
            <a:pPr marL="685419"/>
            <a:r>
              <a:rPr lang="fr-FR" sz="1862" kern="0" dirty="0">
                <a:solidFill>
                  <a:srgbClr val="39302A"/>
                </a:solidFill>
              </a:rPr>
              <a:t>La plupart des mesures/actions tombent dans l’une des catégories suivantes.</a:t>
            </a:r>
          </a:p>
        </p:txBody>
      </p:sp>
      <p:graphicFrame>
        <p:nvGraphicFramePr>
          <p:cNvPr id="59" name="Object 58" hidden="1"/>
          <p:cNvGraphicFramePr>
            <a:graphicFrameLocks/>
          </p:cNvGraphicFramePr>
          <p:nvPr>
            <p:custDataLst>
              <p:tags r:id="rId2"/>
            </p:custDataLst>
          </p:nvPr>
        </p:nvGraphicFramePr>
        <p:xfrm>
          <a:off x="1960322" y="397"/>
          <a:ext cx="89298" cy="158730"/>
        </p:xfrm>
        <a:graphic>
          <a:graphicData uri="http://schemas.openxmlformats.org/presentationml/2006/ole">
            <mc:AlternateContent xmlns:mc="http://schemas.openxmlformats.org/markup-compatibility/2006">
              <mc:Choice xmlns:v="urn:schemas-microsoft-com:vml" Requires="v">
                <p:oleObj spid="_x0000_s16385" name="think-cell Slide" r:id="rId17" imgW="360" imgH="360" progId="">
                  <p:embed/>
                </p:oleObj>
              </mc:Choice>
              <mc:Fallback>
                <p:oleObj name="think-cell Slide" r:id="rId17" imgW="360" imgH="360" progId="">
                  <p:embed/>
                  <p:pic>
                    <p:nvPicPr>
                      <p:cNvPr id="59" name="Object 58" hidden="1"/>
                      <p:cNvPicPr>
                        <a:picLocks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960322" y="397"/>
                        <a:ext cx="89298" cy="15873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14" name="TextBox 6"/>
          <p:cNvSpPr txBox="1">
            <a:spLocks/>
          </p:cNvSpPr>
          <p:nvPr>
            <p:custDataLst>
              <p:tags r:id="rId3"/>
            </p:custDataLst>
          </p:nvPr>
        </p:nvSpPr>
        <p:spPr bwMode="gray">
          <a:xfrm>
            <a:off x="97143" y="850057"/>
            <a:ext cx="8685972" cy="5438311"/>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txBody>
          <a:bodyPr vert="horz" lIns="57123" tIns="57123" rIns="57123" bIns="57123" rtlCol="0" anchor="t" anchorCtr="0">
            <a:noAutofit/>
          </a:bodyPr>
          <a:lstStyle>
            <a:defPPr>
              <a:defRPr lang="en-US"/>
            </a:defPPr>
            <a:lvl1pPr marL="0" lvl="0" indent="0" defTabSz="895350" eaLnBrk="0" hangingPunct="0">
              <a:buClr>
                <a:schemeClr val="tx2"/>
              </a:buClr>
              <a:buFontTx/>
              <a:buNone/>
              <a:defRPr sz="1500">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2960"/>
              </a:buClr>
            </a:pPr>
            <a:endParaRPr lang="en-US" sz="1372" dirty="0">
              <a:solidFill>
                <a:srgbClr val="000000"/>
              </a:solidFill>
            </a:endParaRPr>
          </a:p>
        </p:txBody>
      </p:sp>
      <p:sp>
        <p:nvSpPr>
          <p:cNvPr id="117" name="Rectangle 3"/>
          <p:cNvSpPr txBox="1">
            <a:spLocks/>
          </p:cNvSpPr>
          <p:nvPr/>
        </p:nvSpPr>
        <p:spPr bwMode="gray">
          <a:xfrm>
            <a:off x="286107" y="912630"/>
            <a:ext cx="2344854" cy="211148"/>
          </a:xfrm>
          <a:prstGeom prst="rect">
            <a:avLst/>
          </a:prstGeom>
        </p:spPr>
        <p:txBody>
          <a:bodyPr vert="horz" wrap="square" lIns="0" tIns="0" rIns="0" bIns="0" rtlCol="0" anchor="b">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2960"/>
              </a:buClr>
            </a:pPr>
            <a:r>
              <a:rPr lang="fr-FR" sz="1372" b="1" dirty="0">
                <a:solidFill>
                  <a:srgbClr val="002960"/>
                </a:solidFill>
              </a:rPr>
              <a:t>Catégorie</a:t>
            </a:r>
          </a:p>
        </p:txBody>
      </p:sp>
      <p:sp>
        <p:nvSpPr>
          <p:cNvPr id="118" name="Rectangle 3"/>
          <p:cNvSpPr txBox="1">
            <a:spLocks/>
          </p:cNvSpPr>
          <p:nvPr/>
        </p:nvSpPr>
        <p:spPr bwMode="gray">
          <a:xfrm>
            <a:off x="2630956" y="931954"/>
            <a:ext cx="3254013" cy="211148"/>
          </a:xfrm>
          <a:prstGeom prst="rect">
            <a:avLst/>
          </a:prstGeom>
        </p:spPr>
        <p:txBody>
          <a:bodyPr vert="horz" wrap="square" lIns="0" tIns="0" rIns="0" bIns="0" rtlCol="0" anchor="b">
            <a:spAutoFit/>
          </a:bodyPr>
          <a:lstStyle>
            <a:defPPr>
              <a:defRPr lang="en-US"/>
            </a:defPPr>
            <a:lvl1pPr marL="0" lvl="0" indent="0" defTabSz="895350" eaLnBrk="0" hangingPunct="0">
              <a:buClr>
                <a:schemeClr val="tx2"/>
              </a:buClr>
              <a:buFontTx/>
              <a:buNone/>
              <a:defRPr sz="1400" b="1">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2960"/>
              </a:buClr>
            </a:pPr>
            <a:r>
              <a:rPr lang="fr-FR" sz="1372" dirty="0">
                <a:solidFill>
                  <a:srgbClr val="002960"/>
                </a:solidFill>
              </a:rPr>
              <a:t>Description</a:t>
            </a:r>
          </a:p>
        </p:txBody>
      </p:sp>
      <p:grpSp>
        <p:nvGrpSpPr>
          <p:cNvPr id="5" name="Group 4"/>
          <p:cNvGrpSpPr/>
          <p:nvPr/>
        </p:nvGrpSpPr>
        <p:grpSpPr>
          <a:xfrm>
            <a:off x="278717" y="1203450"/>
            <a:ext cx="8468617" cy="583861"/>
            <a:chOff x="278468" y="1243072"/>
            <a:chExt cx="8469117" cy="534126"/>
          </a:xfrm>
        </p:grpSpPr>
        <p:sp>
          <p:nvSpPr>
            <p:cNvPr id="145" name="TextBox 7"/>
            <p:cNvSpPr txBox="1">
              <a:spLocks/>
            </p:cNvSpPr>
            <p:nvPr>
              <p:custDataLst>
                <p:tags r:id="rId14"/>
              </p:custDataLst>
            </p:nvPr>
          </p:nvSpPr>
          <p:spPr bwMode="gray">
            <a:xfrm>
              <a:off x="278468" y="1243072"/>
              <a:ext cx="2216478" cy="534126"/>
            </a:xfrm>
            <a:prstGeom prst="rect">
              <a:avLst/>
            </a:prstGeom>
            <a:solidFill>
              <a:schemeClr val="accent2"/>
            </a:solidFill>
            <a:ln>
              <a:noFill/>
            </a:ln>
            <a:effectLst>
              <a:outerShdw blurRad="50800" dist="38100" dir="2700000" algn="tl" rotWithShape="0">
                <a:prstClr val="black">
                  <a:alpha val="40000"/>
                </a:prstClr>
              </a:outerShdw>
            </a:effectLst>
          </p:spPr>
          <p:txBody>
            <a:bodyPr vert="horz" lIns="57147" tIns="57147" rIns="57147" bIns="57147" rtlCol="0" anchor="ctr" anchorCtr="0">
              <a:no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2960"/>
                </a:buClr>
              </a:pPr>
              <a:r>
                <a:rPr lang="fr-FR" sz="1176" b="1" dirty="0">
                  <a:solidFill>
                    <a:prstClr val="white"/>
                  </a:solidFill>
                </a:rPr>
                <a:t>Instaurer un changement de politique et de stratégie de haut niveau</a:t>
              </a:r>
            </a:p>
          </p:txBody>
        </p:sp>
        <p:sp>
          <p:nvSpPr>
            <p:cNvPr id="146" name="Rectangle 3"/>
            <p:cNvSpPr txBox="1">
              <a:spLocks/>
            </p:cNvSpPr>
            <p:nvPr/>
          </p:nvSpPr>
          <p:spPr bwMode="gray">
            <a:xfrm>
              <a:off x="2630846" y="1279387"/>
              <a:ext cx="6116739" cy="331067"/>
            </a:xfrm>
            <a:prstGeom prst="rect">
              <a:avLst/>
            </a:prstGeom>
          </p:spPr>
          <p:txBody>
            <a:bodyPr vert="horz" wrap="square" lIns="0" tIns="0" rIns="0" bIns="0" rtlCol="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lvl="1" fontAlgn="base">
                <a:spcBef>
                  <a:spcPct val="0"/>
                </a:spcBef>
                <a:spcAft>
                  <a:spcPct val="0"/>
                </a:spcAft>
                <a:buClr>
                  <a:srgbClr val="002960"/>
                </a:buClr>
              </a:pPr>
              <a:r>
                <a:rPr lang="fr-FR" sz="1176" dirty="0">
                  <a:solidFill>
                    <a:srgbClr val="000000"/>
                  </a:solidFill>
                </a:rPr>
                <a:t>Changements de politique et/ou de stratégie nationale ou locale au profit d'une exécution et/ou adoption plus efficace des initiatives contre le paludisme.</a:t>
              </a:r>
            </a:p>
          </p:txBody>
        </p:sp>
      </p:grpSp>
      <p:grpSp>
        <p:nvGrpSpPr>
          <p:cNvPr id="4" name="Group 3"/>
          <p:cNvGrpSpPr/>
          <p:nvPr/>
        </p:nvGrpSpPr>
        <p:grpSpPr>
          <a:xfrm>
            <a:off x="278717" y="1842500"/>
            <a:ext cx="8468617" cy="694314"/>
            <a:chOff x="278468" y="1917905"/>
            <a:chExt cx="8469117" cy="710922"/>
          </a:xfrm>
        </p:grpSpPr>
        <p:sp>
          <p:nvSpPr>
            <p:cNvPr id="143" name="TextBox 7"/>
            <p:cNvSpPr txBox="1">
              <a:spLocks/>
            </p:cNvSpPr>
            <p:nvPr>
              <p:custDataLst>
                <p:tags r:id="rId13"/>
              </p:custDataLst>
            </p:nvPr>
          </p:nvSpPr>
          <p:spPr bwMode="gray">
            <a:xfrm>
              <a:off x="278468" y="1917905"/>
              <a:ext cx="2216478" cy="710922"/>
            </a:xfrm>
            <a:prstGeom prst="rect">
              <a:avLst/>
            </a:prstGeom>
            <a:solidFill>
              <a:schemeClr val="accent2"/>
            </a:solidFill>
            <a:ln>
              <a:noFill/>
            </a:ln>
            <a:effectLst>
              <a:outerShdw blurRad="50800" dist="38100" dir="2700000" algn="tl" rotWithShape="0">
                <a:prstClr val="black">
                  <a:alpha val="40000"/>
                </a:prstClr>
              </a:outerShdw>
            </a:effectLst>
          </p:spPr>
          <p:txBody>
            <a:bodyPr vert="horz" lIns="57147" tIns="57147" rIns="57147" bIns="57147" rtlCol="0" anchor="ctr" anchorCtr="0">
              <a:no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2960"/>
                </a:buClr>
              </a:pPr>
              <a:r>
                <a:rPr lang="fr-FR" sz="1176" b="1" dirty="0">
                  <a:solidFill>
                    <a:prstClr val="white"/>
                  </a:solidFill>
                </a:rPr>
                <a:t>Gestion des achats et de la </a:t>
              </a:r>
              <a:br>
                <a:rPr sz="1372">
                  <a:solidFill>
                    <a:prstClr val="black"/>
                  </a:solidFill>
                </a:rPr>
              </a:br>
              <a:r>
                <a:rPr lang="fr-FR" sz="1176" b="1" dirty="0">
                  <a:solidFill>
                    <a:prstClr val="white"/>
                  </a:solidFill>
                </a:rPr>
                <a:t>chaîne d’approvisionnement</a:t>
              </a:r>
            </a:p>
          </p:txBody>
        </p:sp>
        <p:sp>
          <p:nvSpPr>
            <p:cNvPr id="144" name="Rectangle 3"/>
            <p:cNvSpPr txBox="1">
              <a:spLocks/>
            </p:cNvSpPr>
            <p:nvPr/>
          </p:nvSpPr>
          <p:spPr bwMode="gray">
            <a:xfrm>
              <a:off x="2630846" y="1927244"/>
              <a:ext cx="6116739" cy="555826"/>
            </a:xfrm>
            <a:prstGeom prst="rect">
              <a:avLst/>
            </a:prstGeom>
          </p:spPr>
          <p:txBody>
            <a:bodyPr vert="horz" wrap="square" lIns="0" tIns="0" rIns="0" bIns="0" rtlCol="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lvl="1" fontAlgn="base">
                <a:spcBef>
                  <a:spcPct val="0"/>
                </a:spcBef>
                <a:spcAft>
                  <a:spcPct val="0"/>
                </a:spcAft>
                <a:buClr>
                  <a:srgbClr val="002960"/>
                </a:buClr>
              </a:pPr>
              <a:r>
                <a:rPr lang="fr-FR" sz="1176" dirty="0">
                  <a:solidFill>
                    <a:srgbClr val="000000"/>
                  </a:solidFill>
                </a:rPr>
                <a:t>Changement de modèle d’achats et de distribution (prévisions, appels d’offre, achats, gestion des stocks) pour éviter les perturbations de la chaîne d’approvisionnement et les délais de livraison prolongés des produits antipaludiques.</a:t>
              </a:r>
            </a:p>
          </p:txBody>
        </p:sp>
      </p:grpSp>
      <p:grpSp>
        <p:nvGrpSpPr>
          <p:cNvPr id="3" name="Group 2"/>
          <p:cNvGrpSpPr/>
          <p:nvPr/>
        </p:nvGrpSpPr>
        <p:grpSpPr>
          <a:xfrm>
            <a:off x="278717" y="2578824"/>
            <a:ext cx="8468617" cy="472695"/>
            <a:chOff x="278468" y="2774207"/>
            <a:chExt cx="8469117" cy="441426"/>
          </a:xfrm>
        </p:grpSpPr>
        <p:sp>
          <p:nvSpPr>
            <p:cNvPr id="141" name="TextBox 7"/>
            <p:cNvSpPr txBox="1">
              <a:spLocks/>
            </p:cNvSpPr>
            <p:nvPr>
              <p:custDataLst>
                <p:tags r:id="rId12"/>
              </p:custDataLst>
            </p:nvPr>
          </p:nvSpPr>
          <p:spPr bwMode="gray">
            <a:xfrm>
              <a:off x="278468" y="2774207"/>
              <a:ext cx="2216478" cy="441426"/>
            </a:xfrm>
            <a:prstGeom prst="rect">
              <a:avLst/>
            </a:prstGeom>
            <a:solidFill>
              <a:schemeClr val="accent2"/>
            </a:solidFill>
            <a:ln>
              <a:noFill/>
            </a:ln>
            <a:effectLst>
              <a:outerShdw blurRad="50800" dist="38100" dir="2700000" algn="tl" rotWithShape="0">
                <a:prstClr val="black">
                  <a:alpha val="40000"/>
                </a:prstClr>
              </a:outerShdw>
            </a:effectLst>
          </p:spPr>
          <p:txBody>
            <a:bodyPr vert="horz" lIns="57147" tIns="57147" rIns="57147" bIns="57147" rtlCol="0" anchor="ctr" anchorCtr="0">
              <a:no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2960"/>
                </a:buClr>
              </a:pPr>
              <a:r>
                <a:rPr lang="fr-FR" sz="1176" b="1">
                  <a:solidFill>
                    <a:prstClr val="white"/>
                  </a:solidFill>
                </a:rPr>
                <a:t>Renforcement de capacité</a:t>
              </a:r>
              <a:endParaRPr lang="fr-FR" sz="1176" b="1" dirty="0">
                <a:solidFill>
                  <a:prstClr val="white"/>
                </a:solidFill>
              </a:endParaRPr>
            </a:p>
          </p:txBody>
        </p:sp>
        <p:sp>
          <p:nvSpPr>
            <p:cNvPr id="142" name="Rectangle 3"/>
            <p:cNvSpPr txBox="1">
              <a:spLocks/>
            </p:cNvSpPr>
            <p:nvPr/>
          </p:nvSpPr>
          <p:spPr bwMode="gray">
            <a:xfrm>
              <a:off x="2630846" y="2879546"/>
              <a:ext cx="6116739" cy="168977"/>
            </a:xfrm>
            <a:prstGeom prst="rect">
              <a:avLst/>
            </a:prstGeom>
          </p:spPr>
          <p:txBody>
            <a:bodyPr vert="horz" wrap="square" lIns="0" tIns="0" rIns="0" bIns="0" rtlCol="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lvl="1" fontAlgn="base">
                <a:spcBef>
                  <a:spcPct val="0"/>
                </a:spcBef>
                <a:spcAft>
                  <a:spcPct val="0"/>
                </a:spcAft>
                <a:buClr>
                  <a:srgbClr val="002960"/>
                </a:buClr>
              </a:pPr>
              <a:r>
                <a:rPr lang="fr-FR" sz="1176" dirty="0">
                  <a:solidFill>
                    <a:srgbClr val="000000"/>
                  </a:solidFill>
                </a:rPr>
                <a:t>Formation du personnel pour maximiser l’efficacité d'utilisation des ressources.</a:t>
              </a:r>
            </a:p>
          </p:txBody>
        </p:sp>
      </p:grpSp>
      <p:grpSp>
        <p:nvGrpSpPr>
          <p:cNvPr id="2" name="Group 1"/>
          <p:cNvGrpSpPr/>
          <p:nvPr/>
        </p:nvGrpSpPr>
        <p:grpSpPr>
          <a:xfrm>
            <a:off x="278717" y="3098681"/>
            <a:ext cx="8468617" cy="534094"/>
            <a:chOff x="278468" y="3456228"/>
            <a:chExt cx="8469117" cy="534126"/>
          </a:xfrm>
        </p:grpSpPr>
        <p:sp>
          <p:nvSpPr>
            <p:cNvPr id="139" name="TextBox 7"/>
            <p:cNvSpPr txBox="1">
              <a:spLocks/>
            </p:cNvSpPr>
            <p:nvPr>
              <p:custDataLst>
                <p:tags r:id="rId11"/>
              </p:custDataLst>
            </p:nvPr>
          </p:nvSpPr>
          <p:spPr bwMode="gray">
            <a:xfrm>
              <a:off x="278468" y="3456228"/>
              <a:ext cx="2216478" cy="534126"/>
            </a:xfrm>
            <a:prstGeom prst="rect">
              <a:avLst/>
            </a:prstGeom>
            <a:solidFill>
              <a:schemeClr val="accent2"/>
            </a:solidFill>
            <a:ln>
              <a:noFill/>
            </a:ln>
            <a:effectLst>
              <a:outerShdw blurRad="50800" dist="38100" dir="2700000" algn="tl" rotWithShape="0">
                <a:prstClr val="black">
                  <a:alpha val="40000"/>
                </a:prstClr>
              </a:outerShdw>
            </a:effectLst>
          </p:spPr>
          <p:txBody>
            <a:bodyPr vert="horz" lIns="57147" tIns="57147" rIns="57147" bIns="57147" rtlCol="0" anchor="ctr" anchorCtr="0">
              <a:no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2960"/>
                </a:buClr>
              </a:pPr>
              <a:r>
                <a:rPr lang="fr-FR" sz="1176" b="1" dirty="0">
                  <a:solidFill>
                    <a:prstClr val="white"/>
                  </a:solidFill>
                </a:rPr>
                <a:t>Résoudre la question du financement</a:t>
              </a:r>
            </a:p>
          </p:txBody>
        </p:sp>
        <p:sp>
          <p:nvSpPr>
            <p:cNvPr id="140" name="Rectangle 3"/>
            <p:cNvSpPr txBox="1">
              <a:spLocks/>
            </p:cNvSpPr>
            <p:nvPr/>
          </p:nvSpPr>
          <p:spPr bwMode="gray">
            <a:xfrm>
              <a:off x="2630846" y="3492542"/>
              <a:ext cx="6116739" cy="361916"/>
            </a:xfrm>
            <a:prstGeom prst="rect">
              <a:avLst/>
            </a:prstGeom>
          </p:spPr>
          <p:txBody>
            <a:bodyPr vert="horz" wrap="square" lIns="0" tIns="0" rIns="0" bIns="0" rtlCol="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lvl="1" fontAlgn="base">
                <a:spcBef>
                  <a:spcPct val="0"/>
                </a:spcBef>
                <a:spcAft>
                  <a:spcPct val="0"/>
                </a:spcAft>
                <a:buClr>
                  <a:srgbClr val="002960"/>
                </a:buClr>
              </a:pPr>
              <a:r>
                <a:rPr lang="fr-FR" sz="1176" dirty="0">
                  <a:solidFill>
                    <a:srgbClr val="000000"/>
                  </a:solidFill>
                </a:rPr>
                <a:t>Identification, assurance et libération des fonds nécessaires aux produits de santé, initiatives et améliorations d'infrastructure et de technologie.</a:t>
              </a:r>
            </a:p>
          </p:txBody>
        </p:sp>
      </p:grpSp>
      <p:grpSp>
        <p:nvGrpSpPr>
          <p:cNvPr id="8" name="Group 7"/>
          <p:cNvGrpSpPr/>
          <p:nvPr/>
        </p:nvGrpSpPr>
        <p:grpSpPr>
          <a:xfrm>
            <a:off x="278717" y="3697977"/>
            <a:ext cx="8468617" cy="683936"/>
            <a:chOff x="278468" y="4128516"/>
            <a:chExt cx="8469117" cy="646294"/>
          </a:xfrm>
        </p:grpSpPr>
        <p:sp>
          <p:nvSpPr>
            <p:cNvPr id="137" name="TextBox 7"/>
            <p:cNvSpPr txBox="1">
              <a:spLocks/>
            </p:cNvSpPr>
            <p:nvPr>
              <p:custDataLst>
                <p:tags r:id="rId10"/>
              </p:custDataLst>
            </p:nvPr>
          </p:nvSpPr>
          <p:spPr bwMode="gray">
            <a:xfrm>
              <a:off x="278468" y="4128517"/>
              <a:ext cx="2216478" cy="646293"/>
            </a:xfrm>
            <a:prstGeom prst="rect">
              <a:avLst/>
            </a:prstGeom>
            <a:solidFill>
              <a:schemeClr val="accent2"/>
            </a:solidFill>
            <a:ln>
              <a:noFill/>
            </a:ln>
            <a:effectLst>
              <a:outerShdw blurRad="50800" dist="38100" dir="2700000" algn="tl" rotWithShape="0">
                <a:prstClr val="black">
                  <a:alpha val="40000"/>
                </a:prstClr>
              </a:outerShdw>
            </a:effectLst>
          </p:spPr>
          <p:txBody>
            <a:bodyPr vert="horz" lIns="57147" tIns="57147" rIns="57147" bIns="57147" rtlCol="0" anchor="ctr" anchorCtr="0">
              <a:no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2960"/>
                </a:buClr>
              </a:pPr>
              <a:r>
                <a:rPr lang="fr-FR" sz="1176" b="1" dirty="0">
                  <a:solidFill>
                    <a:schemeClr val="bg1"/>
                  </a:solidFill>
                </a:rPr>
                <a:t>Améliorer la qualité et l’utilisation </a:t>
              </a:r>
              <a:br>
                <a:rPr sz="1176" dirty="0">
                  <a:solidFill>
                    <a:schemeClr val="bg1"/>
                  </a:solidFill>
                </a:rPr>
              </a:br>
              <a:r>
                <a:rPr lang="fr-FR" sz="1176" b="1" dirty="0">
                  <a:solidFill>
                    <a:schemeClr val="bg1"/>
                  </a:solidFill>
                </a:rPr>
                <a:t>des données</a:t>
              </a:r>
            </a:p>
          </p:txBody>
        </p:sp>
        <p:sp>
          <p:nvSpPr>
            <p:cNvPr id="138" name="Rectangle 3"/>
            <p:cNvSpPr txBox="1">
              <a:spLocks/>
            </p:cNvSpPr>
            <p:nvPr/>
          </p:nvSpPr>
          <p:spPr bwMode="gray">
            <a:xfrm>
              <a:off x="2630846" y="4128516"/>
              <a:ext cx="6116739" cy="512964"/>
            </a:xfrm>
            <a:prstGeom prst="rect">
              <a:avLst/>
            </a:prstGeom>
          </p:spPr>
          <p:txBody>
            <a:bodyPr vert="horz" wrap="square" lIns="0" tIns="0" rIns="0" bIns="0" rtlCol="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lvl="1" fontAlgn="base">
                <a:spcBef>
                  <a:spcPct val="0"/>
                </a:spcBef>
                <a:spcAft>
                  <a:spcPct val="0"/>
                </a:spcAft>
                <a:buClr>
                  <a:srgbClr val="002960"/>
                </a:buClr>
              </a:pPr>
              <a:r>
                <a:rPr lang="fr-FR" sz="1176" dirty="0">
                  <a:solidFill>
                    <a:srgbClr val="000000"/>
                  </a:solidFill>
                </a:rPr>
                <a:t>Analyse des goulots d’étranglement pour déterminer l’amélioration de qualité des données collectées et des systèmes de S-É pour suivre l’état actuel et la progression vers le contrôle et l’élimination du paludisme.</a:t>
              </a:r>
            </a:p>
          </p:txBody>
        </p:sp>
      </p:grpSp>
      <p:grpSp>
        <p:nvGrpSpPr>
          <p:cNvPr id="7" name="Group 6"/>
          <p:cNvGrpSpPr/>
          <p:nvPr/>
        </p:nvGrpSpPr>
        <p:grpSpPr>
          <a:xfrm>
            <a:off x="278717" y="4436034"/>
            <a:ext cx="8468617" cy="769985"/>
            <a:chOff x="278468" y="4829076"/>
            <a:chExt cx="8469117" cy="710922"/>
          </a:xfrm>
        </p:grpSpPr>
        <p:sp>
          <p:nvSpPr>
            <p:cNvPr id="135" name="TextBox 7"/>
            <p:cNvSpPr txBox="1">
              <a:spLocks/>
            </p:cNvSpPr>
            <p:nvPr>
              <p:custDataLst>
                <p:tags r:id="rId9"/>
              </p:custDataLst>
            </p:nvPr>
          </p:nvSpPr>
          <p:spPr bwMode="gray">
            <a:xfrm>
              <a:off x="278468" y="4829076"/>
              <a:ext cx="2216478" cy="710922"/>
            </a:xfrm>
            <a:prstGeom prst="rect">
              <a:avLst/>
            </a:prstGeom>
            <a:solidFill>
              <a:schemeClr val="accent2"/>
            </a:solidFill>
            <a:ln>
              <a:noFill/>
            </a:ln>
            <a:effectLst>
              <a:outerShdw blurRad="50800" dist="38100" dir="2700000" algn="tl" rotWithShape="0">
                <a:prstClr val="black">
                  <a:alpha val="40000"/>
                </a:prstClr>
              </a:outerShdw>
            </a:effectLst>
          </p:spPr>
          <p:txBody>
            <a:bodyPr vert="horz" lIns="57147" tIns="57147" rIns="57147" bIns="57147" rtlCol="0" anchor="ctr" anchorCtr="0">
              <a:no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2960"/>
                </a:buClr>
              </a:pPr>
              <a:r>
                <a:rPr lang="fr-FR" sz="1176" b="1" dirty="0">
                  <a:solidFill>
                    <a:prstClr val="white"/>
                  </a:solidFill>
                </a:rPr>
                <a:t>Communications pour le changement comportemental</a:t>
              </a:r>
            </a:p>
          </p:txBody>
        </p:sp>
        <p:sp>
          <p:nvSpPr>
            <p:cNvPr id="136" name="Rectangle 3"/>
            <p:cNvSpPr txBox="1">
              <a:spLocks/>
            </p:cNvSpPr>
            <p:nvPr/>
          </p:nvSpPr>
          <p:spPr bwMode="gray">
            <a:xfrm>
              <a:off x="2630846" y="4856887"/>
              <a:ext cx="6116739" cy="501201"/>
            </a:xfrm>
            <a:prstGeom prst="rect">
              <a:avLst/>
            </a:prstGeom>
          </p:spPr>
          <p:txBody>
            <a:bodyPr vert="horz" wrap="square" lIns="0" tIns="0" rIns="0" bIns="0" rtlCol="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lvl="1" fontAlgn="base">
                <a:spcBef>
                  <a:spcPct val="0"/>
                </a:spcBef>
                <a:spcAft>
                  <a:spcPct val="0"/>
                </a:spcAft>
                <a:buClr>
                  <a:srgbClr val="002960"/>
                </a:buClr>
              </a:pPr>
              <a:r>
                <a:rPr lang="fr-FR" sz="1176" dirty="0">
                  <a:solidFill>
                    <a:srgbClr val="000000"/>
                  </a:solidFill>
                </a:rPr>
                <a:t>Communications sur les messages clés aux parties prenantes et au grand public en vue de l’adoption des meilleurs pratiques de prévention de la maladie, traitement et prise en charge.</a:t>
              </a:r>
            </a:p>
          </p:txBody>
        </p:sp>
      </p:grpSp>
      <p:grpSp>
        <p:nvGrpSpPr>
          <p:cNvPr id="6" name="Group 5"/>
          <p:cNvGrpSpPr/>
          <p:nvPr/>
        </p:nvGrpSpPr>
        <p:grpSpPr>
          <a:xfrm>
            <a:off x="278717" y="5256644"/>
            <a:ext cx="8468617" cy="542280"/>
            <a:chOff x="278468" y="5585260"/>
            <a:chExt cx="8469117" cy="646293"/>
          </a:xfrm>
        </p:grpSpPr>
        <p:sp>
          <p:nvSpPr>
            <p:cNvPr id="133" name="TextBox 7"/>
            <p:cNvSpPr txBox="1">
              <a:spLocks/>
            </p:cNvSpPr>
            <p:nvPr>
              <p:custDataLst>
                <p:tags r:id="rId8"/>
              </p:custDataLst>
            </p:nvPr>
          </p:nvSpPr>
          <p:spPr bwMode="gray">
            <a:xfrm>
              <a:off x="278468" y="5585260"/>
              <a:ext cx="2216478" cy="646293"/>
            </a:xfrm>
            <a:prstGeom prst="rect">
              <a:avLst/>
            </a:prstGeom>
            <a:solidFill>
              <a:schemeClr val="accent2"/>
            </a:solidFill>
            <a:ln>
              <a:noFill/>
            </a:ln>
            <a:effectLst>
              <a:outerShdw blurRad="50800" dist="38100" dir="2700000" algn="tl" rotWithShape="0">
                <a:prstClr val="black">
                  <a:alpha val="40000"/>
                </a:prstClr>
              </a:outerShdw>
            </a:effectLst>
          </p:spPr>
          <p:txBody>
            <a:bodyPr vert="horz" lIns="57147" tIns="57147" rIns="57147" bIns="57147" rtlCol="0" anchor="ctr" anchorCtr="0">
              <a:no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2960"/>
                </a:buClr>
              </a:pPr>
              <a:r>
                <a:rPr lang="fr-FR" sz="1176" b="1" dirty="0">
                  <a:solidFill>
                    <a:prstClr val="white"/>
                  </a:solidFill>
                </a:rPr>
                <a:t>Optimiser les prestations des technologies de la santé</a:t>
              </a:r>
            </a:p>
          </p:txBody>
        </p:sp>
        <p:sp>
          <p:nvSpPr>
            <p:cNvPr id="134" name="Rectangle 3"/>
            <p:cNvSpPr txBox="1">
              <a:spLocks/>
            </p:cNvSpPr>
            <p:nvPr/>
          </p:nvSpPr>
          <p:spPr bwMode="gray">
            <a:xfrm>
              <a:off x="2630846" y="5793032"/>
              <a:ext cx="6116739" cy="215654"/>
            </a:xfrm>
            <a:prstGeom prst="rect">
              <a:avLst/>
            </a:prstGeom>
          </p:spPr>
          <p:txBody>
            <a:bodyPr vert="horz" wrap="square" lIns="0" tIns="0" rIns="0" bIns="0" rtlCol="0">
              <a:spAutoFit/>
            </a:bodyPr>
            <a:lstStyle>
              <a:defPPr>
                <a:defRPr lang="en-US"/>
              </a:defPPr>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sz="1400">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lvl="1" fontAlgn="base">
                <a:spcBef>
                  <a:spcPct val="0"/>
                </a:spcBef>
                <a:spcAft>
                  <a:spcPct val="0"/>
                </a:spcAft>
                <a:buClr>
                  <a:srgbClr val="002960"/>
                </a:buClr>
              </a:pPr>
              <a:r>
                <a:rPr lang="fr-FR" sz="1176" dirty="0">
                  <a:solidFill>
                    <a:srgbClr val="000000"/>
                  </a:solidFill>
                </a:rPr>
                <a:t>Changements de prestation des outils aux populations affectées.</a:t>
              </a:r>
            </a:p>
          </p:txBody>
        </p:sp>
      </p:grpSp>
      <p:cxnSp>
        <p:nvCxnSpPr>
          <p:cNvPr id="126" name="Straight Connector 125"/>
          <p:cNvCxnSpPr>
            <a:cxnSpLocks/>
          </p:cNvCxnSpPr>
          <p:nvPr/>
        </p:nvCxnSpPr>
        <p:spPr bwMode="gray">
          <a:xfrm>
            <a:off x="2630961" y="1158689"/>
            <a:ext cx="61163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a:cxnSpLocks/>
          </p:cNvCxnSpPr>
          <p:nvPr/>
        </p:nvCxnSpPr>
        <p:spPr bwMode="gray">
          <a:xfrm>
            <a:off x="2630961" y="1796642"/>
            <a:ext cx="6116380"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a:cxnSpLocks/>
          </p:cNvCxnSpPr>
          <p:nvPr/>
        </p:nvCxnSpPr>
        <p:spPr bwMode="gray">
          <a:xfrm>
            <a:off x="2630961" y="2612478"/>
            <a:ext cx="6116380"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a:cxnSpLocks/>
          </p:cNvCxnSpPr>
          <p:nvPr/>
        </p:nvCxnSpPr>
        <p:spPr bwMode="gray">
          <a:xfrm>
            <a:off x="2630961" y="3119079"/>
            <a:ext cx="6116380"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a:cxnSpLocks/>
          </p:cNvCxnSpPr>
          <p:nvPr/>
        </p:nvCxnSpPr>
        <p:spPr bwMode="gray">
          <a:xfrm>
            <a:off x="2630961" y="3638870"/>
            <a:ext cx="6116380"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a:cxnSpLocks/>
          </p:cNvCxnSpPr>
          <p:nvPr/>
        </p:nvCxnSpPr>
        <p:spPr bwMode="gray">
          <a:xfrm>
            <a:off x="2630961" y="4396276"/>
            <a:ext cx="6116380"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a:cxnSpLocks/>
          </p:cNvCxnSpPr>
          <p:nvPr/>
        </p:nvCxnSpPr>
        <p:spPr bwMode="gray">
          <a:xfrm>
            <a:off x="2630961" y="5247742"/>
            <a:ext cx="6116380"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40" name="TextBox 4"/>
          <p:cNvSpPr txBox="1"/>
          <p:nvPr>
            <p:custDataLst>
              <p:tags r:id="rId4"/>
            </p:custDataLst>
          </p:nvPr>
        </p:nvSpPr>
        <p:spPr>
          <a:xfrm>
            <a:off x="166464" y="244200"/>
            <a:ext cx="448974" cy="448974"/>
          </a:xfrm>
          <a:prstGeom prst="ellipse">
            <a:avLst/>
          </a:prstGeom>
          <a:solidFill>
            <a:schemeClr val="accent2"/>
          </a:solidFill>
          <a:ln w="19050">
            <a:solidFill>
              <a:schemeClr val="bg1"/>
            </a:solidFill>
          </a:ln>
          <a:effectLst>
            <a:outerShdw blurRad="50800" dist="38100" dir="5400000" algn="t" rotWithShape="0">
              <a:prstClr val="black">
                <a:alpha val="40000"/>
              </a:prstClr>
            </a:outerShdw>
          </a:effectLst>
        </p:spPr>
        <p:txBody>
          <a:bodyPr vert="horz" wrap="none" lIns="3805" tIns="0" rIns="3805" bIns="0" rtlCol="0" anchor="ctr" anchorCtr="1">
            <a:noAutofit/>
          </a:bodyPr>
          <a:lstStyle>
            <a:defPPr>
              <a:defRPr lang="en-US"/>
            </a:defPPr>
            <a:lvl1pPr marL="0" lvl="0" indent="0" algn="ctr" defTabSz="895350" eaLnBrk="1" hangingPunct="1">
              <a:buClr>
                <a:schemeClr val="tx2"/>
              </a:buClr>
              <a:defRPr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9302A"/>
              </a:buClr>
            </a:pPr>
            <a:r>
              <a:rPr lang="fr-FR" sz="2254" dirty="0">
                <a:solidFill>
                  <a:prstClr val="white"/>
                </a:solidFill>
              </a:rPr>
              <a:t>C</a:t>
            </a:r>
          </a:p>
        </p:txBody>
      </p:sp>
      <p:grpSp>
        <p:nvGrpSpPr>
          <p:cNvPr id="37" name="Group 36"/>
          <p:cNvGrpSpPr>
            <a:grpSpLocks/>
          </p:cNvGrpSpPr>
          <p:nvPr/>
        </p:nvGrpSpPr>
        <p:grpSpPr>
          <a:xfrm>
            <a:off x="97145" y="251006"/>
            <a:ext cx="485565" cy="485565"/>
            <a:chOff x="724833" y="1360468"/>
            <a:chExt cx="646325" cy="646325"/>
          </a:xfrm>
          <a:effectLst>
            <a:outerShdw blurRad="50800" dist="38100" dir="5400000" algn="t" rotWithShape="0">
              <a:prstClr val="black">
                <a:alpha val="40000"/>
              </a:prstClr>
            </a:outerShdw>
          </a:effectLst>
        </p:grpSpPr>
        <p:sp>
          <p:nvSpPr>
            <p:cNvPr id="38" name="TextBox 9"/>
            <p:cNvSpPr txBox="1"/>
            <p:nvPr>
              <p:custDataLst>
                <p:tags r:id="rId6"/>
              </p:custDataLst>
            </p:nvPr>
          </p:nvSpPr>
          <p:spPr>
            <a:xfrm>
              <a:off x="724833" y="1360468"/>
              <a:ext cx="646325" cy="646325"/>
            </a:xfrm>
            <a:prstGeom prst="ellipse">
              <a:avLst/>
            </a:prstGeom>
            <a:solidFill>
              <a:schemeClr val="accent2"/>
            </a:solidFill>
            <a:ln w="19050">
              <a:solidFill>
                <a:schemeClr val="bg1"/>
              </a:solidFill>
            </a:ln>
          </p:spPr>
          <p:txBody>
            <a:bodyPr vert="horz" lIns="3809" tIns="0" rIns="3809"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39302A"/>
                </a:buClr>
              </a:pPr>
              <a:endParaRPr lang="en-US" sz="1568" b="1" dirty="0">
                <a:solidFill>
                  <a:prstClr val="white"/>
                </a:solidFill>
              </a:endParaRPr>
            </a:p>
          </p:txBody>
        </p:sp>
        <p:sp>
          <p:nvSpPr>
            <p:cNvPr id="42" name="TextBox 5"/>
            <p:cNvSpPr txBox="1"/>
            <p:nvPr>
              <p:custDataLst>
                <p:tags r:id="rId7"/>
              </p:custDataLst>
            </p:nvPr>
          </p:nvSpPr>
          <p:spPr>
            <a:xfrm>
              <a:off x="829095" y="1470343"/>
              <a:ext cx="437801" cy="426575"/>
            </a:xfrm>
            <a:prstGeom prst="rightArrow">
              <a:avLst>
                <a:gd name="adj1" fmla="val 54000"/>
                <a:gd name="adj2" fmla="val 37678"/>
              </a:avLst>
            </a:prstGeom>
            <a:solidFill>
              <a:schemeClr val="bg1"/>
            </a:solidFill>
            <a:ln>
              <a:noFill/>
            </a:ln>
          </p:spPr>
          <p:txBody>
            <a:bodyPr vert="horz" lIns="76196" tIns="0" rIns="0" bIns="0" rtlCol="0" anchor="ctr"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9302A"/>
                </a:buClr>
              </a:pPr>
              <a:endParaRPr lang="en-US" sz="1568" dirty="0">
                <a:solidFill>
                  <a:prstClr val="black"/>
                </a:solidFill>
              </a:endParaRPr>
            </a:p>
          </p:txBody>
        </p:sp>
      </p:grpSp>
      <p:grpSp>
        <p:nvGrpSpPr>
          <p:cNvPr id="43" name="Group 42"/>
          <p:cNvGrpSpPr/>
          <p:nvPr/>
        </p:nvGrpSpPr>
        <p:grpSpPr>
          <a:xfrm>
            <a:off x="278717" y="5862988"/>
            <a:ext cx="8468617" cy="393492"/>
            <a:chOff x="278468" y="5585260"/>
            <a:chExt cx="8469117" cy="646293"/>
          </a:xfrm>
        </p:grpSpPr>
        <p:sp>
          <p:nvSpPr>
            <p:cNvPr id="44" name="TextBox 7"/>
            <p:cNvSpPr txBox="1">
              <a:spLocks/>
            </p:cNvSpPr>
            <p:nvPr>
              <p:custDataLst>
                <p:tags r:id="rId5"/>
              </p:custDataLst>
            </p:nvPr>
          </p:nvSpPr>
          <p:spPr bwMode="gray">
            <a:xfrm>
              <a:off x="278468" y="5585260"/>
              <a:ext cx="2216478" cy="646293"/>
            </a:xfrm>
            <a:prstGeom prst="rect">
              <a:avLst/>
            </a:prstGeom>
            <a:solidFill>
              <a:schemeClr val="accent2"/>
            </a:solidFill>
            <a:ln>
              <a:noFill/>
            </a:ln>
            <a:effectLst>
              <a:outerShdw blurRad="50800" dist="38100" dir="2700000" algn="tl" rotWithShape="0">
                <a:prstClr val="black">
                  <a:alpha val="40000"/>
                </a:prstClr>
              </a:outerShdw>
            </a:effectLst>
          </p:spPr>
          <p:txBody>
            <a:bodyPr vert="horz" lIns="57147" tIns="57147" rIns="57147" bIns="57147" rtlCol="0" anchor="ctr" anchorCtr="0">
              <a:no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2960"/>
                </a:buClr>
              </a:pPr>
              <a:r>
                <a:rPr lang="fr-FR" sz="1176" b="1" dirty="0">
                  <a:solidFill>
                    <a:prstClr val="white"/>
                  </a:solidFill>
                </a:rPr>
                <a:t>Encourager la transparence</a:t>
              </a:r>
            </a:p>
          </p:txBody>
        </p:sp>
        <p:sp>
          <p:nvSpPr>
            <p:cNvPr id="45" name="Rectangle 3"/>
            <p:cNvSpPr txBox="1">
              <a:spLocks/>
            </p:cNvSpPr>
            <p:nvPr/>
          </p:nvSpPr>
          <p:spPr bwMode="gray">
            <a:xfrm>
              <a:off x="2630846" y="5793031"/>
              <a:ext cx="6116739" cy="297197"/>
            </a:xfrm>
            <a:prstGeom prst="rect">
              <a:avLst/>
            </a:prstGeom>
            <a:noFill/>
          </p:spPr>
          <p:txBody>
            <a:bodyPr vert="horz" wrap="square" lIns="0" tIns="0" rIns="0" bIns="0" rtlCol="0">
              <a:spAutoFit/>
            </a:bodyPr>
            <a:lstStyle>
              <a:defPPr>
                <a:defRPr lang="en-US"/>
              </a:defPPr>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sz="1400">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lvl="1" fontAlgn="base">
                <a:spcBef>
                  <a:spcPct val="0"/>
                </a:spcBef>
                <a:spcAft>
                  <a:spcPct val="0"/>
                </a:spcAft>
                <a:buClr>
                  <a:srgbClr val="002960"/>
                </a:buClr>
              </a:pPr>
              <a:r>
                <a:rPr lang="fr-FR" sz="1176" dirty="0">
                  <a:solidFill>
                    <a:srgbClr val="000000"/>
                  </a:solidFill>
                </a:rPr>
                <a:t>Partage de la carte de score avec les partenaires multisectoriels. </a:t>
              </a:r>
            </a:p>
          </p:txBody>
        </p:sp>
      </p:grpSp>
      <p:cxnSp>
        <p:nvCxnSpPr>
          <p:cNvPr id="46" name="Straight Connector 45"/>
          <p:cNvCxnSpPr>
            <a:cxnSpLocks/>
          </p:cNvCxnSpPr>
          <p:nvPr/>
        </p:nvCxnSpPr>
        <p:spPr bwMode="gray">
          <a:xfrm>
            <a:off x="2630961" y="5856352"/>
            <a:ext cx="6116380"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215871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258193" y="4243090"/>
            <a:ext cx="6858728" cy="1447704"/>
          </a:xfrm>
        </p:spPr>
        <p:txBody>
          <a:bodyPr/>
          <a:lstStyle/>
          <a:p>
            <a:pPr algn="ctr"/>
            <a:br>
              <a:rPr lang="fr-FR" sz="3136" dirty="0">
                <a:solidFill>
                  <a:schemeClr val="tx1"/>
                </a:solidFill>
              </a:rPr>
            </a:br>
            <a:br>
              <a:rPr lang="fr-FR" sz="3136" dirty="0">
                <a:solidFill>
                  <a:schemeClr val="tx1"/>
                </a:solidFill>
              </a:rPr>
            </a:br>
            <a:endParaRPr lang="en-US" sz="3136" dirty="0">
              <a:solidFill>
                <a:schemeClr val="tx1"/>
              </a:solidFill>
            </a:endParaRPr>
          </a:p>
        </p:txBody>
      </p:sp>
      <p:sp>
        <p:nvSpPr>
          <p:cNvPr id="3" name="Subtitle 2"/>
          <p:cNvSpPr>
            <a:spLocks noGrp="1"/>
          </p:cNvSpPr>
          <p:nvPr>
            <p:ph type="subTitle" idx="1"/>
          </p:nvPr>
        </p:nvSpPr>
        <p:spPr>
          <a:xfrm>
            <a:off x="3881392" y="5352240"/>
            <a:ext cx="2355102" cy="338554"/>
          </a:xfrm>
        </p:spPr>
        <p:txBody>
          <a:bodyPr/>
          <a:lstStyle/>
          <a:p>
            <a:r>
              <a:rPr lang="en-US" dirty="0" err="1"/>
              <a:t>Juin</a:t>
            </a:r>
            <a:r>
              <a:rPr lang="en-US" dirty="0"/>
              <a:t> 2021</a:t>
            </a: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sp>
        <p:nvSpPr>
          <p:cNvPr id="4" name="TextBox 3">
            <a:extLst>
              <a:ext uri="{FF2B5EF4-FFF2-40B4-BE49-F238E27FC236}">
                <a16:creationId xmlns:a16="http://schemas.microsoft.com/office/drawing/2014/main" id="{DFD7C837-8E9A-454A-9226-3BAA65143ABB}"/>
              </a:ext>
            </a:extLst>
          </p:cNvPr>
          <p:cNvSpPr txBox="1"/>
          <p:nvPr/>
        </p:nvSpPr>
        <p:spPr>
          <a:xfrm>
            <a:off x="1330960" y="3953406"/>
            <a:ext cx="6785961" cy="1384995"/>
          </a:xfrm>
          <a:prstGeom prst="rect">
            <a:avLst/>
          </a:prstGeom>
          <a:noFill/>
        </p:spPr>
        <p:txBody>
          <a:bodyPr wrap="square" rtlCol="0">
            <a:spAutoFit/>
          </a:bodyPr>
          <a:lstStyle/>
          <a:p>
            <a:pPr algn="ctr"/>
            <a:r>
              <a:rPr lang="fr-FR" sz="2800" dirty="0">
                <a:effectLst/>
                <a:latin typeface="+mj-lt"/>
                <a:ea typeface="Calibri" panose="020F0502020204030204" pitchFamily="34" charset="0"/>
              </a:rPr>
              <a:t>Comment intégrer la revue de l’outil carte de score dans les mécanismes de redevabilité existants</a:t>
            </a:r>
            <a:endParaRPr lang="fr-FR" sz="2800" dirty="0">
              <a:latin typeface="+mj-lt"/>
            </a:endParaRPr>
          </a:p>
        </p:txBody>
      </p:sp>
      <p:pic>
        <p:nvPicPr>
          <p:cNvPr id="12" name="Picture 11">
            <a:extLst>
              <a:ext uri="{FF2B5EF4-FFF2-40B4-BE49-F238E27FC236}">
                <a16:creationId xmlns:a16="http://schemas.microsoft.com/office/drawing/2014/main" id="{3178AA8E-B1FD-449C-A75A-C1B49B062D60}"/>
              </a:ext>
            </a:extLst>
          </p:cNvPr>
          <p:cNvPicPr>
            <a:picLocks noChangeAspect="1"/>
          </p:cNvPicPr>
          <p:nvPr/>
        </p:nvPicPr>
        <p:blipFill>
          <a:blip r:embed="rId3"/>
          <a:stretch>
            <a:fillRect/>
          </a:stretch>
        </p:blipFill>
        <p:spPr>
          <a:xfrm>
            <a:off x="3049343" y="769225"/>
            <a:ext cx="3011685" cy="3036071"/>
          </a:xfrm>
          <a:prstGeom prst="rect">
            <a:avLst/>
          </a:prstGeom>
        </p:spPr>
      </p:pic>
    </p:spTree>
    <p:extLst>
      <p:ext uri="{BB962C8B-B14F-4D97-AF65-F5344CB8AC3E}">
        <p14:creationId xmlns:p14="http://schemas.microsoft.com/office/powerpoint/2010/main" val="423228481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sp>
        <p:nvSpPr>
          <p:cNvPr id="3" name="TextBox 2">
            <a:extLst>
              <a:ext uri="{FF2B5EF4-FFF2-40B4-BE49-F238E27FC236}">
                <a16:creationId xmlns:a16="http://schemas.microsoft.com/office/drawing/2014/main" id="{B5D52972-7541-43F5-A57D-0BC5C642342E}"/>
              </a:ext>
            </a:extLst>
          </p:cNvPr>
          <p:cNvSpPr txBox="1"/>
          <p:nvPr/>
        </p:nvSpPr>
        <p:spPr>
          <a:xfrm>
            <a:off x="1056640" y="180010"/>
            <a:ext cx="6777778" cy="646331"/>
          </a:xfrm>
          <a:prstGeom prst="rect">
            <a:avLst/>
          </a:prstGeom>
          <a:noFill/>
        </p:spPr>
        <p:txBody>
          <a:bodyPr wrap="square" rtlCol="0">
            <a:spAutoFit/>
          </a:bodyPr>
          <a:lstStyle/>
          <a:p>
            <a:r>
              <a:rPr lang="fr-FR" sz="1800" dirty="0">
                <a:effectLst/>
                <a:latin typeface="+mj-lt"/>
                <a:ea typeface="Calibri" panose="020F0502020204030204" pitchFamily="34" charset="0"/>
              </a:rPr>
              <a:t>Comment intégrer la revue de l’outil carte de score dans les mécanismes de redevabilité existants</a:t>
            </a:r>
            <a:endParaRPr lang="fr-FR" dirty="0">
              <a:latin typeface="+mj-lt"/>
            </a:endParaRPr>
          </a:p>
        </p:txBody>
      </p:sp>
      <p:pic>
        <p:nvPicPr>
          <p:cNvPr id="4" name="Online Media 3" title="Comment intégrer la revue de l’outil carte de score dans les mécanismes de redevabilité existants">
            <a:hlinkClick r:id="" action="ppaction://media"/>
            <a:extLst>
              <a:ext uri="{FF2B5EF4-FFF2-40B4-BE49-F238E27FC236}">
                <a16:creationId xmlns:a16="http://schemas.microsoft.com/office/drawing/2014/main" id="{E8C3CC13-C972-4A01-91AA-2EFAB315A26A}"/>
              </a:ext>
            </a:extLst>
          </p:cNvPr>
          <p:cNvPicPr>
            <a:picLocks noRot="1" noChangeAspect="1"/>
          </p:cNvPicPr>
          <p:nvPr>
            <a:videoFile r:link="rId1"/>
          </p:nvPr>
        </p:nvPicPr>
        <p:blipFill>
          <a:blip r:embed="rId4"/>
          <a:stretch>
            <a:fillRect/>
          </a:stretch>
        </p:blipFill>
        <p:spPr>
          <a:xfrm>
            <a:off x="733659" y="894343"/>
            <a:ext cx="7423739" cy="5369297"/>
          </a:xfrm>
          <a:prstGeom prst="rect">
            <a:avLst/>
          </a:prstGeom>
        </p:spPr>
      </p:pic>
      <p:sp>
        <p:nvSpPr>
          <p:cNvPr id="6" name="TextBox 5">
            <a:extLst>
              <a:ext uri="{FF2B5EF4-FFF2-40B4-BE49-F238E27FC236}">
                <a16:creationId xmlns:a16="http://schemas.microsoft.com/office/drawing/2014/main" id="{14E2B3D7-BF5D-4219-934F-554392C76769}"/>
              </a:ext>
            </a:extLst>
          </p:cNvPr>
          <p:cNvSpPr txBox="1"/>
          <p:nvPr/>
        </p:nvSpPr>
        <p:spPr>
          <a:xfrm>
            <a:off x="285751" y="6407457"/>
            <a:ext cx="4487516" cy="338554"/>
          </a:xfrm>
          <a:prstGeom prst="rect">
            <a:avLst/>
          </a:prstGeom>
          <a:noFill/>
        </p:spPr>
        <p:txBody>
          <a:bodyPr wrap="square">
            <a:spAutoFit/>
          </a:bodyPr>
          <a:lstStyle/>
          <a:p>
            <a:r>
              <a:rPr lang="fr-FR" sz="1600" dirty="0">
                <a:hlinkClick r:id="rId5">
                  <a:extLst>
                    <a:ext uri="{A12FA001-AC4F-418D-AE19-62706E023703}">
                      <ahyp:hlinkClr xmlns:ahyp="http://schemas.microsoft.com/office/drawing/2018/hyperlinkcolor" val="tx"/>
                    </a:ext>
                  </a:extLst>
                </a:hlinkClick>
              </a:rPr>
              <a:t>Télécharger la vidéo </a:t>
            </a:r>
            <a:endParaRPr lang="fr-FR" sz="1600" dirty="0"/>
          </a:p>
        </p:txBody>
      </p:sp>
    </p:spTree>
    <p:extLst>
      <p:ext uri="{BB962C8B-B14F-4D97-AF65-F5344CB8AC3E}">
        <p14:creationId xmlns:p14="http://schemas.microsoft.com/office/powerpoint/2010/main" val="21009170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81B545BD-CC38-4B25-AF2A-F926DFA8DAFC}"/>
              </a:ext>
            </a:extLst>
          </p:cNvPr>
          <p:cNvSpPr/>
          <p:nvPr/>
        </p:nvSpPr>
        <p:spPr>
          <a:xfrm>
            <a:off x="0" y="1570588"/>
            <a:ext cx="8961438" cy="793728"/>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591654"/>
            <a:ext cx="8513366" cy="844590"/>
          </a:xfrm>
        </p:spPr>
        <p:txBody>
          <a:bodyPr vert="horz" wrap="square" lIns="0" tIns="0" rIns="0" bIns="0" numCol="1" anchor="t" anchorCtr="0" compatLnSpc="1">
            <a:prstTxWarp prst="textNoShape">
              <a:avLst/>
            </a:prstTxWarp>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sz="2744" dirty="0"/>
              <a:t>Les cartes de score renforcent l’action et la redevabilité</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243058"/>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Introduction</a:t>
            </a:r>
          </a:p>
        </p:txBody>
      </p:sp>
      <p:sp>
        <p:nvSpPr>
          <p:cNvPr id="17" name="Text Placeholder 5">
            <a:extLst>
              <a:ext uri="{FF2B5EF4-FFF2-40B4-BE49-F238E27FC236}">
                <a16:creationId xmlns:a16="http://schemas.microsoft.com/office/drawing/2014/main" id="{40A7CFFF-EA53-4C8E-90DA-1AC71A5D394A}"/>
              </a:ext>
            </a:extLst>
          </p:cNvPr>
          <p:cNvSpPr>
            <a:spLocks noGrp="1"/>
          </p:cNvSpPr>
          <p:nvPr>
            <p:ph type="body" sz="quarter" idx="10"/>
          </p:nvPr>
        </p:nvSpPr>
        <p:spPr>
          <a:xfrm>
            <a:off x="448072" y="1699097"/>
            <a:ext cx="7865400" cy="590098"/>
          </a:xfrm>
        </p:spPr>
        <p:txBody>
          <a:bodyPr/>
          <a:lstStyle/>
          <a:p>
            <a:pPr>
              <a:lnSpc>
                <a:spcPts val="2352"/>
              </a:lnSpc>
              <a:spcAft>
                <a:spcPts val="588"/>
              </a:spcAft>
            </a:pPr>
            <a:r>
              <a:rPr lang="fr-FR" sz="1764" dirty="0">
                <a:solidFill>
                  <a:schemeClr val="bg1"/>
                </a:solidFill>
              </a:rPr>
              <a:t>L'intégration des cartes de score dans les processus nationaux existants facilite l’utilisation et améliore la pérennité.</a:t>
            </a:r>
          </a:p>
        </p:txBody>
      </p:sp>
      <p:sp>
        <p:nvSpPr>
          <p:cNvPr id="20" name="Text Placeholder 5">
            <a:extLst>
              <a:ext uri="{FF2B5EF4-FFF2-40B4-BE49-F238E27FC236}">
                <a16:creationId xmlns:a16="http://schemas.microsoft.com/office/drawing/2014/main" id="{5CC66C07-A178-4CEB-8A83-A34F9C77D618}"/>
              </a:ext>
            </a:extLst>
          </p:cNvPr>
          <p:cNvSpPr txBox="1">
            <a:spLocks/>
          </p:cNvSpPr>
          <p:nvPr/>
        </p:nvSpPr>
        <p:spPr>
          <a:xfrm>
            <a:off x="448072" y="2478623"/>
            <a:ext cx="7865400" cy="3437031"/>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ts val="2352"/>
              </a:lnSpc>
              <a:spcAft>
                <a:spcPts val="1764"/>
              </a:spcAft>
            </a:pPr>
            <a:r>
              <a:rPr lang="fr-FR" sz="1764" dirty="0">
                <a:solidFill>
                  <a:schemeClr val="bg2">
                    <a:lumMod val="10000"/>
                  </a:schemeClr>
                </a:solidFill>
              </a:rPr>
              <a:t>La carte de score vise à faciliter et renforcer les mécanismes de gestion existants, tels que les rencontres</a:t>
            </a:r>
            <a:r>
              <a:rPr lang="fr-FR" sz="1764" dirty="0"/>
              <a:t> ministérielles, du programme ou des partenaires de la mise en œuvre </a:t>
            </a:r>
            <a:r>
              <a:rPr lang="fr-FR" sz="1764" dirty="0">
                <a:solidFill>
                  <a:schemeClr val="bg2">
                    <a:lumMod val="10000"/>
                  </a:schemeClr>
                </a:solidFill>
              </a:rPr>
              <a:t>et les initiatives d’engagement communautaire.</a:t>
            </a:r>
          </a:p>
          <a:p>
            <a:pPr marL="336042" indent="-336042">
              <a:lnSpc>
                <a:spcPts val="2352"/>
              </a:lnSpc>
              <a:spcAft>
                <a:spcPts val="588"/>
              </a:spcAft>
              <a:buFont typeface="Arial" panose="020B0604020202020204" pitchFamily="34" charset="0"/>
              <a:buChar char="•"/>
            </a:pPr>
            <a:r>
              <a:rPr lang="fr-FR" sz="1764" dirty="0">
                <a:solidFill>
                  <a:schemeClr val="bg2">
                    <a:lumMod val="10000"/>
                  </a:schemeClr>
                </a:solidFill>
              </a:rPr>
              <a:t>La carte de score aide à </a:t>
            </a:r>
            <a:r>
              <a:rPr lang="fr-FR" sz="1764" b="1" dirty="0">
                <a:solidFill>
                  <a:schemeClr val="accent3"/>
                </a:solidFill>
              </a:rPr>
              <a:t>attirer l’attention des dirigeants administratifs et politiques </a:t>
            </a:r>
            <a:r>
              <a:rPr lang="fr-FR" sz="1764" dirty="0">
                <a:solidFill>
                  <a:schemeClr val="bg2">
                    <a:lumMod val="10000"/>
                  </a:schemeClr>
                </a:solidFill>
              </a:rPr>
              <a:t>sur les priorités à considérer.</a:t>
            </a:r>
          </a:p>
          <a:p>
            <a:pPr marL="336042" indent="-336042">
              <a:lnSpc>
                <a:spcPts val="2352"/>
              </a:lnSpc>
              <a:spcAft>
                <a:spcPts val="588"/>
              </a:spcAft>
              <a:buFont typeface="Arial" panose="020B0604020202020204" pitchFamily="34" charset="0"/>
              <a:buChar char="•"/>
            </a:pPr>
            <a:r>
              <a:rPr lang="fr-FR" sz="1764" dirty="0">
                <a:solidFill>
                  <a:schemeClr val="bg2">
                    <a:lumMod val="10000"/>
                  </a:schemeClr>
                </a:solidFill>
              </a:rPr>
              <a:t>Le suivi d’action intégré offre un moyen de </a:t>
            </a:r>
            <a:r>
              <a:rPr lang="fr-FR" sz="1764" b="1" dirty="0">
                <a:solidFill>
                  <a:schemeClr val="accent3"/>
                </a:solidFill>
              </a:rPr>
              <a:t>documenter et de suivre l’action</a:t>
            </a:r>
            <a:r>
              <a:rPr lang="fr-FR" sz="1764" dirty="0">
                <a:solidFill>
                  <a:schemeClr val="bg2">
                    <a:lumMod val="10000"/>
                  </a:schemeClr>
                </a:solidFill>
              </a:rPr>
              <a:t> et la résolution de ces goulots d’étranglement et autres difficultés.</a:t>
            </a:r>
          </a:p>
          <a:p>
            <a:pPr marL="336042" lvl="1" indent="-336042">
              <a:lnSpc>
                <a:spcPts val="2352"/>
              </a:lnSpc>
              <a:spcAft>
                <a:spcPts val="588"/>
              </a:spcAft>
            </a:pPr>
            <a:r>
              <a:rPr lang="fr-FR" sz="1764" dirty="0">
                <a:solidFill>
                  <a:schemeClr val="bg2">
                    <a:lumMod val="10000"/>
                  </a:schemeClr>
                </a:solidFill>
              </a:rPr>
              <a:t>La carte de score </a:t>
            </a:r>
            <a:r>
              <a:rPr lang="fr-FR" sz="1764" b="1" dirty="0">
                <a:solidFill>
                  <a:schemeClr val="accent3"/>
                </a:solidFill>
              </a:rPr>
              <a:t>renforce aussi la coordination</a:t>
            </a:r>
            <a:r>
              <a:rPr lang="fr-FR" sz="1764" dirty="0">
                <a:solidFill>
                  <a:schemeClr val="bg2">
                    <a:lumMod val="10000"/>
                  </a:schemeClr>
                </a:solidFill>
              </a:rPr>
              <a:t> en procurant un outil commun de suivi des interventions.</a:t>
            </a:r>
            <a:endParaRPr lang="en-US" sz="1764" dirty="0">
              <a:solidFill>
                <a:schemeClr val="bg2">
                  <a:lumMod val="10000"/>
                </a:schemeClr>
              </a:solidFill>
            </a:endParaRPr>
          </a:p>
        </p:txBody>
      </p:sp>
    </p:spTree>
    <p:extLst>
      <p:ext uri="{BB962C8B-B14F-4D97-AF65-F5344CB8AC3E}">
        <p14:creationId xmlns:p14="http://schemas.microsoft.com/office/powerpoint/2010/main" val="266800162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374677" cy="984885"/>
          </a:xfrm>
        </p:spPr>
        <p:txBody>
          <a:bodyPr vert="horz" wrap="square" lIns="0" tIns="0" rIns="0" bIns="0" numCol="1" anchor="t" anchorCtr="0" compatLnSpc="1">
            <a:prstTxWarp prst="textNoShape">
              <a:avLst/>
            </a:prstTxWarp>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Comment intégrer les cartes de score dans les mécanismes de redevabilité existants ?</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Introduction</a:t>
            </a:r>
          </a:p>
        </p:txBody>
      </p:sp>
      <p:sp>
        <p:nvSpPr>
          <p:cNvPr id="20" name="Text Placeholder 5">
            <a:extLst>
              <a:ext uri="{FF2B5EF4-FFF2-40B4-BE49-F238E27FC236}">
                <a16:creationId xmlns:a16="http://schemas.microsoft.com/office/drawing/2014/main" id="{5CC66C07-A178-4CEB-8A83-A34F9C77D618}"/>
              </a:ext>
            </a:extLst>
          </p:cNvPr>
          <p:cNvSpPr txBox="1">
            <a:spLocks/>
          </p:cNvSpPr>
          <p:nvPr/>
        </p:nvSpPr>
        <p:spPr>
          <a:xfrm>
            <a:off x="448072" y="2269431"/>
            <a:ext cx="7865400" cy="2262238"/>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36042" indent="-336042">
              <a:lnSpc>
                <a:spcPts val="2352"/>
              </a:lnSpc>
              <a:spcAft>
                <a:spcPts val="2940"/>
              </a:spcAft>
              <a:buFont typeface="Arial" panose="020B0604020202020204" pitchFamily="34" charset="0"/>
              <a:buAutoNum type="arabicPeriod"/>
            </a:pPr>
            <a:r>
              <a:rPr lang="fr-FR" sz="1764" dirty="0">
                <a:solidFill>
                  <a:schemeClr val="bg2">
                    <a:lumMod val="10000"/>
                  </a:schemeClr>
                </a:solidFill>
              </a:rPr>
              <a:t>Identifier les</a:t>
            </a:r>
            <a:r>
              <a:rPr lang="fr-FR" sz="1764" dirty="0"/>
              <a:t> </a:t>
            </a:r>
            <a:r>
              <a:rPr lang="fr-FR" sz="1764" b="1" dirty="0">
                <a:solidFill>
                  <a:schemeClr val="accent3"/>
                </a:solidFill>
              </a:rPr>
              <a:t>intervenants clés </a:t>
            </a:r>
            <a:r>
              <a:rPr lang="fr-FR" sz="1764" dirty="0">
                <a:solidFill>
                  <a:schemeClr val="bg2">
                    <a:lumMod val="10000"/>
                  </a:schemeClr>
                </a:solidFill>
              </a:rPr>
              <a:t>à engager dans la revue des cartes </a:t>
            </a:r>
          </a:p>
          <a:p>
            <a:pPr marL="336042" indent="-336042">
              <a:lnSpc>
                <a:spcPts val="2352"/>
              </a:lnSpc>
              <a:spcAft>
                <a:spcPts val="2940"/>
              </a:spcAft>
              <a:buAutoNum type="arabicPeriod"/>
            </a:pPr>
            <a:r>
              <a:rPr lang="fr-FR" sz="1764" dirty="0">
                <a:solidFill>
                  <a:schemeClr val="bg2">
                    <a:lumMod val="10000"/>
                  </a:schemeClr>
                </a:solidFill>
              </a:rPr>
              <a:t>Identifier les</a:t>
            </a:r>
            <a:r>
              <a:rPr lang="fr-FR" sz="1764" dirty="0"/>
              <a:t> </a:t>
            </a:r>
            <a:r>
              <a:rPr lang="fr-FR" sz="1764" b="1" dirty="0">
                <a:solidFill>
                  <a:schemeClr val="accent3"/>
                </a:solidFill>
              </a:rPr>
              <a:t>principaux forums de redevabilité</a:t>
            </a:r>
            <a:r>
              <a:rPr lang="fr-FR" sz="1764" dirty="0"/>
              <a:t> </a:t>
            </a:r>
            <a:r>
              <a:rPr lang="fr-FR" sz="1764" dirty="0">
                <a:solidFill>
                  <a:schemeClr val="bg2">
                    <a:lumMod val="10000"/>
                  </a:schemeClr>
                </a:solidFill>
              </a:rPr>
              <a:t>où la carte de score peut être intégrée pour revue et action</a:t>
            </a:r>
          </a:p>
          <a:p>
            <a:pPr marL="336042" indent="-336042">
              <a:lnSpc>
                <a:spcPts val="2352"/>
              </a:lnSpc>
              <a:spcAft>
                <a:spcPts val="2940"/>
              </a:spcAft>
              <a:buAutoNum type="arabicPeriod"/>
            </a:pPr>
            <a:r>
              <a:rPr lang="fr-FR" sz="1764" dirty="0">
                <a:solidFill>
                  <a:schemeClr val="bg2">
                    <a:lumMod val="10000"/>
                  </a:schemeClr>
                </a:solidFill>
              </a:rPr>
              <a:t>Définir le</a:t>
            </a:r>
            <a:r>
              <a:rPr lang="fr-FR" sz="1764" dirty="0"/>
              <a:t> </a:t>
            </a:r>
            <a:r>
              <a:rPr lang="fr-FR" sz="1764" b="1" dirty="0">
                <a:solidFill>
                  <a:schemeClr val="accent3"/>
                </a:solidFill>
              </a:rPr>
              <a:t>processus trimestriel </a:t>
            </a:r>
            <a:r>
              <a:rPr lang="fr-FR" sz="1764" dirty="0">
                <a:solidFill>
                  <a:schemeClr val="bg2">
                    <a:lumMod val="10000"/>
                  </a:schemeClr>
                </a:solidFill>
              </a:rPr>
              <a:t>de chargement des données, d’analyse de la carte de score et de documentation et suivi des actions </a:t>
            </a:r>
            <a:endParaRPr lang="en-US" sz="1764" dirty="0">
              <a:solidFill>
                <a:schemeClr val="bg2">
                  <a:lumMod val="10000"/>
                </a:schemeClr>
              </a:solidFill>
            </a:endParaRPr>
          </a:p>
        </p:txBody>
      </p:sp>
    </p:spTree>
    <p:extLst>
      <p:ext uri="{BB962C8B-B14F-4D97-AF65-F5344CB8AC3E}">
        <p14:creationId xmlns:p14="http://schemas.microsoft.com/office/powerpoint/2010/main" val="38528737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374677" cy="492443"/>
          </a:xfrm>
        </p:spPr>
        <p:txBody>
          <a:bodyPr vert="horz" wrap="square" lIns="0" tIns="0" rIns="0" bIns="0" numCol="1" anchor="t" anchorCtr="0" compatLnSpc="1">
            <a:prstTxWarp prst="textNoShape">
              <a:avLst/>
            </a:prstTxWarp>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Avec qui faut-il partager la carte de score ? </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1. Identifier les intervenants clés  </a:t>
            </a:r>
          </a:p>
        </p:txBody>
      </p:sp>
      <p:grpSp>
        <p:nvGrpSpPr>
          <p:cNvPr id="4" name="Group 3">
            <a:extLst>
              <a:ext uri="{FF2B5EF4-FFF2-40B4-BE49-F238E27FC236}">
                <a16:creationId xmlns:a16="http://schemas.microsoft.com/office/drawing/2014/main" id="{8E9AED16-60DB-F84A-882E-AB98EB6B7C04}"/>
              </a:ext>
            </a:extLst>
          </p:cNvPr>
          <p:cNvGrpSpPr/>
          <p:nvPr/>
        </p:nvGrpSpPr>
        <p:grpSpPr>
          <a:xfrm>
            <a:off x="436440" y="1258902"/>
            <a:ext cx="8354305" cy="4930483"/>
            <a:chOff x="747586" y="1088404"/>
            <a:chExt cx="7535322" cy="5030927"/>
          </a:xfrm>
        </p:grpSpPr>
        <p:sp>
          <p:nvSpPr>
            <p:cNvPr id="10" name="Rectangle 32">
              <a:extLst>
                <a:ext uri="{FF2B5EF4-FFF2-40B4-BE49-F238E27FC236}">
                  <a16:creationId xmlns:a16="http://schemas.microsoft.com/office/drawing/2014/main" id="{1531C194-23FE-C94E-B977-8C87D071CC6D}"/>
                </a:ext>
              </a:extLst>
            </p:cNvPr>
            <p:cNvSpPr>
              <a:spLocks noChangeArrowheads="1"/>
            </p:cNvSpPr>
            <p:nvPr/>
          </p:nvSpPr>
          <p:spPr bwMode="gray">
            <a:xfrm>
              <a:off x="2510757" y="1088404"/>
              <a:ext cx="5169920" cy="249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lvl1pPr marL="342900" indent="-342900" defTabSz="895350">
                <a:defRPr sz="1600">
                  <a:solidFill>
                    <a:schemeClr val="tx1"/>
                  </a:solidFill>
                  <a:latin typeface="Arial" charset="0"/>
                </a:defRPr>
              </a:lvl1pPr>
              <a:lvl2pPr marL="728663" indent="-280988" defTabSz="895350">
                <a:defRPr sz="1600">
                  <a:solidFill>
                    <a:schemeClr val="tx1"/>
                  </a:solidFill>
                  <a:latin typeface="Arial" charset="0"/>
                </a:defRPr>
              </a:lvl2pPr>
              <a:lvl3pPr marL="1120775" indent="-225425" defTabSz="895350">
                <a:buSzPct val="120000"/>
                <a:buChar char="–"/>
                <a:defRPr sz="1600">
                  <a:solidFill>
                    <a:schemeClr val="tx1"/>
                  </a:solidFill>
                  <a:latin typeface="Arial" charset="0"/>
                </a:defRPr>
              </a:lvl3pPr>
              <a:lvl4pPr marL="1568450" indent="-223838" defTabSz="895350">
                <a:buSzPct val="120000"/>
                <a:buChar char="▫"/>
                <a:defRPr sz="1600">
                  <a:solidFill>
                    <a:schemeClr val="tx1"/>
                  </a:solidFill>
                  <a:latin typeface="Arial" charset="0"/>
                </a:defRPr>
              </a:lvl4pPr>
              <a:lvl5pPr marL="2016125" indent="-223838" defTabSz="895350">
                <a:buSzPct val="89000"/>
                <a:buChar char="-"/>
                <a:defRPr sz="1600">
                  <a:solidFill>
                    <a:schemeClr val="tx1"/>
                  </a:solidFill>
                  <a:latin typeface="Arial" charset="0"/>
                </a:defRPr>
              </a:lvl5pPr>
              <a:lvl6pPr marL="2473325" indent="-223838"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30525" indent="-223838"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387725" indent="-223838"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44925" indent="-223838"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342864" indent="-342864" defTabSz="895255">
                <a:buClr>
                  <a:srgbClr val="002960"/>
                </a:buClr>
                <a:defRPr/>
              </a:pPr>
              <a:r>
                <a:rPr lang="fr-FR" sz="1598" b="1" dirty="0">
                  <a:cs typeface="Arial" charset="0"/>
                </a:rPr>
                <a:t>Responsabilités générales</a:t>
              </a:r>
            </a:p>
          </p:txBody>
        </p:sp>
        <p:sp>
          <p:nvSpPr>
            <p:cNvPr id="11" name="Line 4">
              <a:extLst>
                <a:ext uri="{FF2B5EF4-FFF2-40B4-BE49-F238E27FC236}">
                  <a16:creationId xmlns:a16="http://schemas.microsoft.com/office/drawing/2014/main" id="{34C5DC76-A138-724C-AC9E-057562B84E51}"/>
                </a:ext>
              </a:extLst>
            </p:cNvPr>
            <p:cNvSpPr>
              <a:spLocks noChangeShapeType="1"/>
            </p:cNvSpPr>
            <p:nvPr/>
          </p:nvSpPr>
          <p:spPr bwMode="gray">
            <a:xfrm>
              <a:off x="2510757" y="1447775"/>
              <a:ext cx="5169921"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defTabSz="914303">
                <a:buClr>
                  <a:srgbClr val="002960"/>
                </a:buClr>
                <a:defRPr/>
              </a:pPr>
              <a:endParaRPr lang="en-US" sz="1800"/>
            </a:p>
          </p:txBody>
        </p:sp>
        <p:sp>
          <p:nvSpPr>
            <p:cNvPr id="12" name="Line 23">
              <a:extLst>
                <a:ext uri="{FF2B5EF4-FFF2-40B4-BE49-F238E27FC236}">
                  <a16:creationId xmlns:a16="http://schemas.microsoft.com/office/drawing/2014/main" id="{0A7766CF-FECF-5447-8692-DFC26C4AADB4}"/>
                </a:ext>
              </a:extLst>
            </p:cNvPr>
            <p:cNvSpPr>
              <a:spLocks noChangeShapeType="1"/>
            </p:cNvSpPr>
            <p:nvPr/>
          </p:nvSpPr>
          <p:spPr bwMode="gray">
            <a:xfrm>
              <a:off x="2510757" y="3328549"/>
              <a:ext cx="5169921" cy="0"/>
            </a:xfrm>
            <a:prstGeom prst="line">
              <a:avLst/>
            </a:prstGeom>
            <a:noFill/>
            <a:ln w="12700">
              <a:solidFill>
                <a:srgbClr val="80808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303">
                <a:buClr>
                  <a:srgbClr val="002960"/>
                </a:buClr>
                <a:defRPr/>
              </a:pPr>
              <a:endParaRPr lang="en-US" sz="1800"/>
            </a:p>
          </p:txBody>
        </p:sp>
        <p:sp>
          <p:nvSpPr>
            <p:cNvPr id="13" name="Line 24">
              <a:extLst>
                <a:ext uri="{FF2B5EF4-FFF2-40B4-BE49-F238E27FC236}">
                  <a16:creationId xmlns:a16="http://schemas.microsoft.com/office/drawing/2014/main" id="{F0CEC73B-A91D-9547-A798-68CEBC6ECD5C}"/>
                </a:ext>
              </a:extLst>
            </p:cNvPr>
            <p:cNvSpPr>
              <a:spLocks noChangeShapeType="1"/>
            </p:cNvSpPr>
            <p:nvPr/>
          </p:nvSpPr>
          <p:spPr bwMode="gray">
            <a:xfrm>
              <a:off x="2467447" y="4564734"/>
              <a:ext cx="5169921" cy="0"/>
            </a:xfrm>
            <a:prstGeom prst="line">
              <a:avLst/>
            </a:prstGeom>
            <a:noFill/>
            <a:ln w="12700">
              <a:solidFill>
                <a:srgbClr val="80808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303">
                <a:buClr>
                  <a:srgbClr val="002960"/>
                </a:buClr>
                <a:defRPr/>
              </a:pPr>
              <a:endParaRPr lang="en-US" sz="1800" dirty="0"/>
            </a:p>
          </p:txBody>
        </p:sp>
        <p:sp>
          <p:nvSpPr>
            <p:cNvPr id="14" name="Line 23">
              <a:extLst>
                <a:ext uri="{FF2B5EF4-FFF2-40B4-BE49-F238E27FC236}">
                  <a16:creationId xmlns:a16="http://schemas.microsoft.com/office/drawing/2014/main" id="{A309D38F-3815-A44F-83A5-1EF73B0A9D4B}"/>
                </a:ext>
              </a:extLst>
            </p:cNvPr>
            <p:cNvSpPr>
              <a:spLocks noChangeShapeType="1"/>
            </p:cNvSpPr>
            <p:nvPr/>
          </p:nvSpPr>
          <p:spPr bwMode="gray">
            <a:xfrm>
              <a:off x="2510757" y="2277761"/>
              <a:ext cx="5169921" cy="0"/>
            </a:xfrm>
            <a:prstGeom prst="line">
              <a:avLst/>
            </a:prstGeom>
            <a:noFill/>
            <a:ln w="12700">
              <a:solidFill>
                <a:srgbClr val="80808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303">
                <a:buClr>
                  <a:srgbClr val="002960"/>
                </a:buClr>
                <a:defRPr/>
              </a:pPr>
              <a:endParaRPr lang="en-US" sz="1800"/>
            </a:p>
          </p:txBody>
        </p:sp>
        <p:sp>
          <p:nvSpPr>
            <p:cNvPr id="18" name="Rectangle 2">
              <a:extLst>
                <a:ext uri="{FF2B5EF4-FFF2-40B4-BE49-F238E27FC236}">
                  <a16:creationId xmlns:a16="http://schemas.microsoft.com/office/drawing/2014/main" id="{B37F047B-09D8-684B-A7E4-B39A4228F7A2}"/>
                </a:ext>
              </a:extLst>
            </p:cNvPr>
            <p:cNvSpPr txBox="1"/>
            <p:nvPr/>
          </p:nvSpPr>
          <p:spPr>
            <a:xfrm>
              <a:off x="2510758" y="1510941"/>
              <a:ext cx="5427775" cy="752730"/>
            </a:xfrm>
            <a:prstGeom prst="rect">
              <a:avLst/>
            </a:prstGeom>
          </p:spPr>
          <p:txBody>
            <a:bodyPr vert="horz" wrap="square" lIns="0" tIns="0" rIns="0" bIns="0" rtlCol="0" anchor="t" anchorCtr="0">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287307" lvl="1" indent="-285720" defTabSz="895255">
                <a:buClr>
                  <a:srgbClr val="002960"/>
                </a:buClr>
                <a:buFont typeface="Arial" panose="020B0604020202020204" pitchFamily="34" charset="0"/>
                <a:buChar char="•"/>
                <a:defRPr/>
              </a:pPr>
              <a:r>
                <a:rPr lang="fr-FR" sz="1598" dirty="0">
                  <a:latin typeface="Arial"/>
                </a:rPr>
                <a:t>Transparence des performances</a:t>
              </a:r>
            </a:p>
            <a:p>
              <a:pPr marL="287307" lvl="1" indent="-285720" defTabSz="895255">
                <a:buClr>
                  <a:srgbClr val="002960"/>
                </a:buClr>
                <a:buFont typeface="Arial" panose="020B0604020202020204" pitchFamily="34" charset="0"/>
                <a:buChar char="•"/>
                <a:defRPr/>
              </a:pPr>
              <a:r>
                <a:rPr lang="fr-FR" sz="1598" dirty="0">
                  <a:latin typeface="Arial"/>
                </a:rPr>
                <a:t>User de leur pouvoir politique et ressources pour améliorer la santé là où cela importe le plus</a:t>
              </a:r>
            </a:p>
          </p:txBody>
        </p:sp>
        <p:sp>
          <p:nvSpPr>
            <p:cNvPr id="19" name="Rectangle 6">
              <a:extLst>
                <a:ext uri="{FF2B5EF4-FFF2-40B4-BE49-F238E27FC236}">
                  <a16:creationId xmlns:a16="http://schemas.microsoft.com/office/drawing/2014/main" id="{B72C8B02-D3F2-AD49-BB6C-8BEB9771F9F0}"/>
                </a:ext>
              </a:extLst>
            </p:cNvPr>
            <p:cNvSpPr txBox="1"/>
            <p:nvPr/>
          </p:nvSpPr>
          <p:spPr>
            <a:xfrm>
              <a:off x="2491727" y="2303829"/>
              <a:ext cx="5791181" cy="1003865"/>
            </a:xfrm>
            <a:prstGeom prst="rect">
              <a:avLst/>
            </a:prstGeom>
          </p:spPr>
          <p:txBody>
            <a:bodyPr vert="horz" wrap="square" lIns="0" tIns="0" rIns="0" bIns="0" rtlCol="0" anchor="t" anchorCtr="0">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287307" lvl="1" indent="-285720" defTabSz="895255">
                <a:buClr>
                  <a:srgbClr val="002960"/>
                </a:buClr>
                <a:buFont typeface="Arial" panose="020B0604020202020204" pitchFamily="34" charset="0"/>
                <a:buChar char="•"/>
                <a:defRPr/>
              </a:pPr>
              <a:r>
                <a:rPr lang="fr-FR" sz="1598" dirty="0">
                  <a:latin typeface="Arial"/>
                </a:rPr>
                <a:t>Identifier les principales insuffisances des programmes</a:t>
              </a:r>
            </a:p>
            <a:p>
              <a:pPr marL="287307" lvl="1" indent="-285720" defTabSz="895255">
                <a:buClr>
                  <a:srgbClr val="002960"/>
                </a:buClr>
                <a:buFont typeface="Arial" panose="020B0604020202020204" pitchFamily="34" charset="0"/>
                <a:buChar char="•"/>
                <a:defRPr/>
              </a:pPr>
              <a:r>
                <a:rPr lang="fr-FR" sz="1598" dirty="0">
                  <a:latin typeface="Arial"/>
                </a:rPr>
                <a:t>Changer les politiques au profit de l’amélioration </a:t>
              </a:r>
            </a:p>
            <a:p>
              <a:pPr marL="287307" lvl="1" indent="-285720" defTabSz="895255">
                <a:buClr>
                  <a:srgbClr val="002960"/>
                </a:buClr>
                <a:buFont typeface="Arial" panose="020B0604020202020204" pitchFamily="34" charset="0"/>
                <a:buChar char="•"/>
                <a:defRPr/>
              </a:pPr>
              <a:r>
                <a:rPr lang="fr-FR" sz="1598" dirty="0">
                  <a:latin typeface="Arial"/>
                </a:rPr>
                <a:t>Réaffecter les ressources pour résoudre les problèmes de financement</a:t>
              </a:r>
            </a:p>
          </p:txBody>
        </p:sp>
        <p:sp>
          <p:nvSpPr>
            <p:cNvPr id="22" name="Rectangle 10">
              <a:extLst>
                <a:ext uri="{FF2B5EF4-FFF2-40B4-BE49-F238E27FC236}">
                  <a16:creationId xmlns:a16="http://schemas.microsoft.com/office/drawing/2014/main" id="{45263246-BE61-5C41-9A54-BA58354F3D60}"/>
                </a:ext>
              </a:extLst>
            </p:cNvPr>
            <p:cNvSpPr txBox="1"/>
            <p:nvPr/>
          </p:nvSpPr>
          <p:spPr>
            <a:xfrm>
              <a:off x="2467447" y="3314092"/>
              <a:ext cx="5815461" cy="1003641"/>
            </a:xfrm>
            <a:prstGeom prst="rect">
              <a:avLst/>
            </a:prstGeom>
          </p:spPr>
          <p:txBody>
            <a:bodyPr vert="horz" wrap="square" lIns="0" tIns="0" rIns="0" bIns="0" rtlCol="0" anchor="t" anchorCtr="0">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287307" lvl="1" indent="-285720" defTabSz="895255">
                <a:buClr>
                  <a:srgbClr val="002960"/>
                </a:buClr>
                <a:buFont typeface="Arial" panose="020B0604020202020204" pitchFamily="34" charset="0"/>
                <a:buChar char="•"/>
                <a:defRPr/>
              </a:pPr>
              <a:r>
                <a:rPr lang="fr-FR" sz="1598" dirty="0">
                  <a:latin typeface="Arial"/>
                </a:rPr>
                <a:t>Avec les programmes du </a:t>
              </a:r>
              <a:r>
                <a:rPr lang="fr-FR" sz="1598" dirty="0" err="1">
                  <a:latin typeface="Arial"/>
                </a:rPr>
                <a:t>MdS</a:t>
              </a:r>
              <a:r>
                <a:rPr lang="fr-FR" sz="1598" dirty="0">
                  <a:latin typeface="Arial"/>
                </a:rPr>
                <a:t>, identifier et fournir les ressources financières et/ou humaines (par ex., assistance technique) dont les programmes ont besoin</a:t>
              </a:r>
            </a:p>
            <a:p>
              <a:pPr marL="287307" lvl="1" indent="-285720" defTabSz="895255">
                <a:buClr>
                  <a:srgbClr val="002960"/>
                </a:buClr>
                <a:buFont typeface="Arial" panose="020B0604020202020204" pitchFamily="34" charset="0"/>
                <a:buChar char="•"/>
                <a:defRPr/>
              </a:pPr>
              <a:r>
                <a:rPr lang="fr-FR" sz="1598" dirty="0">
                  <a:latin typeface="Arial"/>
                </a:rPr>
                <a:t>Engager la communauté concernant certains goulots d’étranglement</a:t>
              </a:r>
            </a:p>
          </p:txBody>
        </p:sp>
        <p:sp>
          <p:nvSpPr>
            <p:cNvPr id="23" name="Rectangle 14">
              <a:extLst>
                <a:ext uri="{FF2B5EF4-FFF2-40B4-BE49-F238E27FC236}">
                  <a16:creationId xmlns:a16="http://schemas.microsoft.com/office/drawing/2014/main" id="{22C0F729-86C0-B14E-BF17-9AADBFAE1F30}"/>
                </a:ext>
              </a:extLst>
            </p:cNvPr>
            <p:cNvSpPr txBox="1"/>
            <p:nvPr/>
          </p:nvSpPr>
          <p:spPr>
            <a:xfrm>
              <a:off x="2467447" y="4592525"/>
              <a:ext cx="5169921" cy="752898"/>
            </a:xfrm>
            <a:prstGeom prst="rect">
              <a:avLst/>
            </a:prstGeom>
          </p:spPr>
          <p:txBody>
            <a:bodyPr vert="horz" wrap="square" lIns="0" tIns="0" rIns="0" bIns="0" rtlCol="0" anchor="t" anchorCtr="0">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287307" lvl="1" indent="-285720" defTabSz="895255">
                <a:buClr>
                  <a:srgbClr val="002960"/>
                </a:buClr>
                <a:buFont typeface="Arial" panose="020B0604020202020204" pitchFamily="34" charset="0"/>
                <a:buChar char="•"/>
                <a:defRPr/>
              </a:pPr>
              <a:r>
                <a:rPr lang="fr-FR" sz="1598" dirty="0">
                  <a:latin typeface="Arial"/>
                </a:rPr>
                <a:t>Faciliter la mise en œuvre</a:t>
              </a:r>
            </a:p>
            <a:p>
              <a:pPr marL="287307" lvl="1" indent="-285720" defTabSz="895255">
                <a:buClr>
                  <a:srgbClr val="002960"/>
                </a:buClr>
                <a:buFont typeface="Arial" panose="020B0604020202020204" pitchFamily="34" charset="0"/>
                <a:buChar char="•"/>
                <a:defRPr/>
              </a:pPr>
              <a:r>
                <a:rPr lang="fr-FR" sz="1598" dirty="0">
                  <a:latin typeface="Arial"/>
                </a:rPr>
                <a:t>Étalonner les performances, validation des données</a:t>
              </a:r>
            </a:p>
            <a:p>
              <a:pPr marL="287307" lvl="1" indent="-285720" defTabSz="895255">
                <a:buClr>
                  <a:srgbClr val="002960"/>
                </a:buClr>
                <a:buFont typeface="Arial" panose="020B0604020202020204" pitchFamily="34" charset="0"/>
                <a:buChar char="•"/>
                <a:defRPr/>
              </a:pPr>
              <a:r>
                <a:rPr lang="fr-FR" sz="1598" dirty="0">
                  <a:latin typeface="Arial"/>
                </a:rPr>
                <a:t>Feedback sur l’efficacité de la mise en œuvre</a:t>
              </a:r>
            </a:p>
          </p:txBody>
        </p:sp>
        <p:sp>
          <p:nvSpPr>
            <p:cNvPr id="24" name="Line 24">
              <a:extLst>
                <a:ext uri="{FF2B5EF4-FFF2-40B4-BE49-F238E27FC236}">
                  <a16:creationId xmlns:a16="http://schemas.microsoft.com/office/drawing/2014/main" id="{73745705-9740-D343-8CA7-B5C9E5B73E9D}"/>
                </a:ext>
              </a:extLst>
            </p:cNvPr>
            <p:cNvSpPr>
              <a:spLocks noChangeShapeType="1"/>
            </p:cNvSpPr>
            <p:nvPr/>
          </p:nvSpPr>
          <p:spPr bwMode="gray">
            <a:xfrm>
              <a:off x="2491731" y="5362179"/>
              <a:ext cx="5169921" cy="0"/>
            </a:xfrm>
            <a:prstGeom prst="line">
              <a:avLst/>
            </a:prstGeom>
            <a:noFill/>
            <a:ln w="12700">
              <a:solidFill>
                <a:srgbClr val="80808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303">
                <a:buClr>
                  <a:srgbClr val="002960"/>
                </a:buClr>
                <a:defRPr/>
              </a:pPr>
              <a:endParaRPr lang="en-US" sz="1800" dirty="0"/>
            </a:p>
          </p:txBody>
        </p:sp>
        <p:grpSp>
          <p:nvGrpSpPr>
            <p:cNvPr id="25" name="Group 24">
              <a:extLst>
                <a:ext uri="{FF2B5EF4-FFF2-40B4-BE49-F238E27FC236}">
                  <a16:creationId xmlns:a16="http://schemas.microsoft.com/office/drawing/2014/main" id="{7A132F30-DB43-4640-B921-1A574273FF14}"/>
                </a:ext>
              </a:extLst>
            </p:cNvPr>
            <p:cNvGrpSpPr/>
            <p:nvPr/>
          </p:nvGrpSpPr>
          <p:grpSpPr>
            <a:xfrm>
              <a:off x="747586" y="1364173"/>
              <a:ext cx="1543897" cy="4726746"/>
              <a:chOff x="1096686" y="1398807"/>
              <a:chExt cx="1513252" cy="4632923"/>
            </a:xfrm>
          </p:grpSpPr>
          <p:sp>
            <p:nvSpPr>
              <p:cNvPr id="26" name="Rectangle 32">
                <a:extLst>
                  <a:ext uri="{FF2B5EF4-FFF2-40B4-BE49-F238E27FC236}">
                    <a16:creationId xmlns:a16="http://schemas.microsoft.com/office/drawing/2014/main" id="{A8BC18F5-59E8-D940-B730-F6356768B641}"/>
                  </a:ext>
                </a:extLst>
              </p:cNvPr>
              <p:cNvSpPr>
                <a:spLocks noChangeArrowheads="1"/>
              </p:cNvSpPr>
              <p:nvPr/>
            </p:nvSpPr>
            <p:spPr bwMode="gray">
              <a:xfrm>
                <a:off x="1106971" y="1398807"/>
                <a:ext cx="1465262" cy="723900"/>
              </a:xfrm>
              <a:prstGeom prst="rect">
                <a:avLst/>
              </a:prstGeom>
              <a:solidFill>
                <a:schemeClr val="accent1"/>
              </a:solidFill>
              <a:ln w="12700" algn="ctr">
                <a:solidFill>
                  <a:schemeClr val="bg1"/>
                </a:solidFill>
                <a:miter lim="800000"/>
                <a:headEnd/>
                <a:tailEnd/>
              </a:ln>
              <a:effectLst>
                <a:outerShdw blurRad="50800" dist="38100" dir="2700000" algn="tl" rotWithShape="0">
                  <a:prstClr val="black">
                    <a:alpha val="40000"/>
                  </a:prstClr>
                </a:outerShdw>
              </a:effectLst>
            </p:spPr>
            <p:txBody>
              <a:bodyPr lIns="72001" tIns="72001" rIns="72001" bIns="72001" anchor="ctr">
                <a:no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303">
                  <a:buClr>
                    <a:srgbClr val="002960"/>
                  </a:buClr>
                  <a:defRPr/>
                </a:pPr>
                <a:endParaRPr lang="en-US" sz="1598"/>
              </a:p>
            </p:txBody>
          </p:sp>
          <p:sp>
            <p:nvSpPr>
              <p:cNvPr id="27" name="Rectangle 32">
                <a:extLst>
                  <a:ext uri="{FF2B5EF4-FFF2-40B4-BE49-F238E27FC236}">
                    <a16:creationId xmlns:a16="http://schemas.microsoft.com/office/drawing/2014/main" id="{43149943-3F8D-4F4C-9856-C770850FFB60}"/>
                  </a:ext>
                </a:extLst>
              </p:cNvPr>
              <p:cNvSpPr>
                <a:spLocks noChangeArrowheads="1"/>
              </p:cNvSpPr>
              <p:nvPr/>
            </p:nvSpPr>
            <p:spPr bwMode="gray">
              <a:xfrm>
                <a:off x="1216114" y="1596772"/>
                <a:ext cx="1322387" cy="4918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p>
                <a:pPr defTabSz="895160">
                  <a:buClr>
                    <a:srgbClr val="002960"/>
                  </a:buClr>
                  <a:defRPr/>
                </a:pPr>
                <a:r>
                  <a:rPr lang="fr-FR" sz="1598" dirty="0">
                    <a:cs typeface="Arial" charset="0"/>
                  </a:rPr>
                  <a:t>Dirigeants politiques</a:t>
                </a:r>
              </a:p>
            </p:txBody>
          </p:sp>
          <p:sp>
            <p:nvSpPr>
              <p:cNvPr id="28" name="Rectangle 32">
                <a:extLst>
                  <a:ext uri="{FF2B5EF4-FFF2-40B4-BE49-F238E27FC236}">
                    <a16:creationId xmlns:a16="http://schemas.microsoft.com/office/drawing/2014/main" id="{08370250-4D5B-954C-B1AF-821E0BFE19E6}"/>
                  </a:ext>
                </a:extLst>
              </p:cNvPr>
              <p:cNvSpPr>
                <a:spLocks noChangeArrowheads="1"/>
              </p:cNvSpPr>
              <p:nvPr/>
            </p:nvSpPr>
            <p:spPr bwMode="gray">
              <a:xfrm>
                <a:off x="1106971" y="2223178"/>
                <a:ext cx="1502967" cy="1034480"/>
              </a:xfrm>
              <a:prstGeom prst="rect">
                <a:avLst/>
              </a:prstGeom>
              <a:solidFill>
                <a:schemeClr val="accent1"/>
              </a:solidFill>
              <a:ln w="12700" algn="ctr">
                <a:solidFill>
                  <a:schemeClr val="bg1"/>
                </a:solidFill>
                <a:miter lim="800000"/>
                <a:headEnd/>
                <a:tailEnd/>
              </a:ln>
              <a:effectLst>
                <a:outerShdw blurRad="50800" dist="38100" dir="2700000" algn="tl" rotWithShape="0">
                  <a:prstClr val="black">
                    <a:alpha val="40000"/>
                  </a:prstClr>
                </a:outerShdw>
              </a:effectLst>
            </p:spPr>
            <p:txBody>
              <a:bodyPr lIns="72001" tIns="72001" rIns="72001" bIns="72001" anchor="ctr">
                <a:no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303">
                  <a:buClr>
                    <a:srgbClr val="002960"/>
                  </a:buClr>
                  <a:defRPr/>
                </a:pPr>
                <a:endParaRPr lang="en-US" sz="1598"/>
              </a:p>
            </p:txBody>
          </p:sp>
          <p:sp>
            <p:nvSpPr>
              <p:cNvPr id="29" name="Rectangle 32">
                <a:extLst>
                  <a:ext uri="{FF2B5EF4-FFF2-40B4-BE49-F238E27FC236}">
                    <a16:creationId xmlns:a16="http://schemas.microsoft.com/office/drawing/2014/main" id="{EB2BEFDB-BC63-F740-97CB-CE7B1639C9E0}"/>
                  </a:ext>
                </a:extLst>
              </p:cNvPr>
              <p:cNvSpPr>
                <a:spLocks noChangeArrowheads="1"/>
              </p:cNvSpPr>
              <p:nvPr/>
            </p:nvSpPr>
            <p:spPr bwMode="gray">
              <a:xfrm>
                <a:off x="1216114" y="2385953"/>
                <a:ext cx="1383538" cy="7379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p>
                <a:pPr defTabSz="895160">
                  <a:buClr>
                    <a:srgbClr val="002960"/>
                  </a:buClr>
                  <a:defRPr/>
                </a:pPr>
                <a:r>
                  <a:rPr lang="fr-FR" sz="1598" dirty="0">
                    <a:cs typeface="Arial" charset="0"/>
                  </a:rPr>
                  <a:t>Directeurs de programmes et du </a:t>
                </a:r>
                <a:r>
                  <a:rPr lang="fr-FR" sz="1598" dirty="0" err="1">
                    <a:cs typeface="Arial" charset="0"/>
                  </a:rPr>
                  <a:t>MdS</a:t>
                </a:r>
                <a:endParaRPr lang="fr-FR" sz="1598" dirty="0">
                  <a:cs typeface="Arial" charset="0"/>
                </a:endParaRPr>
              </a:p>
            </p:txBody>
          </p:sp>
          <p:sp>
            <p:nvSpPr>
              <p:cNvPr id="30" name="Rectangle 32">
                <a:extLst>
                  <a:ext uri="{FF2B5EF4-FFF2-40B4-BE49-F238E27FC236}">
                    <a16:creationId xmlns:a16="http://schemas.microsoft.com/office/drawing/2014/main" id="{FD8F8EE0-E745-054B-8415-F585F6160DF2}"/>
                  </a:ext>
                </a:extLst>
              </p:cNvPr>
              <p:cNvSpPr>
                <a:spLocks noChangeArrowheads="1"/>
              </p:cNvSpPr>
              <p:nvPr/>
            </p:nvSpPr>
            <p:spPr bwMode="gray">
              <a:xfrm>
                <a:off x="1106971" y="3387155"/>
                <a:ext cx="1502967" cy="871532"/>
              </a:xfrm>
              <a:prstGeom prst="rect">
                <a:avLst/>
              </a:prstGeom>
              <a:solidFill>
                <a:schemeClr val="accent1"/>
              </a:solidFill>
              <a:ln w="12700" algn="ctr">
                <a:solidFill>
                  <a:schemeClr val="bg1"/>
                </a:solidFill>
                <a:miter lim="800000"/>
                <a:headEnd/>
                <a:tailEnd/>
              </a:ln>
              <a:effectLst>
                <a:outerShdw blurRad="50800" dist="38100" dir="2700000" algn="tl" rotWithShape="0">
                  <a:prstClr val="black">
                    <a:alpha val="40000"/>
                  </a:prstClr>
                </a:outerShdw>
              </a:effectLst>
            </p:spPr>
            <p:txBody>
              <a:bodyPr lIns="72001" tIns="72001" rIns="72001" bIns="72001" anchor="ct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303">
                  <a:buClr>
                    <a:srgbClr val="002960"/>
                  </a:buClr>
                  <a:defRPr/>
                </a:pPr>
                <a:endParaRPr lang="en-US" sz="1598"/>
              </a:p>
            </p:txBody>
          </p:sp>
          <p:sp>
            <p:nvSpPr>
              <p:cNvPr id="31" name="Rectangle 32">
                <a:extLst>
                  <a:ext uri="{FF2B5EF4-FFF2-40B4-BE49-F238E27FC236}">
                    <a16:creationId xmlns:a16="http://schemas.microsoft.com/office/drawing/2014/main" id="{A7EB3631-91EE-0C4A-BB27-AD27D5733AA6}"/>
                  </a:ext>
                </a:extLst>
              </p:cNvPr>
              <p:cNvSpPr>
                <a:spLocks noChangeArrowheads="1"/>
              </p:cNvSpPr>
              <p:nvPr/>
            </p:nvSpPr>
            <p:spPr bwMode="gray">
              <a:xfrm>
                <a:off x="1205828" y="3564105"/>
                <a:ext cx="1322387" cy="4918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p>
                <a:pPr defTabSz="895160">
                  <a:buClr>
                    <a:srgbClr val="002960"/>
                  </a:buClr>
                  <a:defRPr/>
                </a:pPr>
                <a:r>
                  <a:rPr lang="fr-FR" sz="1598" dirty="0">
                    <a:cs typeface="Arial" charset="0"/>
                  </a:rPr>
                  <a:t>Partenaires de développement</a:t>
                </a:r>
              </a:p>
            </p:txBody>
          </p:sp>
          <p:sp>
            <p:nvSpPr>
              <p:cNvPr id="32" name="Rectangle 32">
                <a:extLst>
                  <a:ext uri="{FF2B5EF4-FFF2-40B4-BE49-F238E27FC236}">
                    <a16:creationId xmlns:a16="http://schemas.microsoft.com/office/drawing/2014/main" id="{23936503-29A1-2147-A094-01E39CF176E9}"/>
                  </a:ext>
                </a:extLst>
              </p:cNvPr>
              <p:cNvSpPr>
                <a:spLocks noChangeArrowheads="1"/>
              </p:cNvSpPr>
              <p:nvPr/>
            </p:nvSpPr>
            <p:spPr bwMode="gray">
              <a:xfrm>
                <a:off x="1106971" y="4422424"/>
                <a:ext cx="1502967" cy="723900"/>
              </a:xfrm>
              <a:prstGeom prst="rect">
                <a:avLst/>
              </a:prstGeom>
              <a:solidFill>
                <a:schemeClr val="accent1"/>
              </a:solidFill>
              <a:ln w="12700" algn="ctr">
                <a:solidFill>
                  <a:schemeClr val="bg1"/>
                </a:solidFill>
                <a:miter lim="800000"/>
                <a:headEnd/>
                <a:tailEnd/>
              </a:ln>
              <a:effectLst>
                <a:outerShdw blurRad="50800" dist="38100" dir="2700000" algn="tl" rotWithShape="0">
                  <a:prstClr val="black">
                    <a:alpha val="40000"/>
                  </a:prstClr>
                </a:outerShdw>
              </a:effectLst>
            </p:spPr>
            <p:txBody>
              <a:bodyPr lIns="72001" tIns="72001" rIns="72001" bIns="72001" anchor="ctr">
                <a:no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303">
                  <a:buClr>
                    <a:srgbClr val="002960"/>
                  </a:buClr>
                  <a:defRPr/>
                </a:pPr>
                <a:endParaRPr lang="en-US" sz="1598"/>
              </a:p>
            </p:txBody>
          </p:sp>
          <p:sp>
            <p:nvSpPr>
              <p:cNvPr id="33" name="Rectangle 32">
                <a:extLst>
                  <a:ext uri="{FF2B5EF4-FFF2-40B4-BE49-F238E27FC236}">
                    <a16:creationId xmlns:a16="http://schemas.microsoft.com/office/drawing/2014/main" id="{E73366BA-228C-4B40-9A97-2563496BE7F6}"/>
                  </a:ext>
                </a:extLst>
              </p:cNvPr>
              <p:cNvSpPr>
                <a:spLocks noChangeArrowheads="1"/>
              </p:cNvSpPr>
              <p:nvPr/>
            </p:nvSpPr>
            <p:spPr bwMode="gray">
              <a:xfrm>
                <a:off x="1216114" y="4569055"/>
                <a:ext cx="1322387" cy="4919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p>
                <a:pPr defTabSz="895160">
                  <a:buClr>
                    <a:srgbClr val="002960"/>
                  </a:buClr>
                  <a:defRPr/>
                </a:pPr>
                <a:r>
                  <a:rPr lang="fr-FR" sz="1598" dirty="0">
                    <a:cs typeface="Arial" charset="0"/>
                  </a:rPr>
                  <a:t>Intervenants sous-nationaux</a:t>
                </a:r>
              </a:p>
            </p:txBody>
          </p:sp>
          <p:sp>
            <p:nvSpPr>
              <p:cNvPr id="34" name="Rectangle 32">
                <a:extLst>
                  <a:ext uri="{FF2B5EF4-FFF2-40B4-BE49-F238E27FC236}">
                    <a16:creationId xmlns:a16="http://schemas.microsoft.com/office/drawing/2014/main" id="{E465FC05-919B-4E47-B893-92B549D2ECD3}"/>
                  </a:ext>
                </a:extLst>
              </p:cNvPr>
              <p:cNvSpPr>
                <a:spLocks noChangeArrowheads="1"/>
              </p:cNvSpPr>
              <p:nvPr/>
            </p:nvSpPr>
            <p:spPr bwMode="gray">
              <a:xfrm>
                <a:off x="1096686" y="5307830"/>
                <a:ext cx="1502967" cy="723900"/>
              </a:xfrm>
              <a:prstGeom prst="rect">
                <a:avLst/>
              </a:prstGeom>
              <a:solidFill>
                <a:schemeClr val="accent1"/>
              </a:solidFill>
              <a:ln w="12700" algn="ctr">
                <a:solidFill>
                  <a:schemeClr val="bg1"/>
                </a:solidFill>
                <a:miter lim="800000"/>
                <a:headEnd/>
                <a:tailEnd/>
              </a:ln>
              <a:effectLst>
                <a:outerShdw blurRad="50800" dist="38100" dir="2700000" algn="tl" rotWithShape="0">
                  <a:prstClr val="black">
                    <a:alpha val="40000"/>
                  </a:prstClr>
                </a:outerShdw>
              </a:effectLst>
            </p:spPr>
            <p:txBody>
              <a:bodyPr lIns="72001" tIns="72001" rIns="72001" bIns="72001" anchor="ctr">
                <a:no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303">
                  <a:buClr>
                    <a:srgbClr val="002960"/>
                  </a:buClr>
                  <a:defRPr/>
                </a:pPr>
                <a:endParaRPr lang="en-US" sz="1598"/>
              </a:p>
            </p:txBody>
          </p:sp>
          <p:sp>
            <p:nvSpPr>
              <p:cNvPr id="35" name="Rectangle 32">
                <a:extLst>
                  <a:ext uri="{FF2B5EF4-FFF2-40B4-BE49-F238E27FC236}">
                    <a16:creationId xmlns:a16="http://schemas.microsoft.com/office/drawing/2014/main" id="{475FFCF8-4C7A-404B-BF99-CCA519201954}"/>
                  </a:ext>
                </a:extLst>
              </p:cNvPr>
              <p:cNvSpPr>
                <a:spLocks noChangeArrowheads="1"/>
              </p:cNvSpPr>
              <p:nvPr/>
            </p:nvSpPr>
            <p:spPr bwMode="gray">
              <a:xfrm>
                <a:off x="1216114" y="5541552"/>
                <a:ext cx="1322387" cy="2459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p>
                <a:pPr defTabSz="895160">
                  <a:buClr>
                    <a:srgbClr val="002960"/>
                  </a:buClr>
                  <a:defRPr/>
                </a:pPr>
                <a:r>
                  <a:rPr lang="fr-FR" sz="1598" dirty="0">
                    <a:cs typeface="Arial" charset="0"/>
                  </a:rPr>
                  <a:t>Communauté</a:t>
                </a:r>
              </a:p>
            </p:txBody>
          </p:sp>
        </p:grpSp>
        <p:sp>
          <p:nvSpPr>
            <p:cNvPr id="36" name="Rectangle 14">
              <a:extLst>
                <a:ext uri="{FF2B5EF4-FFF2-40B4-BE49-F238E27FC236}">
                  <a16:creationId xmlns:a16="http://schemas.microsoft.com/office/drawing/2014/main" id="{78970B18-CDE4-2247-BCBC-0FC0FCB93D86}"/>
                </a:ext>
              </a:extLst>
            </p:cNvPr>
            <p:cNvSpPr txBox="1"/>
            <p:nvPr/>
          </p:nvSpPr>
          <p:spPr>
            <a:xfrm>
              <a:off x="2467446" y="5366601"/>
              <a:ext cx="5751161" cy="752730"/>
            </a:xfrm>
            <a:prstGeom prst="rect">
              <a:avLst/>
            </a:prstGeom>
          </p:spPr>
          <p:txBody>
            <a:bodyPr vert="horz" wrap="square" lIns="0" tIns="0" rIns="0" bIns="0" rtlCol="0" anchor="t" anchorCtr="0">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287307" lvl="1" indent="-285720" defTabSz="895255">
                <a:buClr>
                  <a:srgbClr val="002960"/>
                </a:buClr>
                <a:buFont typeface="Arial" panose="020B0604020202020204" pitchFamily="34" charset="0"/>
                <a:buChar char="•"/>
                <a:defRPr/>
              </a:pPr>
              <a:r>
                <a:rPr lang="fr-FR" sz="1598" dirty="0">
                  <a:latin typeface="Arial"/>
                </a:rPr>
                <a:t>Valider et compléter les données</a:t>
              </a:r>
            </a:p>
            <a:p>
              <a:pPr marL="287307" lvl="1" indent="-285720" defTabSz="895255">
                <a:buClr>
                  <a:srgbClr val="002960"/>
                </a:buClr>
                <a:buFont typeface="Arial" panose="020B0604020202020204" pitchFamily="34" charset="0"/>
                <a:buChar char="•"/>
                <a:defRPr/>
              </a:pPr>
              <a:r>
                <a:rPr lang="fr-FR" sz="1598" dirty="0">
                  <a:latin typeface="Arial"/>
                </a:rPr>
                <a:t>Résoudre collectivement les problèmes pour identifier les goulots d’étranglement et proposer des solutions axées sur la communauté</a:t>
              </a:r>
            </a:p>
          </p:txBody>
        </p:sp>
      </p:grpSp>
    </p:spTree>
    <p:extLst>
      <p:ext uri="{BB962C8B-B14F-4D97-AF65-F5344CB8AC3E}">
        <p14:creationId xmlns:p14="http://schemas.microsoft.com/office/powerpoint/2010/main" val="255676472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 name="Slide Number"/>
          <p:cNvSpPr txBox="1">
            <a:spLocks noGrp="1"/>
          </p:cNvSpPr>
          <p:nvPr>
            <p:ph type="sldNum" sz="quarter" idx="4294967295"/>
          </p:nvPr>
        </p:nvSpPr>
        <p:spPr>
          <a:xfrm>
            <a:off x="8641383" y="6447197"/>
            <a:ext cx="127061" cy="135610"/>
          </a:xfrm>
          <a:prstGeom prst="rect">
            <a:avLst/>
          </a:prstGeom>
          <a:extLst>
            <a:ext uri="{C572A759-6A51-4108-AA02-DFA0A04FC94B}">
              <ma14:wrappingTextBoxFlag xmlns="" xmlns:ma14="http://schemas.microsoft.com/office/mac/drawingml/2011/main" val="1"/>
            </a:ext>
          </a:extLst>
        </p:spPr>
        <p:txBody>
          <a:bodyPr/>
          <a:lstStyle/>
          <a:p>
            <a:endParaRPr dirty="0"/>
          </a:p>
        </p:txBody>
      </p:sp>
      <p:sp>
        <p:nvSpPr>
          <p:cNvPr id="25" name="Title 1">
            <a:extLst>
              <a:ext uri="{FF2B5EF4-FFF2-40B4-BE49-F238E27FC236}">
                <a16:creationId xmlns:a16="http://schemas.microsoft.com/office/drawing/2014/main" id="{1DCB6210-29D2-5D49-B862-F6000E8273FE}"/>
              </a:ext>
            </a:extLst>
          </p:cNvPr>
          <p:cNvSpPr txBox="1">
            <a:spLocks/>
          </p:cNvSpPr>
          <p:nvPr/>
        </p:nvSpPr>
        <p:spPr>
          <a:xfrm>
            <a:off x="643003" y="204945"/>
            <a:ext cx="7001805" cy="585052"/>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Autofit/>
          </a:bodyPr>
          <a:lstStyle>
            <a:lvl1pPr marL="0" marR="0" indent="0" algn="l" defTabSz="895350" rtl="0" latinLnBrk="0">
              <a:lnSpc>
                <a:spcPct val="100000"/>
              </a:lnSpc>
              <a:spcBef>
                <a:spcPts val="0"/>
              </a:spcBef>
              <a:spcAft>
                <a:spcPts val="0"/>
              </a:spcAft>
              <a:buClrTx/>
              <a:buSzTx/>
              <a:buFontTx/>
              <a:buNone/>
              <a:tabLst>
                <a:tab pos="266700" algn="l"/>
              </a:tabLst>
              <a:defRPr sz="1900" b="1" i="0" u="none" strike="noStrike" cap="none" spc="0" baseline="0">
                <a:ln>
                  <a:noFill/>
                </a:ln>
                <a:solidFill>
                  <a:srgbClr val="39302A"/>
                </a:solidFill>
                <a:uFillTx/>
                <a:latin typeface="+mj-lt"/>
                <a:ea typeface="+mj-ea"/>
                <a:cs typeface="+mj-cs"/>
                <a:sym typeface="Arial"/>
              </a:defRPr>
            </a:lvl1pPr>
            <a:lvl2pPr marL="0" marR="0" indent="0" algn="l" defTabSz="895350" rtl="0" latinLnBrk="0">
              <a:lnSpc>
                <a:spcPct val="100000"/>
              </a:lnSpc>
              <a:spcBef>
                <a:spcPts val="0"/>
              </a:spcBef>
              <a:spcAft>
                <a:spcPts val="0"/>
              </a:spcAft>
              <a:buClrTx/>
              <a:buSzTx/>
              <a:buFontTx/>
              <a:buNone/>
              <a:tabLst>
                <a:tab pos="266700" algn="l"/>
              </a:tabLst>
              <a:defRPr sz="1900" b="1" i="0" u="none" strike="noStrike" cap="none" spc="0" baseline="0">
                <a:ln>
                  <a:noFill/>
                </a:ln>
                <a:solidFill>
                  <a:srgbClr val="39302A"/>
                </a:solidFill>
                <a:uFillTx/>
                <a:latin typeface="+mj-lt"/>
                <a:ea typeface="+mj-ea"/>
                <a:cs typeface="+mj-cs"/>
                <a:sym typeface="Arial"/>
              </a:defRPr>
            </a:lvl2pPr>
            <a:lvl3pPr marL="0" marR="0" indent="0" algn="l" defTabSz="895350" rtl="0" latinLnBrk="0">
              <a:lnSpc>
                <a:spcPct val="100000"/>
              </a:lnSpc>
              <a:spcBef>
                <a:spcPts val="0"/>
              </a:spcBef>
              <a:spcAft>
                <a:spcPts val="0"/>
              </a:spcAft>
              <a:buClrTx/>
              <a:buSzTx/>
              <a:buFontTx/>
              <a:buNone/>
              <a:tabLst>
                <a:tab pos="266700" algn="l"/>
              </a:tabLst>
              <a:defRPr sz="1900" b="1" i="0" u="none" strike="noStrike" cap="none" spc="0" baseline="0">
                <a:ln>
                  <a:noFill/>
                </a:ln>
                <a:solidFill>
                  <a:srgbClr val="39302A"/>
                </a:solidFill>
                <a:uFillTx/>
                <a:latin typeface="+mj-lt"/>
                <a:ea typeface="+mj-ea"/>
                <a:cs typeface="+mj-cs"/>
                <a:sym typeface="Arial"/>
              </a:defRPr>
            </a:lvl3pPr>
            <a:lvl4pPr marL="0" marR="0" indent="0" algn="l" defTabSz="895350" rtl="0" latinLnBrk="0">
              <a:lnSpc>
                <a:spcPct val="100000"/>
              </a:lnSpc>
              <a:spcBef>
                <a:spcPts val="0"/>
              </a:spcBef>
              <a:spcAft>
                <a:spcPts val="0"/>
              </a:spcAft>
              <a:buClrTx/>
              <a:buSzTx/>
              <a:buFontTx/>
              <a:buNone/>
              <a:tabLst>
                <a:tab pos="266700" algn="l"/>
              </a:tabLst>
              <a:defRPr sz="1900" b="1" i="0" u="none" strike="noStrike" cap="none" spc="0" baseline="0">
                <a:ln>
                  <a:noFill/>
                </a:ln>
                <a:solidFill>
                  <a:srgbClr val="39302A"/>
                </a:solidFill>
                <a:uFillTx/>
                <a:latin typeface="+mj-lt"/>
                <a:ea typeface="+mj-ea"/>
                <a:cs typeface="+mj-cs"/>
                <a:sym typeface="Arial"/>
              </a:defRPr>
            </a:lvl4pPr>
            <a:lvl5pPr marL="0" marR="0" indent="0" algn="l" defTabSz="895350" rtl="0" latinLnBrk="0">
              <a:lnSpc>
                <a:spcPct val="100000"/>
              </a:lnSpc>
              <a:spcBef>
                <a:spcPts val="0"/>
              </a:spcBef>
              <a:spcAft>
                <a:spcPts val="0"/>
              </a:spcAft>
              <a:buClrTx/>
              <a:buSzTx/>
              <a:buFontTx/>
              <a:buNone/>
              <a:tabLst>
                <a:tab pos="266700" algn="l"/>
              </a:tabLst>
              <a:defRPr sz="1900" b="1" i="0" u="none" strike="noStrike" cap="none" spc="0" baseline="0">
                <a:ln>
                  <a:noFill/>
                </a:ln>
                <a:solidFill>
                  <a:srgbClr val="39302A"/>
                </a:solidFill>
                <a:uFillTx/>
                <a:latin typeface="+mj-lt"/>
                <a:ea typeface="+mj-ea"/>
                <a:cs typeface="+mj-cs"/>
                <a:sym typeface="Arial"/>
              </a:defRPr>
            </a:lvl5pPr>
            <a:lvl6pPr marL="0" marR="0" indent="457200" algn="l" defTabSz="895350" rtl="0" latinLnBrk="0">
              <a:lnSpc>
                <a:spcPct val="100000"/>
              </a:lnSpc>
              <a:spcBef>
                <a:spcPts val="0"/>
              </a:spcBef>
              <a:spcAft>
                <a:spcPts val="0"/>
              </a:spcAft>
              <a:buClrTx/>
              <a:buSzTx/>
              <a:buFontTx/>
              <a:buNone/>
              <a:tabLst>
                <a:tab pos="266700" algn="l"/>
              </a:tabLst>
              <a:defRPr sz="1900" b="1" i="0" u="none" strike="noStrike" cap="none" spc="0" baseline="0">
                <a:ln>
                  <a:noFill/>
                </a:ln>
                <a:solidFill>
                  <a:srgbClr val="39302A"/>
                </a:solidFill>
                <a:uFillTx/>
                <a:latin typeface="+mj-lt"/>
                <a:ea typeface="+mj-ea"/>
                <a:cs typeface="+mj-cs"/>
                <a:sym typeface="Arial"/>
              </a:defRPr>
            </a:lvl6pPr>
            <a:lvl7pPr marL="0" marR="0" indent="914400" algn="l" defTabSz="895350" rtl="0" latinLnBrk="0">
              <a:lnSpc>
                <a:spcPct val="100000"/>
              </a:lnSpc>
              <a:spcBef>
                <a:spcPts val="0"/>
              </a:spcBef>
              <a:spcAft>
                <a:spcPts val="0"/>
              </a:spcAft>
              <a:buClrTx/>
              <a:buSzTx/>
              <a:buFontTx/>
              <a:buNone/>
              <a:tabLst>
                <a:tab pos="266700" algn="l"/>
              </a:tabLst>
              <a:defRPr sz="1900" b="1" i="0" u="none" strike="noStrike" cap="none" spc="0" baseline="0">
                <a:ln>
                  <a:noFill/>
                </a:ln>
                <a:solidFill>
                  <a:srgbClr val="39302A"/>
                </a:solidFill>
                <a:uFillTx/>
                <a:latin typeface="+mj-lt"/>
                <a:ea typeface="+mj-ea"/>
                <a:cs typeface="+mj-cs"/>
                <a:sym typeface="Arial"/>
              </a:defRPr>
            </a:lvl7pPr>
            <a:lvl8pPr marL="0" marR="0" indent="1371600" algn="l" defTabSz="895350" rtl="0" latinLnBrk="0">
              <a:lnSpc>
                <a:spcPct val="100000"/>
              </a:lnSpc>
              <a:spcBef>
                <a:spcPts val="0"/>
              </a:spcBef>
              <a:spcAft>
                <a:spcPts val="0"/>
              </a:spcAft>
              <a:buClrTx/>
              <a:buSzTx/>
              <a:buFontTx/>
              <a:buNone/>
              <a:tabLst>
                <a:tab pos="266700" algn="l"/>
              </a:tabLst>
              <a:defRPr sz="1900" b="1" i="0" u="none" strike="noStrike" cap="none" spc="0" baseline="0">
                <a:ln>
                  <a:noFill/>
                </a:ln>
                <a:solidFill>
                  <a:srgbClr val="39302A"/>
                </a:solidFill>
                <a:uFillTx/>
                <a:latin typeface="+mj-lt"/>
                <a:ea typeface="+mj-ea"/>
                <a:cs typeface="+mj-cs"/>
                <a:sym typeface="Arial"/>
              </a:defRPr>
            </a:lvl8pPr>
            <a:lvl9pPr marL="0" marR="0" indent="1828800" algn="l" defTabSz="895350" rtl="0" latinLnBrk="0">
              <a:lnSpc>
                <a:spcPct val="100000"/>
              </a:lnSpc>
              <a:spcBef>
                <a:spcPts val="0"/>
              </a:spcBef>
              <a:spcAft>
                <a:spcPts val="0"/>
              </a:spcAft>
              <a:buClrTx/>
              <a:buSzTx/>
              <a:buFontTx/>
              <a:buNone/>
              <a:tabLst>
                <a:tab pos="266700" algn="l"/>
              </a:tabLst>
              <a:defRPr sz="1900" b="1" i="0" u="none" strike="noStrike" cap="none" spc="0" baseline="0">
                <a:ln>
                  <a:noFill/>
                </a:ln>
                <a:solidFill>
                  <a:srgbClr val="39302A"/>
                </a:solidFill>
                <a:uFillTx/>
                <a:latin typeface="+mj-lt"/>
                <a:ea typeface="+mj-ea"/>
                <a:cs typeface="+mj-cs"/>
                <a:sym typeface="Arial"/>
              </a:defRPr>
            </a:lvl9pPr>
          </a:lstStyle>
          <a:p>
            <a:pPr hangingPunct="1"/>
            <a:r>
              <a:rPr lang="fr-FR" sz="1800" dirty="0"/>
              <a:t>Processus de gestion existants -  La carte de score </a:t>
            </a:r>
            <a:r>
              <a:rPr lang="fr-FR" sz="1800" u="sng" dirty="0"/>
              <a:t>SRMNIA</a:t>
            </a:r>
            <a:r>
              <a:rPr lang="fr-FR" sz="1800" dirty="0"/>
              <a:t> devraient être intégrées dans les mécanismes existants d'action et de redevabilité du Burundi.  </a:t>
            </a:r>
            <a:endParaRPr lang="en-GB" sz="1800" dirty="0"/>
          </a:p>
        </p:txBody>
      </p:sp>
      <p:sp>
        <p:nvSpPr>
          <p:cNvPr id="22" name="TextBox 153">
            <a:extLst>
              <a:ext uri="{FF2B5EF4-FFF2-40B4-BE49-F238E27FC236}">
                <a16:creationId xmlns:a16="http://schemas.microsoft.com/office/drawing/2014/main" id="{BC0DB2EB-97F8-EF4A-B3A0-3DF7025C6294}"/>
              </a:ext>
            </a:extLst>
          </p:cNvPr>
          <p:cNvSpPr/>
          <p:nvPr/>
        </p:nvSpPr>
        <p:spPr>
          <a:xfrm>
            <a:off x="5981910" y="1654499"/>
            <a:ext cx="2659472" cy="4074967"/>
          </a:xfrm>
          <a:prstGeom prst="rect">
            <a:avLst/>
          </a:prstGeom>
          <a:ln w="28575">
            <a:solidFill>
              <a:schemeClr val="accent3"/>
            </a:solidFill>
          </a:ln>
        </p:spPr>
        <p:txBody>
          <a:bodyPr lIns="45741" rIns="45741"/>
          <a:lstStyle/>
          <a:p>
            <a:pPr defTabSz="895798"/>
            <a:endParaRPr sz="1601"/>
          </a:p>
        </p:txBody>
      </p:sp>
      <p:sp>
        <p:nvSpPr>
          <p:cNvPr id="23" name="TextBox 153">
            <a:extLst>
              <a:ext uri="{FF2B5EF4-FFF2-40B4-BE49-F238E27FC236}">
                <a16:creationId xmlns:a16="http://schemas.microsoft.com/office/drawing/2014/main" id="{E1C5D71B-86A7-6449-8320-9C24B24AA3F2}"/>
              </a:ext>
            </a:extLst>
          </p:cNvPr>
          <p:cNvSpPr/>
          <p:nvPr/>
        </p:nvSpPr>
        <p:spPr>
          <a:xfrm>
            <a:off x="3086433" y="1654916"/>
            <a:ext cx="3011040" cy="407455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9776" y="0"/>
                </a:lnTo>
                <a:lnTo>
                  <a:pt x="21600" y="10800"/>
                </a:lnTo>
                <a:lnTo>
                  <a:pt x="19776" y="21600"/>
                </a:lnTo>
                <a:lnTo>
                  <a:pt x="0" y="21600"/>
                </a:lnTo>
                <a:close/>
              </a:path>
            </a:pathLst>
          </a:custGeom>
          <a:solidFill>
            <a:srgbClr val="FFFFFF"/>
          </a:solidFill>
          <a:ln w="28575">
            <a:solidFill>
              <a:schemeClr val="accent2"/>
            </a:solidFill>
          </a:ln>
        </p:spPr>
        <p:txBody>
          <a:bodyPr lIns="45741" rIns="45741"/>
          <a:lstStyle/>
          <a:p>
            <a:pPr defTabSz="895798"/>
            <a:endParaRPr sz="1601"/>
          </a:p>
        </p:txBody>
      </p:sp>
      <p:sp>
        <p:nvSpPr>
          <p:cNvPr id="24" name="TextBox 153">
            <a:extLst>
              <a:ext uri="{FF2B5EF4-FFF2-40B4-BE49-F238E27FC236}">
                <a16:creationId xmlns:a16="http://schemas.microsoft.com/office/drawing/2014/main" id="{DB9A9358-B0D0-9F43-8FA0-8CE19773C0FA}"/>
              </a:ext>
            </a:extLst>
          </p:cNvPr>
          <p:cNvSpPr/>
          <p:nvPr/>
        </p:nvSpPr>
        <p:spPr>
          <a:xfrm>
            <a:off x="223375" y="1654500"/>
            <a:ext cx="3011039" cy="407496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9776" y="0"/>
                </a:lnTo>
                <a:lnTo>
                  <a:pt x="21600" y="10800"/>
                </a:lnTo>
                <a:lnTo>
                  <a:pt x="19776" y="21600"/>
                </a:lnTo>
                <a:lnTo>
                  <a:pt x="0" y="21600"/>
                </a:lnTo>
                <a:close/>
              </a:path>
            </a:pathLst>
          </a:custGeom>
          <a:solidFill>
            <a:srgbClr val="FFFFFF"/>
          </a:solidFill>
          <a:ln w="28575">
            <a:solidFill>
              <a:schemeClr val="accent1"/>
            </a:solidFill>
          </a:ln>
        </p:spPr>
        <p:txBody>
          <a:bodyPr lIns="45741" rIns="45741"/>
          <a:lstStyle/>
          <a:p>
            <a:pPr defTabSz="895798"/>
            <a:endParaRPr sz="2001"/>
          </a:p>
        </p:txBody>
      </p:sp>
      <p:sp>
        <p:nvSpPr>
          <p:cNvPr id="73" name="Rectangle 72">
            <a:extLst>
              <a:ext uri="{FF2B5EF4-FFF2-40B4-BE49-F238E27FC236}">
                <a16:creationId xmlns:a16="http://schemas.microsoft.com/office/drawing/2014/main" id="{B99F1D3D-CA46-614F-9D39-578828E8F8E4}"/>
              </a:ext>
            </a:extLst>
          </p:cNvPr>
          <p:cNvSpPr/>
          <p:nvPr/>
        </p:nvSpPr>
        <p:spPr>
          <a:xfrm>
            <a:off x="7256108" y="3354474"/>
            <a:ext cx="1266329" cy="338840"/>
          </a:xfrm>
          <a:prstGeom prst="rect">
            <a:avLst/>
          </a:prstGeom>
          <a:solidFill>
            <a:schemeClr val="bg1"/>
          </a:solidFill>
          <a:ln w="25400" cap="flat">
            <a:solidFill>
              <a:schemeClr val="bg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41" tIns="45741" rIns="45741" bIns="45741" numCol="1" spcCol="38100" rtlCol="0" anchor="ctr">
            <a:spAutoFit/>
          </a:bodyPr>
          <a:lstStyle/>
          <a:p>
            <a:pPr defTabSz="914857" fontAlgn="auto" hangingPunct="0">
              <a:spcBef>
                <a:spcPts val="0"/>
              </a:spcBef>
              <a:spcAft>
                <a:spcPts val="0"/>
              </a:spcAft>
            </a:pPr>
            <a:endParaRPr lang="en-GB" sz="1601">
              <a:solidFill>
                <a:srgbClr val="000000"/>
              </a:solidFill>
              <a:latin typeface="+mj-lt"/>
              <a:ea typeface="+mj-ea"/>
              <a:cs typeface="+mj-cs"/>
              <a:sym typeface="Arial"/>
            </a:endParaRPr>
          </a:p>
        </p:txBody>
      </p:sp>
      <p:sp>
        <p:nvSpPr>
          <p:cNvPr id="3" name="Rectangle 2">
            <a:extLst>
              <a:ext uri="{FF2B5EF4-FFF2-40B4-BE49-F238E27FC236}">
                <a16:creationId xmlns:a16="http://schemas.microsoft.com/office/drawing/2014/main" id="{B80D9203-865A-014B-A2A0-FB4C0B07C96B}"/>
              </a:ext>
            </a:extLst>
          </p:cNvPr>
          <p:cNvSpPr/>
          <p:nvPr/>
        </p:nvSpPr>
        <p:spPr>
          <a:xfrm>
            <a:off x="263360" y="3595961"/>
            <a:ext cx="2929489" cy="2293064"/>
          </a:xfrm>
          <a:prstGeom prst="rect">
            <a:avLst/>
          </a:prstGeom>
        </p:spPr>
        <p:txBody>
          <a:bodyPr wrap="square">
            <a:spAutoFit/>
          </a:bodyPr>
          <a:lstStyle/>
          <a:p>
            <a:pPr marL="285893" indent="-285893">
              <a:buFont typeface="Arial" panose="020B0604020202020204" pitchFamily="34" charset="0"/>
              <a:buChar char="•"/>
            </a:pPr>
            <a:r>
              <a:rPr lang="fr-FR" sz="1200" dirty="0"/>
              <a:t>Réunion  trimestrielle d’ évaluation</a:t>
            </a:r>
          </a:p>
          <a:p>
            <a:pPr marL="285893" indent="-285893">
              <a:buFont typeface="Arial" panose="020B0604020202020204" pitchFamily="34" charset="0"/>
              <a:buChar char="•"/>
            </a:pPr>
            <a:r>
              <a:rPr lang="fr-FR" sz="1200" dirty="0"/>
              <a:t>Réunion  trimestrielle de validation des données</a:t>
            </a:r>
          </a:p>
          <a:p>
            <a:pPr marL="285893" indent="-285893">
              <a:buFont typeface="Arial" panose="020B0604020202020204" pitchFamily="34" charset="0"/>
              <a:buChar char="•"/>
            </a:pPr>
            <a:r>
              <a:rPr lang="fr-FR" sz="1200" dirty="0"/>
              <a:t>Réunion  trimestrielle de coordination PNSR</a:t>
            </a:r>
          </a:p>
          <a:p>
            <a:pPr marL="285893" indent="-285893">
              <a:buFont typeface="Arial" panose="020B0604020202020204" pitchFamily="34" charset="0"/>
              <a:buChar char="•"/>
            </a:pPr>
            <a:r>
              <a:rPr lang="fr-FR" sz="1200" dirty="0"/>
              <a:t>Cadre de concertation du partenariat pour la sante et le développement (CPSD)</a:t>
            </a:r>
          </a:p>
          <a:p>
            <a:pPr marL="285893" indent="-285893">
              <a:buFont typeface="Arial" panose="020B0604020202020204" pitchFamily="34" charset="0"/>
              <a:buChar char="•"/>
            </a:pPr>
            <a:r>
              <a:rPr lang="fr-FR" sz="1200" dirty="0"/>
              <a:t>Revue annuelle conjointe </a:t>
            </a:r>
          </a:p>
          <a:p>
            <a:pPr marL="285893" indent="-285893">
              <a:buFont typeface="Arial" panose="020B0604020202020204" pitchFamily="34" charset="0"/>
              <a:buChar char="•"/>
            </a:pPr>
            <a:endParaRPr lang="fr-FR" sz="1200" dirty="0"/>
          </a:p>
          <a:p>
            <a:pPr marL="285893" indent="-285893">
              <a:buFont typeface="Arial" panose="020B0604020202020204" pitchFamily="34" charset="0"/>
              <a:buChar char="•"/>
            </a:pPr>
            <a:endParaRPr lang="en-GB" sz="1101" dirty="0"/>
          </a:p>
        </p:txBody>
      </p:sp>
      <p:sp>
        <p:nvSpPr>
          <p:cNvPr id="75" name="Rectangle 74">
            <a:extLst>
              <a:ext uri="{FF2B5EF4-FFF2-40B4-BE49-F238E27FC236}">
                <a16:creationId xmlns:a16="http://schemas.microsoft.com/office/drawing/2014/main" id="{C022D9FE-D450-2547-8F24-4AA6419DECD0}"/>
              </a:ext>
            </a:extLst>
          </p:cNvPr>
          <p:cNvSpPr/>
          <p:nvPr/>
        </p:nvSpPr>
        <p:spPr>
          <a:xfrm>
            <a:off x="3316164" y="4125902"/>
            <a:ext cx="2488709" cy="1169551"/>
          </a:xfrm>
          <a:prstGeom prst="rect">
            <a:avLst/>
          </a:prstGeom>
        </p:spPr>
        <p:txBody>
          <a:bodyPr wrap="square">
            <a:spAutoFit/>
          </a:bodyPr>
          <a:lstStyle/>
          <a:p>
            <a:pPr marL="285893" indent="-285893">
              <a:buFont typeface="Arial" panose="020B0604020202020204" pitchFamily="34" charset="0"/>
              <a:buChar char="•"/>
            </a:pPr>
            <a:r>
              <a:rPr lang="fr-FR" sz="1400" dirty="0"/>
              <a:t>Réunion du CPSD provincial</a:t>
            </a:r>
          </a:p>
          <a:p>
            <a:pPr marL="285893" indent="-285893">
              <a:buFont typeface="Arial" panose="020B0604020202020204" pitchFamily="34" charset="0"/>
              <a:buChar char="•"/>
            </a:pPr>
            <a:r>
              <a:rPr lang="fr-FR" sz="1400" dirty="0"/>
              <a:t>Analyse des données SIS et vérification/ validation des données</a:t>
            </a:r>
          </a:p>
        </p:txBody>
      </p:sp>
      <p:sp>
        <p:nvSpPr>
          <p:cNvPr id="76" name="Rectangle 75">
            <a:extLst>
              <a:ext uri="{FF2B5EF4-FFF2-40B4-BE49-F238E27FC236}">
                <a16:creationId xmlns:a16="http://schemas.microsoft.com/office/drawing/2014/main" id="{2984AA4D-5D0B-C941-896E-2229AA956088}"/>
              </a:ext>
            </a:extLst>
          </p:cNvPr>
          <p:cNvSpPr/>
          <p:nvPr/>
        </p:nvSpPr>
        <p:spPr>
          <a:xfrm>
            <a:off x="6152674" y="4105120"/>
            <a:ext cx="2488709" cy="1631729"/>
          </a:xfrm>
          <a:prstGeom prst="rect">
            <a:avLst/>
          </a:prstGeom>
        </p:spPr>
        <p:txBody>
          <a:bodyPr wrap="square">
            <a:spAutoFit/>
          </a:bodyPr>
          <a:lstStyle/>
          <a:p>
            <a:pPr marL="285893" indent="-285893">
              <a:buFont typeface="Arial" panose="020B0604020202020204" pitchFamily="34" charset="0"/>
              <a:buChar char="•"/>
            </a:pPr>
            <a:r>
              <a:rPr lang="fr-FR" sz="1400" dirty="0"/>
              <a:t>Réunion d’analyse des données</a:t>
            </a:r>
          </a:p>
          <a:p>
            <a:pPr marL="285893" indent="-285893">
              <a:buFont typeface="Arial" panose="020B0604020202020204" pitchFamily="34" charset="0"/>
              <a:buChar char="•"/>
            </a:pPr>
            <a:r>
              <a:rPr lang="fr-FR" sz="1400" dirty="0"/>
              <a:t>Conseil de gestion du district </a:t>
            </a:r>
          </a:p>
          <a:p>
            <a:endParaRPr lang="fr-FR" sz="1101" dirty="0"/>
          </a:p>
          <a:p>
            <a:pPr marL="285893" indent="-285893">
              <a:buFont typeface="Arial" panose="020B0604020202020204" pitchFamily="34" charset="0"/>
              <a:buChar char="•"/>
            </a:pPr>
            <a:endParaRPr lang="en-GB" sz="1101" dirty="0"/>
          </a:p>
          <a:p>
            <a:pPr marL="285893" indent="-285893">
              <a:buFont typeface="Arial" panose="020B0604020202020204" pitchFamily="34" charset="0"/>
              <a:buChar char="•"/>
            </a:pPr>
            <a:endParaRPr lang="en-GB" sz="1101" dirty="0"/>
          </a:p>
          <a:p>
            <a:pPr marL="285893" indent="-285893">
              <a:buFont typeface="Arial" panose="020B0604020202020204" pitchFamily="34" charset="0"/>
              <a:buChar char="•"/>
            </a:pPr>
            <a:endParaRPr lang="en-GB" sz="1101" dirty="0"/>
          </a:p>
        </p:txBody>
      </p:sp>
      <p:pic>
        <p:nvPicPr>
          <p:cNvPr id="6" name="Picture 5"/>
          <p:cNvPicPr>
            <a:picLocks noChangeAspect="1"/>
          </p:cNvPicPr>
          <p:nvPr/>
        </p:nvPicPr>
        <p:blipFill rotWithShape="1">
          <a:blip r:embed="rId2"/>
          <a:srcRect l="7361" t="6011" r="21766"/>
          <a:stretch/>
        </p:blipFill>
        <p:spPr>
          <a:xfrm>
            <a:off x="6675886" y="2011999"/>
            <a:ext cx="1350127" cy="1387622"/>
          </a:xfrm>
          <a:prstGeom prst="rect">
            <a:avLst/>
          </a:prstGeom>
        </p:spPr>
      </p:pic>
      <p:pic>
        <p:nvPicPr>
          <p:cNvPr id="9" name="Picture 8"/>
          <p:cNvPicPr>
            <a:picLocks noChangeAspect="1"/>
          </p:cNvPicPr>
          <p:nvPr/>
        </p:nvPicPr>
        <p:blipFill>
          <a:blip r:embed="rId3"/>
          <a:stretch>
            <a:fillRect/>
          </a:stretch>
        </p:blipFill>
        <p:spPr>
          <a:xfrm>
            <a:off x="33351" y="113223"/>
            <a:ext cx="609653" cy="615749"/>
          </a:xfrm>
          <a:prstGeom prst="rect">
            <a:avLst/>
          </a:prstGeom>
        </p:spPr>
      </p:pic>
      <p:sp>
        <p:nvSpPr>
          <p:cNvPr id="77" name="TextBox 76"/>
          <p:cNvSpPr txBox="1"/>
          <p:nvPr/>
        </p:nvSpPr>
        <p:spPr>
          <a:xfrm>
            <a:off x="6818915" y="2568880"/>
            <a:ext cx="938593" cy="338554"/>
          </a:xfrm>
          <a:prstGeom prst="rect">
            <a:avLst/>
          </a:prstGeom>
          <a:noFill/>
        </p:spPr>
        <p:txBody>
          <a:bodyPr wrap="square" rtlCol="0">
            <a:spAutoFit/>
          </a:bodyPr>
          <a:lstStyle/>
          <a:p>
            <a:pPr algn="ctr"/>
            <a:r>
              <a:rPr lang="en-US" b="1" dirty="0"/>
              <a:t>District</a:t>
            </a:r>
          </a:p>
        </p:txBody>
      </p:sp>
      <p:sp>
        <p:nvSpPr>
          <p:cNvPr id="2" name="AutoShape 2" descr="https://tse3.mm.bing.net/th?id=OIP.nRqgMPD7FOAggRkeNY6XIQHaHh&amp;pid=15.1&amp;P=0&amp;w=300&amp;h=300">
            <a:extLst>
              <a:ext uri="{FF2B5EF4-FFF2-40B4-BE49-F238E27FC236}">
                <a16:creationId xmlns:a16="http://schemas.microsoft.com/office/drawing/2014/main" id="{2B6DBB75-0F12-4C7A-8276-CC1A2197E02C}"/>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7" name="Picture 6">
            <a:extLst>
              <a:ext uri="{FF2B5EF4-FFF2-40B4-BE49-F238E27FC236}">
                <a16:creationId xmlns:a16="http://schemas.microsoft.com/office/drawing/2014/main" id="{E60EB18B-B00F-4EDE-9F1B-DF2C81AE2BC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77034" y="1864656"/>
            <a:ext cx="1862255" cy="2166662"/>
          </a:xfrm>
          <a:prstGeom prst="rect">
            <a:avLst/>
          </a:prstGeom>
        </p:spPr>
      </p:pic>
      <p:sp>
        <p:nvSpPr>
          <p:cNvPr id="74" name="TextBox 73"/>
          <p:cNvSpPr txBox="1"/>
          <p:nvPr/>
        </p:nvSpPr>
        <p:spPr>
          <a:xfrm>
            <a:off x="4081091" y="2589179"/>
            <a:ext cx="1280841" cy="338554"/>
          </a:xfrm>
          <a:prstGeom prst="rect">
            <a:avLst/>
          </a:prstGeom>
          <a:noFill/>
        </p:spPr>
        <p:txBody>
          <a:bodyPr wrap="square" rtlCol="0">
            <a:spAutoFit/>
          </a:bodyPr>
          <a:lstStyle/>
          <a:p>
            <a:r>
              <a:rPr lang="en-US" b="1" dirty="0"/>
              <a:t>Provincial</a:t>
            </a:r>
          </a:p>
        </p:txBody>
      </p:sp>
      <p:pic>
        <p:nvPicPr>
          <p:cNvPr id="12" name="Picture 11">
            <a:extLst>
              <a:ext uri="{FF2B5EF4-FFF2-40B4-BE49-F238E27FC236}">
                <a16:creationId xmlns:a16="http://schemas.microsoft.com/office/drawing/2014/main" id="{ED9C9740-9FE7-482F-B03E-9B3B4F779B6C}"/>
              </a:ext>
            </a:extLst>
          </p:cNvPr>
          <p:cNvPicPr>
            <a:picLocks noChangeAspect="1"/>
          </p:cNvPicPr>
          <p:nvPr/>
        </p:nvPicPr>
        <p:blipFill>
          <a:blip r:embed="rId5">
            <a:grayscl/>
            <a:extLst>
              <a:ext uri="{28A0092B-C50C-407E-A947-70E740481C1C}">
                <a14:useLocalDpi xmlns:a14="http://schemas.microsoft.com/office/drawing/2010/main" val="0"/>
              </a:ext>
            </a:extLst>
          </a:blip>
          <a:stretch>
            <a:fillRect/>
          </a:stretch>
        </p:blipFill>
        <p:spPr>
          <a:xfrm>
            <a:off x="865075" y="1858837"/>
            <a:ext cx="1543643" cy="1796833"/>
          </a:xfrm>
          <a:prstGeom prst="rect">
            <a:avLst/>
          </a:prstGeom>
        </p:spPr>
      </p:pic>
      <p:sp>
        <p:nvSpPr>
          <p:cNvPr id="11" name="TextBox 10"/>
          <p:cNvSpPr txBox="1"/>
          <p:nvPr/>
        </p:nvSpPr>
        <p:spPr>
          <a:xfrm>
            <a:off x="1093688" y="2542626"/>
            <a:ext cx="938593" cy="338554"/>
          </a:xfrm>
          <a:prstGeom prst="rect">
            <a:avLst/>
          </a:prstGeom>
          <a:noFill/>
        </p:spPr>
        <p:txBody>
          <a:bodyPr wrap="square" rtlCol="0">
            <a:spAutoFit/>
          </a:bodyPr>
          <a:lstStyle/>
          <a:p>
            <a:pPr algn="ctr"/>
            <a:r>
              <a:rPr lang="en-US" b="1" dirty="0"/>
              <a:t>Central</a:t>
            </a:r>
          </a:p>
        </p:txBody>
      </p:sp>
    </p:spTree>
    <p:extLst>
      <p:ext uri="{BB962C8B-B14F-4D97-AF65-F5344CB8AC3E}">
        <p14:creationId xmlns:p14="http://schemas.microsoft.com/office/powerpoint/2010/main" val="158010101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374677" cy="492443"/>
          </a:xfrm>
        </p:spPr>
        <p:txBody>
          <a:bodyPr vert="horz" wrap="square" lIns="0" tIns="0" rIns="0" bIns="0" numCol="1" anchor="t" anchorCtr="0" compatLnSpc="1">
            <a:prstTxWarp prst="textNoShape">
              <a:avLst/>
            </a:prstTxWarp>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Exemple : Rôles et responsabilités</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3. Processus trimestriel</a:t>
            </a:r>
          </a:p>
        </p:txBody>
      </p:sp>
      <p:sp>
        <p:nvSpPr>
          <p:cNvPr id="13" name="TextBox 5">
            <a:extLst>
              <a:ext uri="{FF2B5EF4-FFF2-40B4-BE49-F238E27FC236}">
                <a16:creationId xmlns:a16="http://schemas.microsoft.com/office/drawing/2014/main" id="{0F07F4C2-71AE-B142-BEB6-5DC823B2BD59}"/>
              </a:ext>
            </a:extLst>
          </p:cNvPr>
          <p:cNvSpPr txBox="1">
            <a:spLocks/>
          </p:cNvSpPr>
          <p:nvPr>
            <p:custDataLst>
              <p:tags r:id="rId1"/>
            </p:custDataLst>
          </p:nvPr>
        </p:nvSpPr>
        <p:spPr bwMode="gray">
          <a:xfrm>
            <a:off x="163185" y="4413915"/>
            <a:ext cx="1269853" cy="560550"/>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88" tIns="76188" rIns="76188" bIns="76188" numCol="1" anchor="ctr" anchorCtr="0" compatLnSpc="1">
            <a:prstTxWarp prst="textNoShape">
              <a:avLst/>
            </a:prstTxWarp>
            <a:noAutofit/>
          </a:bodyPr>
          <a:lstStyle>
            <a:defPPr>
              <a:defRPr lang="en-US"/>
            </a:defPPr>
            <a:lvl1pPr marL="0" lvl="0" indent="0" defTabSz="895350" eaLnBrk="1" hangingPunct="1">
              <a:buClr>
                <a:srgbClr val="002960"/>
              </a:buClr>
              <a:buSzTx/>
              <a:buFontTx/>
              <a:buNone/>
              <a:defRPr sz="1100" b="1" baseline="0">
                <a:solidFill>
                  <a:schemeClr val="bg1"/>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77443" fontAlgn="auto">
              <a:spcBef>
                <a:spcPts val="0"/>
              </a:spcBef>
              <a:spcAft>
                <a:spcPts val="0"/>
              </a:spcAft>
              <a:defRPr/>
            </a:pPr>
            <a:r>
              <a:rPr lang="fr-FR" sz="1099" dirty="0">
                <a:solidFill>
                  <a:prstClr val="white"/>
                </a:solidFill>
                <a:latin typeface="Arial"/>
              </a:rPr>
              <a:t>Exécution des actions</a:t>
            </a:r>
          </a:p>
        </p:txBody>
      </p:sp>
      <p:sp>
        <p:nvSpPr>
          <p:cNvPr id="14" name="TextBox 5">
            <a:extLst>
              <a:ext uri="{FF2B5EF4-FFF2-40B4-BE49-F238E27FC236}">
                <a16:creationId xmlns:a16="http://schemas.microsoft.com/office/drawing/2014/main" id="{EDEEE044-08A1-1C42-A845-2A07B322D677}"/>
              </a:ext>
            </a:extLst>
          </p:cNvPr>
          <p:cNvSpPr txBox="1">
            <a:spLocks/>
          </p:cNvSpPr>
          <p:nvPr>
            <p:custDataLst>
              <p:tags r:id="rId2"/>
            </p:custDataLst>
          </p:nvPr>
        </p:nvSpPr>
        <p:spPr bwMode="gray">
          <a:xfrm>
            <a:off x="163185" y="3527372"/>
            <a:ext cx="1269853" cy="779540"/>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88" tIns="76188" rIns="76188" bIns="76188" numCol="1" anchor="ctr" anchorCtr="0" compatLnSpc="1">
            <a:prstTxWarp prst="textNoShape">
              <a:avLst/>
            </a:prstTxWarp>
            <a:noAutofit/>
          </a:bodyPr>
          <a:lstStyle>
            <a:defPPr>
              <a:defRPr lang="en-US"/>
            </a:defPPr>
            <a:lvl1pPr marL="0" lvl="0" indent="0" defTabSz="895350" eaLnBrk="1" hangingPunct="1">
              <a:buClr>
                <a:srgbClr val="002960"/>
              </a:buClr>
              <a:buSzTx/>
              <a:buFontTx/>
              <a:buNone/>
              <a:defRPr sz="1100"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065" fontAlgn="auto">
              <a:spcBef>
                <a:spcPts val="0"/>
              </a:spcBef>
              <a:spcAft>
                <a:spcPts val="0"/>
              </a:spcAft>
              <a:defRPr/>
            </a:pPr>
            <a:r>
              <a:rPr lang="fr-FR" dirty="0">
                <a:solidFill>
                  <a:srgbClr val="FFFFFF"/>
                </a:solidFill>
                <a:latin typeface="Arial"/>
              </a:rPr>
              <a:t>Actions validées et enregistrées dans le suivi d’action</a:t>
            </a:r>
          </a:p>
        </p:txBody>
      </p:sp>
      <p:sp>
        <p:nvSpPr>
          <p:cNvPr id="17" name="Rectangle 16">
            <a:extLst>
              <a:ext uri="{FF2B5EF4-FFF2-40B4-BE49-F238E27FC236}">
                <a16:creationId xmlns:a16="http://schemas.microsoft.com/office/drawing/2014/main" id="{B1E6BF97-CB01-A843-AFE4-265B57C83369}"/>
              </a:ext>
            </a:extLst>
          </p:cNvPr>
          <p:cNvSpPr/>
          <p:nvPr>
            <p:custDataLst>
              <p:tags r:id="rId3"/>
            </p:custDataLst>
          </p:nvPr>
        </p:nvSpPr>
        <p:spPr bwMode="auto">
          <a:xfrm>
            <a:off x="1512631" y="1704579"/>
            <a:ext cx="1325408" cy="4018463"/>
          </a:xfrm>
          <a:prstGeom prst="rect">
            <a:avLst/>
          </a:prstGeom>
          <a:solidFill>
            <a:srgbClr val="D3CAB9"/>
          </a:solidFill>
          <a:ln w="9525" cap="flat" cmpd="sng" algn="ctr">
            <a:solidFill>
              <a:srgbClr val="D3CAB9"/>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109" fontAlgn="auto">
              <a:spcBef>
                <a:spcPts val="0"/>
              </a:spcBef>
              <a:spcAft>
                <a:spcPts val="0"/>
              </a:spcAft>
              <a:defRPr/>
            </a:pPr>
            <a:endParaRPr lang="en-US" sz="1597" dirty="0">
              <a:solidFill>
                <a:srgbClr val="000000"/>
              </a:solidFill>
              <a:latin typeface="Arial"/>
            </a:endParaRPr>
          </a:p>
        </p:txBody>
      </p:sp>
      <p:sp>
        <p:nvSpPr>
          <p:cNvPr id="18" name="Rectangle 17">
            <a:extLst>
              <a:ext uri="{FF2B5EF4-FFF2-40B4-BE49-F238E27FC236}">
                <a16:creationId xmlns:a16="http://schemas.microsoft.com/office/drawing/2014/main" id="{030AC73D-BE35-1E4D-86F7-875AA9215E38}"/>
              </a:ext>
            </a:extLst>
          </p:cNvPr>
          <p:cNvSpPr/>
          <p:nvPr>
            <p:custDataLst>
              <p:tags r:id="rId4"/>
            </p:custDataLst>
          </p:nvPr>
        </p:nvSpPr>
        <p:spPr bwMode="auto">
          <a:xfrm>
            <a:off x="4199715" y="1704579"/>
            <a:ext cx="1369850" cy="4001559"/>
          </a:xfrm>
          <a:prstGeom prst="rect">
            <a:avLst/>
          </a:prstGeom>
          <a:solidFill>
            <a:srgbClr val="D3CAB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9" fontAlgn="auto">
              <a:spcBef>
                <a:spcPts val="0"/>
              </a:spcBef>
              <a:spcAft>
                <a:spcPts val="0"/>
              </a:spcAft>
              <a:defRPr/>
            </a:pPr>
            <a:endParaRPr lang="en-US" sz="1597" dirty="0">
              <a:solidFill>
                <a:prstClr val="black"/>
              </a:solidFill>
              <a:latin typeface="Arial"/>
            </a:endParaRPr>
          </a:p>
        </p:txBody>
      </p:sp>
      <p:sp>
        <p:nvSpPr>
          <p:cNvPr id="28" name="Rectangle 27">
            <a:extLst>
              <a:ext uri="{FF2B5EF4-FFF2-40B4-BE49-F238E27FC236}">
                <a16:creationId xmlns:a16="http://schemas.microsoft.com/office/drawing/2014/main" id="{78734743-9624-394A-B430-DEB4DFE9275B}"/>
              </a:ext>
            </a:extLst>
          </p:cNvPr>
          <p:cNvSpPr/>
          <p:nvPr>
            <p:custDataLst>
              <p:tags r:id="rId5"/>
            </p:custDataLst>
          </p:nvPr>
        </p:nvSpPr>
        <p:spPr bwMode="auto">
          <a:xfrm>
            <a:off x="6951237" y="1704580"/>
            <a:ext cx="424580" cy="4001555"/>
          </a:xfrm>
          <a:prstGeom prst="rect">
            <a:avLst/>
          </a:prstGeom>
          <a:solidFill>
            <a:srgbClr val="D3CAB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9" fontAlgn="auto">
              <a:spcBef>
                <a:spcPts val="0"/>
              </a:spcBef>
              <a:spcAft>
                <a:spcPts val="0"/>
              </a:spcAft>
              <a:defRPr/>
            </a:pPr>
            <a:endParaRPr lang="en-US" sz="1597" dirty="0" err="1">
              <a:solidFill>
                <a:prstClr val="black"/>
              </a:solidFill>
              <a:latin typeface="Arial"/>
            </a:endParaRPr>
          </a:p>
        </p:txBody>
      </p:sp>
      <p:sp>
        <p:nvSpPr>
          <p:cNvPr id="29" name="Text Placeholder 3">
            <a:extLst>
              <a:ext uri="{FF2B5EF4-FFF2-40B4-BE49-F238E27FC236}">
                <a16:creationId xmlns:a16="http://schemas.microsoft.com/office/drawing/2014/main" id="{2639AB9A-801C-FC49-9629-230CD0B29558}"/>
              </a:ext>
            </a:extLst>
          </p:cNvPr>
          <p:cNvSpPr>
            <a:spLocks noGrp="1"/>
          </p:cNvSpPr>
          <p:nvPr>
            <p:custDataLst>
              <p:tags r:id="rId6"/>
            </p:custDataLst>
          </p:nvPr>
        </p:nvSpPr>
        <p:spPr bwMode="auto">
          <a:xfrm>
            <a:off x="1512633" y="1458560"/>
            <a:ext cx="458707" cy="24601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4" rIns="0" bIns="31744"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065">
              <a:buClr>
                <a:srgbClr val="002960"/>
              </a:buClr>
              <a:defRPr/>
            </a:pPr>
            <a:fld id="{DC7463FA-BCDC-401D-9F22-6476A211E03D}" type="datetime'''J''''''''''''a''''''''''''''''''''''''''''''''n'''''''''''">
              <a:rPr lang="en-US" sz="1200" b="1">
                <a:solidFill>
                  <a:prstClr val="black"/>
                </a:solidFill>
                <a:latin typeface="Arial"/>
                <a:cs typeface="Arial" panose="020B0604020202020204" pitchFamily="34" charset="0"/>
                <a:sym typeface="Arial" panose="020B0604020202020204" pitchFamily="34" charset="0"/>
              </a:rPr>
              <a:pPr defTabSz="895065">
                <a:buClr>
                  <a:srgbClr val="002960"/>
                </a:buClr>
                <a:defRPr/>
              </a:pPr>
              <a:t>Jan</a:t>
            </a:fld>
            <a:endParaRPr lang="en-US" sz="1200" b="1" dirty="0">
              <a:solidFill>
                <a:prstClr val="black"/>
              </a:solidFill>
              <a:latin typeface="Arial"/>
              <a:cs typeface="Arial" panose="020B0604020202020204" pitchFamily="34" charset="0"/>
              <a:sym typeface="Arial" panose="020B0604020202020204" pitchFamily="34" charset="0"/>
            </a:endParaRPr>
          </a:p>
        </p:txBody>
      </p:sp>
      <p:sp>
        <p:nvSpPr>
          <p:cNvPr id="30" name="Text Placeholder 3">
            <a:extLst>
              <a:ext uri="{FF2B5EF4-FFF2-40B4-BE49-F238E27FC236}">
                <a16:creationId xmlns:a16="http://schemas.microsoft.com/office/drawing/2014/main" id="{2985FA63-7DF5-A44C-BE94-AD8FF008EDCD}"/>
              </a:ext>
            </a:extLst>
          </p:cNvPr>
          <p:cNvSpPr>
            <a:spLocks noGrp="1"/>
          </p:cNvSpPr>
          <p:nvPr>
            <p:custDataLst>
              <p:tags r:id="rId7"/>
            </p:custDataLst>
          </p:nvPr>
        </p:nvSpPr>
        <p:spPr bwMode="auto">
          <a:xfrm>
            <a:off x="1934877" y="1458560"/>
            <a:ext cx="414265" cy="24601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4" rIns="0" bIns="31744"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065">
              <a:buClr>
                <a:srgbClr val="002960"/>
              </a:buClr>
              <a:defRPr/>
            </a:pPr>
            <a:r>
              <a:rPr lang="en-US" sz="1200" b="1" dirty="0">
                <a:solidFill>
                  <a:prstClr val="black"/>
                </a:solidFill>
                <a:latin typeface="Arial"/>
                <a:cs typeface="Arial" panose="020B0604020202020204" pitchFamily="34" charset="0"/>
                <a:sym typeface="Arial" panose="020B0604020202020204" pitchFamily="34" charset="0"/>
              </a:rPr>
              <a:t>Feb</a:t>
            </a:r>
          </a:p>
        </p:txBody>
      </p:sp>
      <p:sp>
        <p:nvSpPr>
          <p:cNvPr id="31" name="Text Placeholder 3">
            <a:extLst>
              <a:ext uri="{FF2B5EF4-FFF2-40B4-BE49-F238E27FC236}">
                <a16:creationId xmlns:a16="http://schemas.microsoft.com/office/drawing/2014/main" id="{1F42E373-D8BC-D349-99C3-E1A0903B9217}"/>
              </a:ext>
            </a:extLst>
          </p:cNvPr>
          <p:cNvSpPr>
            <a:spLocks noGrp="1"/>
          </p:cNvSpPr>
          <p:nvPr>
            <p:custDataLst>
              <p:tags r:id="rId8"/>
            </p:custDataLst>
          </p:nvPr>
        </p:nvSpPr>
        <p:spPr bwMode="auto">
          <a:xfrm>
            <a:off x="2385602" y="1458560"/>
            <a:ext cx="460293" cy="24601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4" rIns="0" bIns="31744"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065">
              <a:buClr>
                <a:srgbClr val="002960"/>
              </a:buClr>
              <a:defRPr/>
            </a:pPr>
            <a:fld id="{9D77D0CC-F188-413F-96B0-14FDA7D134B2}" type="datetime'''''''''''''''''''''''''M''''''a''''r'''''">
              <a:rPr lang="en-US" sz="1200" b="1">
                <a:solidFill>
                  <a:prstClr val="black"/>
                </a:solidFill>
                <a:latin typeface="Arial"/>
                <a:cs typeface="Arial" panose="020B0604020202020204" pitchFamily="34" charset="0"/>
                <a:sym typeface="Arial" panose="020B0604020202020204" pitchFamily="34" charset="0"/>
              </a:rPr>
              <a:pPr defTabSz="895065">
                <a:buClr>
                  <a:srgbClr val="002960"/>
                </a:buClr>
                <a:defRPr/>
              </a:pPr>
              <a:t>Mar</a:t>
            </a:fld>
            <a:endParaRPr lang="en-US" sz="1200" b="1">
              <a:solidFill>
                <a:prstClr val="black"/>
              </a:solidFill>
              <a:latin typeface="Arial"/>
              <a:cs typeface="Arial" panose="020B0604020202020204" pitchFamily="34" charset="0"/>
              <a:sym typeface="Arial" panose="020B0604020202020204" pitchFamily="34" charset="0"/>
            </a:endParaRPr>
          </a:p>
        </p:txBody>
      </p:sp>
      <p:sp>
        <p:nvSpPr>
          <p:cNvPr id="32" name="Text Placeholder 3">
            <a:extLst>
              <a:ext uri="{FF2B5EF4-FFF2-40B4-BE49-F238E27FC236}">
                <a16:creationId xmlns:a16="http://schemas.microsoft.com/office/drawing/2014/main" id="{583ACA94-AF04-E745-A894-BE8E2D4F4CE4}"/>
              </a:ext>
            </a:extLst>
          </p:cNvPr>
          <p:cNvSpPr>
            <a:spLocks noGrp="1"/>
          </p:cNvSpPr>
          <p:nvPr>
            <p:custDataLst>
              <p:tags r:id="rId9"/>
            </p:custDataLst>
          </p:nvPr>
        </p:nvSpPr>
        <p:spPr bwMode="auto">
          <a:xfrm>
            <a:off x="2845897" y="1458560"/>
            <a:ext cx="442835" cy="24601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4" rIns="0" bIns="31744"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065">
              <a:buClr>
                <a:srgbClr val="002960"/>
              </a:buClr>
              <a:defRPr/>
            </a:pPr>
            <a:r>
              <a:rPr lang="en-US" sz="1200" b="1" dirty="0">
                <a:solidFill>
                  <a:prstClr val="black"/>
                </a:solidFill>
                <a:latin typeface="Arial"/>
                <a:cs typeface="Arial" panose="020B0604020202020204" pitchFamily="34" charset="0"/>
                <a:sym typeface="Arial" panose="020B0604020202020204" pitchFamily="34" charset="0"/>
              </a:rPr>
              <a:t>Apr</a:t>
            </a:r>
          </a:p>
        </p:txBody>
      </p:sp>
      <p:sp>
        <p:nvSpPr>
          <p:cNvPr id="33" name="Text Placeholder 3">
            <a:extLst>
              <a:ext uri="{FF2B5EF4-FFF2-40B4-BE49-F238E27FC236}">
                <a16:creationId xmlns:a16="http://schemas.microsoft.com/office/drawing/2014/main" id="{6C1D82E9-4A5C-B247-9DD9-E0FF7798E7BD}"/>
              </a:ext>
            </a:extLst>
          </p:cNvPr>
          <p:cNvSpPr>
            <a:spLocks noGrp="1"/>
          </p:cNvSpPr>
          <p:nvPr>
            <p:custDataLst>
              <p:tags r:id="rId10"/>
            </p:custDataLst>
          </p:nvPr>
        </p:nvSpPr>
        <p:spPr bwMode="auto">
          <a:xfrm>
            <a:off x="3288730" y="1458560"/>
            <a:ext cx="460293" cy="24601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4" rIns="0" bIns="31744"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065">
              <a:buClr>
                <a:srgbClr val="002960"/>
              </a:buClr>
              <a:defRPr/>
            </a:pPr>
            <a:r>
              <a:rPr lang="en-US" sz="1200" b="1" dirty="0">
                <a:solidFill>
                  <a:prstClr val="black"/>
                </a:solidFill>
                <a:latin typeface="Arial"/>
                <a:cs typeface="Arial" panose="020B0604020202020204" pitchFamily="34" charset="0"/>
                <a:sym typeface="Arial" panose="020B0604020202020204" pitchFamily="34" charset="0"/>
              </a:rPr>
              <a:t>May</a:t>
            </a:r>
          </a:p>
        </p:txBody>
      </p:sp>
      <p:sp>
        <p:nvSpPr>
          <p:cNvPr id="34" name="Text Placeholder 3">
            <a:extLst>
              <a:ext uri="{FF2B5EF4-FFF2-40B4-BE49-F238E27FC236}">
                <a16:creationId xmlns:a16="http://schemas.microsoft.com/office/drawing/2014/main" id="{FF04714A-AFD9-2343-841F-64E7C452FC0E}"/>
              </a:ext>
            </a:extLst>
          </p:cNvPr>
          <p:cNvSpPr>
            <a:spLocks noGrp="1"/>
          </p:cNvSpPr>
          <p:nvPr>
            <p:custDataLst>
              <p:tags r:id="rId11"/>
            </p:custDataLst>
          </p:nvPr>
        </p:nvSpPr>
        <p:spPr bwMode="auto">
          <a:xfrm>
            <a:off x="3749025" y="1458560"/>
            <a:ext cx="442835" cy="24601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4" rIns="0" bIns="31744"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065">
              <a:buClr>
                <a:srgbClr val="002960"/>
              </a:buClr>
              <a:defRPr/>
            </a:pPr>
            <a:fld id="{DC185470-4510-4CE0-9DCF-FE3260112230}" type="datetime'''''''''''''''J''''''u''''''''''''''n'''''">
              <a:rPr lang="en-US" sz="1200" b="1">
                <a:solidFill>
                  <a:prstClr val="black"/>
                </a:solidFill>
                <a:latin typeface="Arial"/>
                <a:cs typeface="Arial" panose="020B0604020202020204" pitchFamily="34" charset="0"/>
                <a:sym typeface="Arial" panose="020B0604020202020204" pitchFamily="34" charset="0"/>
              </a:rPr>
              <a:pPr defTabSz="895065">
                <a:buClr>
                  <a:srgbClr val="002960"/>
                </a:buClr>
                <a:defRPr/>
              </a:pPr>
              <a:t>Jun</a:t>
            </a:fld>
            <a:endParaRPr lang="en-US" sz="1200" b="1" dirty="0">
              <a:solidFill>
                <a:prstClr val="black"/>
              </a:solidFill>
              <a:latin typeface="Arial"/>
              <a:cs typeface="Arial" panose="020B0604020202020204" pitchFamily="34" charset="0"/>
              <a:sym typeface="Arial" panose="020B0604020202020204" pitchFamily="34" charset="0"/>
            </a:endParaRPr>
          </a:p>
        </p:txBody>
      </p:sp>
      <p:sp>
        <p:nvSpPr>
          <p:cNvPr id="35" name="Text Placeholder 3">
            <a:extLst>
              <a:ext uri="{FF2B5EF4-FFF2-40B4-BE49-F238E27FC236}">
                <a16:creationId xmlns:a16="http://schemas.microsoft.com/office/drawing/2014/main" id="{25AC44D5-F382-0F47-A95B-61995CB2F9C1}"/>
              </a:ext>
            </a:extLst>
          </p:cNvPr>
          <p:cNvSpPr>
            <a:spLocks noGrp="1"/>
          </p:cNvSpPr>
          <p:nvPr>
            <p:custDataLst>
              <p:tags r:id="rId12"/>
            </p:custDataLst>
          </p:nvPr>
        </p:nvSpPr>
        <p:spPr bwMode="auto">
          <a:xfrm>
            <a:off x="4191859" y="1458560"/>
            <a:ext cx="460293" cy="24601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4" rIns="0" bIns="31744"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065">
              <a:buClr>
                <a:srgbClr val="002960"/>
              </a:buClr>
              <a:defRPr/>
            </a:pPr>
            <a:fld id="{DDAF377C-3D25-4702-9A02-5EAD25CD67B2}" type="datetime'''''''''''''''''''''''''J''''u''l'''''">
              <a:rPr lang="en-US" sz="1200" b="1">
                <a:solidFill>
                  <a:prstClr val="black"/>
                </a:solidFill>
                <a:latin typeface="Arial"/>
                <a:cs typeface="Arial" panose="020B0604020202020204" pitchFamily="34" charset="0"/>
                <a:sym typeface="Arial" panose="020B0604020202020204" pitchFamily="34" charset="0"/>
              </a:rPr>
              <a:pPr defTabSz="895065">
                <a:buClr>
                  <a:srgbClr val="002960"/>
                </a:buClr>
                <a:defRPr/>
              </a:pPr>
              <a:t>Jul</a:t>
            </a:fld>
            <a:endParaRPr lang="en-US" sz="1200" b="1">
              <a:solidFill>
                <a:prstClr val="black"/>
              </a:solidFill>
              <a:latin typeface="Arial"/>
              <a:cs typeface="Arial" panose="020B0604020202020204" pitchFamily="34" charset="0"/>
              <a:sym typeface="Arial" panose="020B0604020202020204" pitchFamily="34" charset="0"/>
            </a:endParaRPr>
          </a:p>
        </p:txBody>
      </p:sp>
      <p:sp>
        <p:nvSpPr>
          <p:cNvPr id="36" name="Text Placeholder 3">
            <a:extLst>
              <a:ext uri="{FF2B5EF4-FFF2-40B4-BE49-F238E27FC236}">
                <a16:creationId xmlns:a16="http://schemas.microsoft.com/office/drawing/2014/main" id="{B955CE20-A238-6F40-962E-1CC0201422E7}"/>
              </a:ext>
            </a:extLst>
          </p:cNvPr>
          <p:cNvSpPr>
            <a:spLocks noGrp="1"/>
          </p:cNvSpPr>
          <p:nvPr>
            <p:custDataLst>
              <p:tags r:id="rId13"/>
            </p:custDataLst>
          </p:nvPr>
        </p:nvSpPr>
        <p:spPr bwMode="auto">
          <a:xfrm>
            <a:off x="4652154" y="1458560"/>
            <a:ext cx="458707" cy="24601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4" rIns="0" bIns="31744"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065">
              <a:buClr>
                <a:srgbClr val="002960"/>
              </a:buClr>
              <a:defRPr/>
            </a:pPr>
            <a:r>
              <a:rPr lang="en-US" sz="1200" b="1" dirty="0">
                <a:solidFill>
                  <a:prstClr val="black"/>
                </a:solidFill>
                <a:latin typeface="Arial"/>
                <a:cs typeface="Arial" panose="020B0604020202020204" pitchFamily="34" charset="0"/>
                <a:sym typeface="Arial" panose="020B0604020202020204" pitchFamily="34" charset="0"/>
              </a:rPr>
              <a:t>Aug</a:t>
            </a:r>
          </a:p>
        </p:txBody>
      </p:sp>
      <p:sp>
        <p:nvSpPr>
          <p:cNvPr id="37" name="Text Placeholder 3">
            <a:extLst>
              <a:ext uri="{FF2B5EF4-FFF2-40B4-BE49-F238E27FC236}">
                <a16:creationId xmlns:a16="http://schemas.microsoft.com/office/drawing/2014/main" id="{D55741B8-62D6-EA47-A9EE-AC01CD46F708}"/>
              </a:ext>
            </a:extLst>
          </p:cNvPr>
          <p:cNvSpPr>
            <a:spLocks noGrp="1"/>
          </p:cNvSpPr>
          <p:nvPr>
            <p:custDataLst>
              <p:tags r:id="rId14"/>
            </p:custDataLst>
          </p:nvPr>
        </p:nvSpPr>
        <p:spPr bwMode="auto">
          <a:xfrm>
            <a:off x="5110858" y="1458560"/>
            <a:ext cx="444422" cy="24601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4" rIns="0" bIns="31744"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065">
              <a:buClr>
                <a:srgbClr val="002960"/>
              </a:buClr>
              <a:defRPr/>
            </a:pPr>
            <a:fld id="{F5802B5C-1454-490F-9810-90CD7292F92C}" type="datetime'''''''''''''''''''''''''''''''''S''''''''''''''e''p'''''''''''">
              <a:rPr lang="en-US" sz="1200" b="1">
                <a:solidFill>
                  <a:prstClr val="black"/>
                </a:solidFill>
                <a:latin typeface="Arial"/>
                <a:cs typeface="Arial" panose="020B0604020202020204" pitchFamily="34" charset="0"/>
                <a:sym typeface="Arial" panose="020B0604020202020204" pitchFamily="34" charset="0"/>
              </a:rPr>
              <a:pPr defTabSz="895065">
                <a:buClr>
                  <a:srgbClr val="002960"/>
                </a:buClr>
                <a:defRPr/>
              </a:pPr>
              <a:t>Sep</a:t>
            </a:fld>
            <a:endParaRPr lang="en-US" sz="1200" b="1">
              <a:solidFill>
                <a:prstClr val="black"/>
              </a:solidFill>
              <a:latin typeface="Arial"/>
              <a:cs typeface="Arial" panose="020B0604020202020204" pitchFamily="34" charset="0"/>
              <a:sym typeface="Arial" panose="020B0604020202020204" pitchFamily="34" charset="0"/>
            </a:endParaRPr>
          </a:p>
        </p:txBody>
      </p:sp>
      <p:sp>
        <p:nvSpPr>
          <p:cNvPr id="38" name="Text Placeholder 3">
            <a:extLst>
              <a:ext uri="{FF2B5EF4-FFF2-40B4-BE49-F238E27FC236}">
                <a16:creationId xmlns:a16="http://schemas.microsoft.com/office/drawing/2014/main" id="{BBDC1C08-E0B9-5743-BDF0-550596DAB949}"/>
              </a:ext>
            </a:extLst>
          </p:cNvPr>
          <p:cNvSpPr>
            <a:spLocks noGrp="1"/>
          </p:cNvSpPr>
          <p:nvPr>
            <p:custDataLst>
              <p:tags r:id="rId15"/>
            </p:custDataLst>
          </p:nvPr>
        </p:nvSpPr>
        <p:spPr bwMode="auto">
          <a:xfrm>
            <a:off x="5555280" y="1458560"/>
            <a:ext cx="458707" cy="24601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4" rIns="0" bIns="31744"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065">
              <a:buClr>
                <a:srgbClr val="002960"/>
              </a:buClr>
              <a:defRPr/>
            </a:pPr>
            <a:fld id="{25C742EF-826F-45DF-9151-1A63B9B777C6}" type="datetime'''''''''''''''''''''''''O''''''c''''''''''''t'">
              <a:rPr lang="en-US" sz="1200" b="1">
                <a:solidFill>
                  <a:prstClr val="black"/>
                </a:solidFill>
                <a:latin typeface="Arial"/>
                <a:cs typeface="Arial" panose="020B0604020202020204" pitchFamily="34" charset="0"/>
                <a:sym typeface="Arial" panose="020B0604020202020204" pitchFamily="34" charset="0"/>
              </a:rPr>
              <a:pPr defTabSz="895065">
                <a:buClr>
                  <a:srgbClr val="002960"/>
                </a:buClr>
                <a:defRPr/>
              </a:pPr>
              <a:t>Oct</a:t>
            </a:fld>
            <a:endParaRPr lang="en-US" sz="1200" b="1">
              <a:solidFill>
                <a:prstClr val="black"/>
              </a:solidFill>
              <a:latin typeface="Arial"/>
              <a:cs typeface="Arial" panose="020B0604020202020204" pitchFamily="34" charset="0"/>
              <a:sym typeface="Arial" panose="020B0604020202020204" pitchFamily="34" charset="0"/>
            </a:endParaRPr>
          </a:p>
        </p:txBody>
      </p:sp>
      <p:sp>
        <p:nvSpPr>
          <p:cNvPr id="39" name="Text Placeholder 3">
            <a:extLst>
              <a:ext uri="{FF2B5EF4-FFF2-40B4-BE49-F238E27FC236}">
                <a16:creationId xmlns:a16="http://schemas.microsoft.com/office/drawing/2014/main" id="{BB034E4C-1484-544C-B421-3A636A52B620}"/>
              </a:ext>
            </a:extLst>
          </p:cNvPr>
          <p:cNvSpPr>
            <a:spLocks noGrp="1"/>
          </p:cNvSpPr>
          <p:nvPr>
            <p:custDataLst>
              <p:tags r:id="rId16"/>
            </p:custDataLst>
          </p:nvPr>
        </p:nvSpPr>
        <p:spPr bwMode="auto">
          <a:xfrm>
            <a:off x="6013985" y="1458560"/>
            <a:ext cx="444422" cy="24601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4" rIns="0" bIns="31744"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065">
              <a:buClr>
                <a:srgbClr val="002960"/>
              </a:buClr>
              <a:defRPr/>
            </a:pPr>
            <a:fld id="{4E9BA5DF-3902-4048-A5B2-7F1CDD8186F1}" type="datetime'''''''''''''''''''N''''''o''''''''''''v'''''''''''''''''">
              <a:rPr lang="en-US" sz="1200" b="1">
                <a:solidFill>
                  <a:prstClr val="black"/>
                </a:solidFill>
                <a:latin typeface="Arial"/>
                <a:cs typeface="Arial" panose="020B0604020202020204" pitchFamily="34" charset="0"/>
                <a:sym typeface="Arial" panose="020B0604020202020204" pitchFamily="34" charset="0"/>
              </a:rPr>
              <a:pPr defTabSz="895065">
                <a:buClr>
                  <a:srgbClr val="002960"/>
                </a:buClr>
                <a:defRPr/>
              </a:pPr>
              <a:t>Nov</a:t>
            </a:fld>
            <a:endParaRPr lang="en-US" sz="1200" b="1">
              <a:solidFill>
                <a:prstClr val="black"/>
              </a:solidFill>
              <a:latin typeface="Arial"/>
              <a:cs typeface="Arial" panose="020B0604020202020204" pitchFamily="34" charset="0"/>
              <a:sym typeface="Arial" panose="020B0604020202020204" pitchFamily="34" charset="0"/>
            </a:endParaRPr>
          </a:p>
        </p:txBody>
      </p:sp>
      <p:sp>
        <p:nvSpPr>
          <p:cNvPr id="40" name="Text Placeholder 3">
            <a:extLst>
              <a:ext uri="{FF2B5EF4-FFF2-40B4-BE49-F238E27FC236}">
                <a16:creationId xmlns:a16="http://schemas.microsoft.com/office/drawing/2014/main" id="{6ED48307-4C81-6B48-A4FE-ABF0F5D23FB6}"/>
              </a:ext>
            </a:extLst>
          </p:cNvPr>
          <p:cNvSpPr>
            <a:spLocks noGrp="1"/>
          </p:cNvSpPr>
          <p:nvPr>
            <p:custDataLst>
              <p:tags r:id="rId17"/>
            </p:custDataLst>
          </p:nvPr>
        </p:nvSpPr>
        <p:spPr bwMode="auto">
          <a:xfrm>
            <a:off x="6458408" y="1458560"/>
            <a:ext cx="458707" cy="24601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4" rIns="0" bIns="31744"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065">
              <a:buClr>
                <a:srgbClr val="002960"/>
              </a:buClr>
              <a:defRPr/>
            </a:pPr>
            <a:fld id="{FD122A17-4AB0-4CB4-B1BD-CEF8F5896C77}" type="datetime'D''''''''''''''''''''''''''''''''e''c'''''''">
              <a:rPr lang="en-US" sz="1200" b="1">
                <a:solidFill>
                  <a:prstClr val="black"/>
                </a:solidFill>
                <a:latin typeface="Arial"/>
                <a:cs typeface="Arial" panose="020B0604020202020204" pitchFamily="34" charset="0"/>
                <a:sym typeface="Arial" panose="020B0604020202020204" pitchFamily="34" charset="0"/>
              </a:rPr>
              <a:pPr defTabSz="895065">
                <a:buClr>
                  <a:srgbClr val="002960"/>
                </a:buClr>
                <a:defRPr/>
              </a:pPr>
              <a:t>Dec</a:t>
            </a:fld>
            <a:endParaRPr lang="en-US" sz="1200" b="1">
              <a:solidFill>
                <a:prstClr val="black"/>
              </a:solidFill>
              <a:latin typeface="Arial"/>
              <a:cs typeface="Arial" panose="020B0604020202020204" pitchFamily="34" charset="0"/>
              <a:sym typeface="Arial" panose="020B0604020202020204" pitchFamily="34" charset="0"/>
            </a:endParaRPr>
          </a:p>
        </p:txBody>
      </p:sp>
      <p:sp>
        <p:nvSpPr>
          <p:cNvPr id="41" name="Text Placeholder 3">
            <a:extLst>
              <a:ext uri="{FF2B5EF4-FFF2-40B4-BE49-F238E27FC236}">
                <a16:creationId xmlns:a16="http://schemas.microsoft.com/office/drawing/2014/main" id="{33EC20A5-A9F2-394B-8C9C-90095BFB8B98}"/>
              </a:ext>
            </a:extLst>
          </p:cNvPr>
          <p:cNvSpPr>
            <a:spLocks noGrp="1"/>
          </p:cNvSpPr>
          <p:nvPr>
            <p:custDataLst>
              <p:tags r:id="rId18"/>
            </p:custDataLst>
          </p:nvPr>
        </p:nvSpPr>
        <p:spPr bwMode="auto">
          <a:xfrm>
            <a:off x="6917112" y="1458560"/>
            <a:ext cx="458707" cy="24601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4" rIns="0" bIns="31744"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065">
              <a:buClr>
                <a:srgbClr val="002960"/>
              </a:buClr>
              <a:defRPr/>
            </a:pPr>
            <a:fld id="{0623BC16-29CD-49EE-BF1D-047E297F28CE}" type="datetime'''''''''''''''''''''''''''''''J''a''''n'''''''">
              <a:rPr lang="en-US" sz="1200" b="1">
                <a:solidFill>
                  <a:prstClr val="black"/>
                </a:solidFill>
                <a:latin typeface="Arial"/>
                <a:cs typeface="Arial" panose="020B0604020202020204" pitchFamily="34" charset="0"/>
                <a:sym typeface="Arial" panose="020B0604020202020204" pitchFamily="34" charset="0"/>
              </a:rPr>
              <a:pPr defTabSz="895065">
                <a:buClr>
                  <a:srgbClr val="002960"/>
                </a:buClr>
                <a:defRPr/>
              </a:pPr>
              <a:t>Jan</a:t>
            </a:fld>
            <a:endParaRPr lang="en-US" sz="1200" b="1">
              <a:solidFill>
                <a:prstClr val="black"/>
              </a:solidFill>
              <a:latin typeface="Arial"/>
              <a:cs typeface="Arial" panose="020B0604020202020204" pitchFamily="34" charset="0"/>
              <a:sym typeface="Arial" panose="020B0604020202020204" pitchFamily="34" charset="0"/>
            </a:endParaRPr>
          </a:p>
        </p:txBody>
      </p:sp>
      <p:cxnSp>
        <p:nvCxnSpPr>
          <p:cNvPr id="42" name="Straight Connector 41">
            <a:extLst>
              <a:ext uri="{FF2B5EF4-FFF2-40B4-BE49-F238E27FC236}">
                <a16:creationId xmlns:a16="http://schemas.microsoft.com/office/drawing/2014/main" id="{C5183E8E-19EC-A64C-ABB7-68E3B824C676}"/>
              </a:ext>
            </a:extLst>
          </p:cNvPr>
          <p:cNvCxnSpPr>
            <a:cxnSpLocks/>
          </p:cNvCxnSpPr>
          <p:nvPr>
            <p:custDataLst>
              <p:tags r:id="rId19"/>
            </p:custDataLst>
          </p:nvPr>
        </p:nvCxnSpPr>
        <p:spPr bwMode="auto">
          <a:xfrm>
            <a:off x="1512630" y="1704578"/>
            <a:ext cx="9524" cy="4001556"/>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A1FEEB3-AA2E-0A4B-B5E8-1BD4E0C11553}"/>
              </a:ext>
            </a:extLst>
          </p:cNvPr>
          <p:cNvCxnSpPr>
            <a:cxnSpLocks/>
          </p:cNvCxnSpPr>
          <p:nvPr>
            <p:custDataLst>
              <p:tags r:id="rId20"/>
            </p:custDataLst>
          </p:nvPr>
        </p:nvCxnSpPr>
        <p:spPr bwMode="auto">
          <a:xfrm flipH="1">
            <a:off x="7375812" y="1704579"/>
            <a:ext cx="4" cy="401581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5CBE2D66-1E65-184A-9675-3A5127E6A36E}"/>
              </a:ext>
            </a:extLst>
          </p:cNvPr>
          <p:cNvCxnSpPr/>
          <p:nvPr>
            <p:custDataLst>
              <p:tags r:id="rId21"/>
            </p:custDataLst>
          </p:nvPr>
        </p:nvCxnSpPr>
        <p:spPr bwMode="auto">
          <a:xfrm>
            <a:off x="1512632" y="5723042"/>
            <a:ext cx="5863187"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35F9EC42-A6EA-E24C-8480-6F753BFCD562}"/>
              </a:ext>
            </a:extLst>
          </p:cNvPr>
          <p:cNvCxnSpPr>
            <a:cxnSpLocks/>
          </p:cNvCxnSpPr>
          <p:nvPr>
            <p:custDataLst>
              <p:tags r:id="rId22"/>
            </p:custDataLst>
          </p:nvPr>
        </p:nvCxnSpPr>
        <p:spPr bwMode="gray">
          <a:xfrm flipH="1">
            <a:off x="4652152" y="1704579"/>
            <a:ext cx="13489" cy="3944832"/>
          </a:xfrm>
          <a:prstGeom prst="line">
            <a:avLst/>
          </a:prstGeom>
          <a:ln w="1905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97C47BA-D29F-0942-A136-195758281140}"/>
              </a:ext>
            </a:extLst>
          </p:cNvPr>
          <p:cNvCxnSpPr>
            <a:cxnSpLocks/>
          </p:cNvCxnSpPr>
          <p:nvPr>
            <p:custDataLst>
              <p:tags r:id="rId23"/>
            </p:custDataLst>
          </p:nvPr>
        </p:nvCxnSpPr>
        <p:spPr bwMode="gray">
          <a:xfrm>
            <a:off x="1934877" y="1704580"/>
            <a:ext cx="10772" cy="4001555"/>
          </a:xfrm>
          <a:prstGeom prst="line">
            <a:avLst/>
          </a:prstGeom>
          <a:ln w="1905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6DFF7D7-E726-D940-856F-69E8BA438040}"/>
              </a:ext>
            </a:extLst>
          </p:cNvPr>
          <p:cNvCxnSpPr>
            <a:cxnSpLocks/>
          </p:cNvCxnSpPr>
          <p:nvPr>
            <p:custDataLst>
              <p:tags r:id="rId24"/>
            </p:custDataLst>
          </p:nvPr>
        </p:nvCxnSpPr>
        <p:spPr bwMode="gray">
          <a:xfrm flipH="1">
            <a:off x="6026215" y="1704580"/>
            <a:ext cx="13160" cy="4001555"/>
          </a:xfrm>
          <a:prstGeom prst="line">
            <a:avLst/>
          </a:prstGeom>
          <a:ln w="1905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200ABAD0-AD1C-B44C-9628-C1C050281548}"/>
              </a:ext>
            </a:extLst>
          </p:cNvPr>
          <p:cNvCxnSpPr>
            <a:cxnSpLocks/>
          </p:cNvCxnSpPr>
          <p:nvPr>
            <p:custDataLst>
              <p:tags r:id="rId25"/>
            </p:custDataLst>
          </p:nvPr>
        </p:nvCxnSpPr>
        <p:spPr bwMode="gray">
          <a:xfrm>
            <a:off x="3300539" y="1701683"/>
            <a:ext cx="0" cy="4004452"/>
          </a:xfrm>
          <a:prstGeom prst="line">
            <a:avLst/>
          </a:prstGeom>
          <a:ln w="1905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A423EA9E-C132-CE45-8B70-E77D13197F4B}"/>
              </a:ext>
            </a:extLst>
          </p:cNvPr>
          <p:cNvCxnSpPr/>
          <p:nvPr>
            <p:custDataLst>
              <p:tags r:id="rId26"/>
            </p:custDataLst>
          </p:nvPr>
        </p:nvCxnSpPr>
        <p:spPr bwMode="auto">
          <a:xfrm>
            <a:off x="1512632" y="1704578"/>
            <a:ext cx="5863187"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0" name="Text Placeholder 19">
            <a:extLst>
              <a:ext uri="{FF2B5EF4-FFF2-40B4-BE49-F238E27FC236}">
                <a16:creationId xmlns:a16="http://schemas.microsoft.com/office/drawing/2014/main" id="{D35FD87D-E25E-F84C-B3D1-9653AAF46D78}"/>
              </a:ext>
            </a:extLst>
          </p:cNvPr>
          <p:cNvSpPr>
            <a:spLocks noGrp="1"/>
          </p:cNvSpPr>
          <p:nvPr>
            <p:custDataLst>
              <p:tags r:id="rId27"/>
            </p:custDataLst>
          </p:nvPr>
        </p:nvSpPr>
        <p:spPr bwMode="gray">
          <a:xfrm>
            <a:off x="4665582" y="4611961"/>
            <a:ext cx="1176036" cy="261891"/>
          </a:xfrm>
          <a:prstGeom prst="homePlate">
            <a:avLst>
              <a:gd name="adj" fmla="val 18788"/>
            </a:avLst>
          </a:prstGeom>
          <a:solidFill>
            <a:srgbClr val="80C535"/>
          </a:solidFill>
          <a:ln w="9525">
            <a:solidFill>
              <a:srgbClr val="808080"/>
            </a:solidFill>
          </a:ln>
        </p:spPr>
        <p:txBody>
          <a:bodyPr vert="horz" wrap="square" lIns="90473" tIns="46029" rIns="0" bIns="46029"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065">
              <a:buClr>
                <a:srgbClr val="39302A"/>
              </a:buClr>
              <a:defRPr/>
            </a:pPr>
            <a:endParaRPr lang="en-US" sz="1200" dirty="0">
              <a:solidFill>
                <a:prstClr val="white"/>
              </a:solidFill>
              <a:latin typeface="Arial"/>
              <a:cs typeface="Arial" panose="020B0604020202020204" pitchFamily="34" charset="0"/>
              <a:sym typeface="Arial" panose="020B0604020202020204" pitchFamily="34" charset="0"/>
            </a:endParaRPr>
          </a:p>
        </p:txBody>
      </p:sp>
      <p:sp>
        <p:nvSpPr>
          <p:cNvPr id="51" name="Text Placeholder 18">
            <a:extLst>
              <a:ext uri="{FF2B5EF4-FFF2-40B4-BE49-F238E27FC236}">
                <a16:creationId xmlns:a16="http://schemas.microsoft.com/office/drawing/2014/main" id="{2192E07F-3223-B746-A027-8F790A203E4C}"/>
              </a:ext>
            </a:extLst>
          </p:cNvPr>
          <p:cNvSpPr>
            <a:spLocks noGrp="1"/>
          </p:cNvSpPr>
          <p:nvPr>
            <p:custDataLst>
              <p:tags r:id="rId28"/>
            </p:custDataLst>
          </p:nvPr>
        </p:nvSpPr>
        <p:spPr bwMode="gray">
          <a:xfrm>
            <a:off x="3294132" y="4611961"/>
            <a:ext cx="1199937" cy="261891"/>
          </a:xfrm>
          <a:prstGeom prst="homePlate">
            <a:avLst>
              <a:gd name="adj" fmla="val 18788"/>
            </a:avLst>
          </a:prstGeom>
          <a:solidFill>
            <a:srgbClr val="80C535"/>
          </a:solidFill>
          <a:ln w="9525">
            <a:solidFill>
              <a:srgbClr val="808080"/>
            </a:solidFill>
          </a:ln>
        </p:spPr>
        <p:txBody>
          <a:bodyPr vert="horz" wrap="square" lIns="90473" tIns="46029" rIns="0" bIns="46029"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065">
              <a:buClr>
                <a:srgbClr val="39302A"/>
              </a:buClr>
              <a:defRPr/>
            </a:pPr>
            <a:endParaRPr lang="en-US" sz="1200" dirty="0">
              <a:solidFill>
                <a:prstClr val="white"/>
              </a:solidFill>
              <a:latin typeface="Arial"/>
              <a:cs typeface="Arial" panose="020B0604020202020204" pitchFamily="34" charset="0"/>
              <a:sym typeface="Arial" panose="020B0604020202020204" pitchFamily="34" charset="0"/>
            </a:endParaRPr>
          </a:p>
        </p:txBody>
      </p:sp>
      <p:sp>
        <p:nvSpPr>
          <p:cNvPr id="52" name="Text Placeholder 20">
            <a:extLst>
              <a:ext uri="{FF2B5EF4-FFF2-40B4-BE49-F238E27FC236}">
                <a16:creationId xmlns:a16="http://schemas.microsoft.com/office/drawing/2014/main" id="{FF0A7D1E-DD40-3B4D-9286-A3A1A7BAF2F0}"/>
              </a:ext>
            </a:extLst>
          </p:cNvPr>
          <p:cNvSpPr>
            <a:spLocks noGrp="1"/>
          </p:cNvSpPr>
          <p:nvPr>
            <p:custDataLst>
              <p:tags r:id="rId29"/>
            </p:custDataLst>
          </p:nvPr>
        </p:nvSpPr>
        <p:spPr bwMode="gray">
          <a:xfrm>
            <a:off x="6053415" y="4611961"/>
            <a:ext cx="1238920" cy="261891"/>
          </a:xfrm>
          <a:prstGeom prst="homePlate">
            <a:avLst>
              <a:gd name="adj" fmla="val 18788"/>
            </a:avLst>
          </a:prstGeom>
          <a:solidFill>
            <a:srgbClr val="80C535"/>
          </a:solidFill>
          <a:ln w="9525">
            <a:solidFill>
              <a:srgbClr val="808080"/>
            </a:solidFill>
          </a:ln>
        </p:spPr>
        <p:txBody>
          <a:bodyPr vert="horz" wrap="square" lIns="90473" tIns="46029" rIns="0" bIns="46029"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065">
              <a:buClr>
                <a:srgbClr val="39302A"/>
              </a:buClr>
              <a:defRPr/>
            </a:pPr>
            <a:endParaRPr lang="en-US" sz="1200" dirty="0">
              <a:solidFill>
                <a:prstClr val="white"/>
              </a:solidFill>
              <a:latin typeface="Arial"/>
              <a:cs typeface="Arial" panose="020B0604020202020204" pitchFamily="34" charset="0"/>
              <a:sym typeface="Arial" panose="020B0604020202020204" pitchFamily="34" charset="0"/>
            </a:endParaRPr>
          </a:p>
        </p:txBody>
      </p:sp>
      <p:sp>
        <p:nvSpPr>
          <p:cNvPr id="53" name="Text Placeholder 35">
            <a:extLst>
              <a:ext uri="{FF2B5EF4-FFF2-40B4-BE49-F238E27FC236}">
                <a16:creationId xmlns:a16="http://schemas.microsoft.com/office/drawing/2014/main" id="{0FC3E3EA-E489-4145-965F-B32F23E49EA1}"/>
              </a:ext>
            </a:extLst>
          </p:cNvPr>
          <p:cNvSpPr>
            <a:spLocks noGrp="1"/>
          </p:cNvSpPr>
          <p:nvPr>
            <p:custDataLst>
              <p:tags r:id="rId30"/>
            </p:custDataLst>
          </p:nvPr>
        </p:nvSpPr>
        <p:spPr bwMode="auto">
          <a:xfrm>
            <a:off x="2233641" y="3789465"/>
            <a:ext cx="1074254" cy="261890"/>
          </a:xfrm>
          <a:prstGeom prst="homePlate">
            <a:avLst>
              <a:gd name="adj" fmla="val 18788"/>
            </a:avLst>
          </a:prstGeom>
          <a:solidFill>
            <a:schemeClr val="bg2"/>
          </a:solidFill>
          <a:ln w="9525">
            <a:solidFill>
              <a:schemeClr val="tx1"/>
            </a:solidFill>
          </a:ln>
        </p:spPr>
        <p:txBody>
          <a:bodyPr vert="horz" wrap="square" lIns="90473" tIns="46029" rIns="0" bIns="46029"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065">
              <a:buClr>
                <a:srgbClr val="39302A"/>
              </a:buClr>
              <a:defRPr/>
            </a:pPr>
            <a:endParaRPr lang="en-US" sz="1200" dirty="0">
              <a:solidFill>
                <a:prstClr val="black"/>
              </a:solidFill>
              <a:latin typeface="Arial"/>
              <a:cs typeface="Arial" panose="020B0604020202020204" pitchFamily="34" charset="0"/>
              <a:sym typeface="Arial" panose="020B0604020202020204" pitchFamily="34" charset="0"/>
            </a:endParaRPr>
          </a:p>
        </p:txBody>
      </p:sp>
      <p:sp>
        <p:nvSpPr>
          <p:cNvPr id="54" name="Text Placeholder 34">
            <a:extLst>
              <a:ext uri="{FF2B5EF4-FFF2-40B4-BE49-F238E27FC236}">
                <a16:creationId xmlns:a16="http://schemas.microsoft.com/office/drawing/2014/main" id="{CF0F8629-C45F-6C4D-A1E6-D004804E21C4}"/>
              </a:ext>
            </a:extLst>
          </p:cNvPr>
          <p:cNvSpPr>
            <a:spLocks noGrp="1"/>
          </p:cNvSpPr>
          <p:nvPr>
            <p:custDataLst>
              <p:tags r:id="rId31"/>
            </p:custDataLst>
          </p:nvPr>
        </p:nvSpPr>
        <p:spPr bwMode="auto">
          <a:xfrm>
            <a:off x="1522154" y="3783217"/>
            <a:ext cx="104204" cy="261891"/>
          </a:xfrm>
          <a:prstGeom prst="homePlate">
            <a:avLst>
              <a:gd name="adj" fmla="val 18788"/>
            </a:avLst>
          </a:prstGeom>
          <a:solidFill>
            <a:schemeClr val="bg1"/>
          </a:solidFill>
          <a:ln w="9525">
            <a:solidFill>
              <a:schemeClr val="tx1"/>
            </a:solidFill>
          </a:ln>
        </p:spPr>
        <p:txBody>
          <a:bodyPr vert="horz" wrap="square" lIns="90473" tIns="46029" rIns="0" bIns="46029"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065">
              <a:buClr>
                <a:srgbClr val="39302A"/>
              </a:buClr>
              <a:defRPr/>
            </a:pPr>
            <a:endParaRPr lang="en-US" sz="1200" dirty="0">
              <a:solidFill>
                <a:srgbClr val="FFFFFF"/>
              </a:solidFill>
              <a:latin typeface="Arial"/>
              <a:cs typeface="Arial" panose="020B0604020202020204" pitchFamily="34" charset="0"/>
              <a:sym typeface="Arial" panose="020B0604020202020204" pitchFamily="34" charset="0"/>
            </a:endParaRPr>
          </a:p>
        </p:txBody>
      </p:sp>
      <p:sp>
        <p:nvSpPr>
          <p:cNvPr id="55" name="Text Placeholder 15">
            <a:extLst>
              <a:ext uri="{FF2B5EF4-FFF2-40B4-BE49-F238E27FC236}">
                <a16:creationId xmlns:a16="http://schemas.microsoft.com/office/drawing/2014/main" id="{8E0810C6-6A20-F044-9459-CC04ACCFEC04}"/>
              </a:ext>
            </a:extLst>
          </p:cNvPr>
          <p:cNvSpPr>
            <a:spLocks noGrp="1"/>
          </p:cNvSpPr>
          <p:nvPr>
            <p:custDataLst>
              <p:tags r:id="rId32"/>
            </p:custDataLst>
          </p:nvPr>
        </p:nvSpPr>
        <p:spPr bwMode="auto">
          <a:xfrm>
            <a:off x="3592432" y="3788354"/>
            <a:ext cx="1073209" cy="263001"/>
          </a:xfrm>
          <a:prstGeom prst="homePlate">
            <a:avLst>
              <a:gd name="adj" fmla="val 18788"/>
            </a:avLst>
          </a:prstGeom>
          <a:solidFill>
            <a:schemeClr val="bg2"/>
          </a:solidFill>
          <a:ln w="9525">
            <a:solidFill>
              <a:schemeClr val="tx1"/>
            </a:solidFill>
          </a:ln>
        </p:spPr>
        <p:txBody>
          <a:bodyPr vert="horz" wrap="square" lIns="90473" tIns="46029" rIns="0" bIns="46029"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065">
              <a:buClr>
                <a:srgbClr val="39302A"/>
              </a:buClr>
              <a:defRPr/>
            </a:pPr>
            <a:endParaRPr lang="en-US" sz="1200" dirty="0">
              <a:solidFill>
                <a:prstClr val="black"/>
              </a:solidFill>
              <a:latin typeface="Arial"/>
              <a:cs typeface="Arial" panose="020B0604020202020204" pitchFamily="34" charset="0"/>
              <a:sym typeface="Arial" panose="020B0604020202020204" pitchFamily="34" charset="0"/>
            </a:endParaRPr>
          </a:p>
        </p:txBody>
      </p:sp>
      <p:sp>
        <p:nvSpPr>
          <p:cNvPr id="56" name="Text Placeholder 3">
            <a:extLst>
              <a:ext uri="{FF2B5EF4-FFF2-40B4-BE49-F238E27FC236}">
                <a16:creationId xmlns:a16="http://schemas.microsoft.com/office/drawing/2014/main" id="{0AAF211F-46D1-E749-91B9-336659D52CF1}"/>
              </a:ext>
            </a:extLst>
          </p:cNvPr>
          <p:cNvSpPr>
            <a:spLocks noGrp="1"/>
          </p:cNvSpPr>
          <p:nvPr>
            <p:custDataLst>
              <p:tags r:id="rId33"/>
            </p:custDataLst>
          </p:nvPr>
        </p:nvSpPr>
        <p:spPr bwMode="gray">
          <a:xfrm>
            <a:off x="1654917" y="4611961"/>
            <a:ext cx="1139623" cy="261891"/>
          </a:xfrm>
          <a:prstGeom prst="homePlate">
            <a:avLst>
              <a:gd name="adj" fmla="val 18788"/>
            </a:avLst>
          </a:prstGeom>
          <a:solidFill>
            <a:srgbClr val="80C535"/>
          </a:solidFill>
          <a:ln w="9525">
            <a:solidFill>
              <a:srgbClr val="808080"/>
            </a:solidFill>
          </a:ln>
        </p:spPr>
        <p:txBody>
          <a:bodyPr vert="horz" wrap="square" lIns="90473" tIns="46029" rIns="0" bIns="46029"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065">
              <a:buClr>
                <a:srgbClr val="39302A"/>
              </a:buClr>
              <a:defRPr/>
            </a:pPr>
            <a:endParaRPr lang="en-US" sz="1200" b="1" dirty="0">
              <a:solidFill>
                <a:prstClr val="white"/>
              </a:solidFill>
              <a:latin typeface="Arial"/>
              <a:cs typeface="Arial" panose="020B0604020202020204" pitchFamily="34" charset="0"/>
              <a:sym typeface="Arial" panose="020B0604020202020204" pitchFamily="34" charset="0"/>
            </a:endParaRPr>
          </a:p>
        </p:txBody>
      </p:sp>
      <p:sp>
        <p:nvSpPr>
          <p:cNvPr id="57" name="Text Placeholder 16">
            <a:extLst>
              <a:ext uri="{FF2B5EF4-FFF2-40B4-BE49-F238E27FC236}">
                <a16:creationId xmlns:a16="http://schemas.microsoft.com/office/drawing/2014/main" id="{C238EB98-60C6-864D-A0CE-93BB745F2223}"/>
              </a:ext>
            </a:extLst>
          </p:cNvPr>
          <p:cNvSpPr>
            <a:spLocks noGrp="1"/>
          </p:cNvSpPr>
          <p:nvPr>
            <p:custDataLst>
              <p:tags r:id="rId34"/>
            </p:custDataLst>
          </p:nvPr>
        </p:nvSpPr>
        <p:spPr bwMode="auto">
          <a:xfrm>
            <a:off x="5032288" y="3789464"/>
            <a:ext cx="998454" cy="261891"/>
          </a:xfrm>
          <a:prstGeom prst="homePlate">
            <a:avLst>
              <a:gd name="adj" fmla="val 18788"/>
            </a:avLst>
          </a:prstGeom>
          <a:solidFill>
            <a:schemeClr val="bg2"/>
          </a:solidFill>
          <a:ln w="9525">
            <a:solidFill>
              <a:schemeClr val="tx1"/>
            </a:solidFill>
          </a:ln>
        </p:spPr>
        <p:txBody>
          <a:bodyPr vert="horz" wrap="square" lIns="90473" tIns="46029" rIns="0" bIns="46029"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065">
              <a:buClr>
                <a:srgbClr val="39302A"/>
              </a:buClr>
              <a:defRPr/>
            </a:pPr>
            <a:endParaRPr lang="en-US" sz="1200" dirty="0">
              <a:solidFill>
                <a:prstClr val="black"/>
              </a:solidFill>
              <a:latin typeface="Arial"/>
              <a:cs typeface="Arial" panose="020B0604020202020204" pitchFamily="34" charset="0"/>
              <a:sym typeface="Arial" panose="020B0604020202020204" pitchFamily="34" charset="0"/>
            </a:endParaRPr>
          </a:p>
        </p:txBody>
      </p:sp>
      <p:sp>
        <p:nvSpPr>
          <p:cNvPr id="58" name="Isosceles Triangle 97">
            <a:extLst>
              <a:ext uri="{FF2B5EF4-FFF2-40B4-BE49-F238E27FC236}">
                <a16:creationId xmlns:a16="http://schemas.microsoft.com/office/drawing/2014/main" id="{634573AA-527F-8049-96A8-8A7724CE74EF}"/>
              </a:ext>
            </a:extLst>
          </p:cNvPr>
          <p:cNvSpPr/>
          <p:nvPr>
            <p:custDataLst>
              <p:tags r:id="rId35"/>
            </p:custDataLst>
          </p:nvPr>
        </p:nvSpPr>
        <p:spPr bwMode="auto">
          <a:xfrm>
            <a:off x="5958794" y="5829882"/>
            <a:ext cx="149199" cy="128567"/>
          </a:xfrm>
          <a:prstGeom prst="triangle">
            <a:avLst/>
          </a:prstGeom>
          <a:solidFill>
            <a:schemeClr val="tx2"/>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9" fontAlgn="auto">
              <a:spcBef>
                <a:spcPts val="0"/>
              </a:spcBef>
              <a:spcAft>
                <a:spcPts val="0"/>
              </a:spcAft>
              <a:defRPr/>
            </a:pPr>
            <a:endParaRPr lang="en-US" sz="1597" dirty="0" err="1">
              <a:solidFill>
                <a:prstClr val="black"/>
              </a:solidFill>
              <a:latin typeface="Arial"/>
            </a:endParaRPr>
          </a:p>
        </p:txBody>
      </p:sp>
      <p:sp>
        <p:nvSpPr>
          <p:cNvPr id="59" name="Isosceles Triangle 92">
            <a:extLst>
              <a:ext uri="{FF2B5EF4-FFF2-40B4-BE49-F238E27FC236}">
                <a16:creationId xmlns:a16="http://schemas.microsoft.com/office/drawing/2014/main" id="{26D56AA1-98F1-6844-AC70-D50AF0311BD3}"/>
              </a:ext>
            </a:extLst>
          </p:cNvPr>
          <p:cNvSpPr/>
          <p:nvPr>
            <p:custDataLst>
              <p:tags r:id="rId36"/>
            </p:custDataLst>
          </p:nvPr>
        </p:nvSpPr>
        <p:spPr bwMode="auto">
          <a:xfrm>
            <a:off x="4590939" y="5829882"/>
            <a:ext cx="149199" cy="128567"/>
          </a:xfrm>
          <a:prstGeom prst="triangle">
            <a:avLst/>
          </a:prstGeom>
          <a:solidFill>
            <a:schemeClr val="tx2"/>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9" fontAlgn="auto">
              <a:spcBef>
                <a:spcPts val="0"/>
              </a:spcBef>
              <a:spcAft>
                <a:spcPts val="0"/>
              </a:spcAft>
              <a:defRPr/>
            </a:pPr>
            <a:endParaRPr lang="en-US" sz="1597" dirty="0" err="1">
              <a:solidFill>
                <a:prstClr val="black"/>
              </a:solidFill>
              <a:latin typeface="Arial"/>
            </a:endParaRPr>
          </a:p>
        </p:txBody>
      </p:sp>
      <p:sp>
        <p:nvSpPr>
          <p:cNvPr id="60" name="Isosceles Triangle 9">
            <a:extLst>
              <a:ext uri="{FF2B5EF4-FFF2-40B4-BE49-F238E27FC236}">
                <a16:creationId xmlns:a16="http://schemas.microsoft.com/office/drawing/2014/main" id="{0EC45D2D-C9EB-9B46-920D-9E2274AC9122}"/>
              </a:ext>
            </a:extLst>
          </p:cNvPr>
          <p:cNvSpPr/>
          <p:nvPr>
            <p:custDataLst>
              <p:tags r:id="rId37"/>
            </p:custDataLst>
          </p:nvPr>
        </p:nvSpPr>
        <p:spPr bwMode="auto">
          <a:xfrm>
            <a:off x="3226080" y="5829882"/>
            <a:ext cx="149199" cy="128567"/>
          </a:xfrm>
          <a:prstGeom prst="triangle">
            <a:avLst/>
          </a:prstGeom>
          <a:solidFill>
            <a:schemeClr val="tx2"/>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9" fontAlgn="auto">
              <a:spcBef>
                <a:spcPts val="0"/>
              </a:spcBef>
              <a:spcAft>
                <a:spcPts val="0"/>
              </a:spcAft>
              <a:defRPr/>
            </a:pPr>
            <a:endParaRPr lang="en-US" sz="1597" dirty="0" err="1">
              <a:solidFill>
                <a:prstClr val="black"/>
              </a:solidFill>
              <a:latin typeface="Arial"/>
            </a:endParaRPr>
          </a:p>
        </p:txBody>
      </p:sp>
      <p:sp>
        <p:nvSpPr>
          <p:cNvPr id="61" name="Isosceles Triangle 102">
            <a:extLst>
              <a:ext uri="{FF2B5EF4-FFF2-40B4-BE49-F238E27FC236}">
                <a16:creationId xmlns:a16="http://schemas.microsoft.com/office/drawing/2014/main" id="{A69365E3-616C-EC4A-9535-A95E1B724DF1}"/>
              </a:ext>
            </a:extLst>
          </p:cNvPr>
          <p:cNvSpPr/>
          <p:nvPr>
            <p:custDataLst>
              <p:tags r:id="rId38"/>
            </p:custDataLst>
          </p:nvPr>
        </p:nvSpPr>
        <p:spPr bwMode="auto">
          <a:xfrm>
            <a:off x="1872090" y="5829882"/>
            <a:ext cx="149199" cy="128567"/>
          </a:xfrm>
          <a:prstGeom prst="triangle">
            <a:avLst/>
          </a:prstGeom>
          <a:solidFill>
            <a:schemeClr val="tx2"/>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9" fontAlgn="auto">
              <a:spcBef>
                <a:spcPts val="0"/>
              </a:spcBef>
              <a:spcAft>
                <a:spcPts val="0"/>
              </a:spcAft>
              <a:defRPr/>
            </a:pPr>
            <a:endParaRPr lang="en-US" sz="1597" dirty="0" err="1">
              <a:solidFill>
                <a:prstClr val="black"/>
              </a:solidFill>
              <a:latin typeface="Arial"/>
            </a:endParaRPr>
          </a:p>
        </p:txBody>
      </p:sp>
      <p:sp>
        <p:nvSpPr>
          <p:cNvPr id="62" name="Diamond 61">
            <a:extLst>
              <a:ext uri="{FF2B5EF4-FFF2-40B4-BE49-F238E27FC236}">
                <a16:creationId xmlns:a16="http://schemas.microsoft.com/office/drawing/2014/main" id="{DA802873-5278-694D-9A1C-F211FA80E8D7}"/>
              </a:ext>
            </a:extLst>
          </p:cNvPr>
          <p:cNvSpPr/>
          <p:nvPr>
            <p:custDataLst>
              <p:tags r:id="rId39"/>
            </p:custDataLst>
          </p:nvPr>
        </p:nvSpPr>
        <p:spPr bwMode="auto">
          <a:xfrm>
            <a:off x="3125166" y="2036773"/>
            <a:ext cx="341252" cy="345749"/>
          </a:xfrm>
          <a:prstGeom prst="diamond">
            <a:avLst/>
          </a:prstGeom>
          <a:solidFill>
            <a:schemeClr val="accent1"/>
          </a:solidFill>
          <a:ln w="952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9" fontAlgn="auto">
              <a:spcBef>
                <a:spcPts val="0"/>
              </a:spcBef>
              <a:spcAft>
                <a:spcPts val="0"/>
              </a:spcAft>
              <a:defRPr/>
            </a:pPr>
            <a:endParaRPr lang="en-US" sz="1597" dirty="0" err="1">
              <a:solidFill>
                <a:prstClr val="black"/>
              </a:solidFill>
              <a:latin typeface="Arial"/>
            </a:endParaRPr>
          </a:p>
        </p:txBody>
      </p:sp>
      <p:sp>
        <p:nvSpPr>
          <p:cNvPr id="63" name="Isosceles Triangle 254">
            <a:extLst>
              <a:ext uri="{FF2B5EF4-FFF2-40B4-BE49-F238E27FC236}">
                <a16:creationId xmlns:a16="http://schemas.microsoft.com/office/drawing/2014/main" id="{AE8DDB33-6B53-AA4D-989A-C5F9D0821939}"/>
              </a:ext>
            </a:extLst>
          </p:cNvPr>
          <p:cNvSpPr/>
          <p:nvPr>
            <p:custDataLst>
              <p:tags r:id="rId40"/>
            </p:custDataLst>
          </p:nvPr>
        </p:nvSpPr>
        <p:spPr bwMode="auto">
          <a:xfrm>
            <a:off x="3438911" y="2950398"/>
            <a:ext cx="319034" cy="264642"/>
          </a:xfrm>
          <a:prstGeom prst="triangle">
            <a:avLst/>
          </a:prstGeom>
          <a:solidFill>
            <a:srgbClr val="E8DB34"/>
          </a:solidFill>
          <a:ln w="952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109" fontAlgn="auto">
              <a:spcBef>
                <a:spcPts val="0"/>
              </a:spcBef>
              <a:spcAft>
                <a:spcPts val="0"/>
              </a:spcAft>
              <a:defRPr/>
            </a:pPr>
            <a:endParaRPr lang="en-US" sz="1597" dirty="0">
              <a:solidFill>
                <a:srgbClr val="000000"/>
              </a:solidFill>
              <a:latin typeface="Arial"/>
            </a:endParaRPr>
          </a:p>
        </p:txBody>
      </p:sp>
      <p:sp>
        <p:nvSpPr>
          <p:cNvPr id="64" name="TextBox 5">
            <a:extLst>
              <a:ext uri="{FF2B5EF4-FFF2-40B4-BE49-F238E27FC236}">
                <a16:creationId xmlns:a16="http://schemas.microsoft.com/office/drawing/2014/main" id="{FAA52458-D252-B541-97F8-74AB07C37037}"/>
              </a:ext>
            </a:extLst>
          </p:cNvPr>
          <p:cNvSpPr txBox="1">
            <a:spLocks/>
          </p:cNvSpPr>
          <p:nvPr>
            <p:custDataLst>
              <p:tags r:id="rId41"/>
            </p:custDataLst>
          </p:nvPr>
        </p:nvSpPr>
        <p:spPr bwMode="gray">
          <a:xfrm>
            <a:off x="145321" y="1798597"/>
            <a:ext cx="1305581" cy="799427"/>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88" tIns="76188" rIns="76188" bIns="76188" numCol="1" anchor="ctr" anchorCtr="0" compatLnSpc="1">
            <a:prstTxWarp prst="textNoShape">
              <a:avLst/>
            </a:prstTxWarp>
            <a:noAutofit/>
          </a:bodyPr>
          <a:lstStyle>
            <a:defPPr>
              <a:defRPr lang="en-US"/>
            </a:defPPr>
            <a:lvl1pPr marL="0" lvl="0" indent="0" defTabSz="895350" eaLnBrk="1" hangingPunct="1">
              <a:buClr>
                <a:srgbClr val="002960"/>
              </a:buClr>
              <a:buSzTx/>
              <a:buFontTx/>
              <a:buNone/>
              <a:defRPr sz="1100"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065" fontAlgn="auto">
              <a:spcBef>
                <a:spcPts val="0"/>
              </a:spcBef>
              <a:spcAft>
                <a:spcPts val="0"/>
              </a:spcAft>
              <a:defRPr/>
            </a:pPr>
            <a:r>
              <a:rPr lang="fr-FR" dirty="0">
                <a:solidFill>
                  <a:srgbClr val="FFFFFF"/>
                </a:solidFill>
                <a:latin typeface="Arial"/>
              </a:rPr>
              <a:t>Produire la carte de score</a:t>
            </a:r>
          </a:p>
        </p:txBody>
      </p:sp>
      <p:sp>
        <p:nvSpPr>
          <p:cNvPr id="65" name="TextBox 5">
            <a:extLst>
              <a:ext uri="{FF2B5EF4-FFF2-40B4-BE49-F238E27FC236}">
                <a16:creationId xmlns:a16="http://schemas.microsoft.com/office/drawing/2014/main" id="{05A7D4DB-EBC9-C342-840E-515783DDC8A1}"/>
              </a:ext>
            </a:extLst>
          </p:cNvPr>
          <p:cNvSpPr txBox="1">
            <a:spLocks/>
          </p:cNvSpPr>
          <p:nvPr>
            <p:custDataLst>
              <p:tags r:id="rId42"/>
            </p:custDataLst>
          </p:nvPr>
        </p:nvSpPr>
        <p:spPr bwMode="gray">
          <a:xfrm>
            <a:off x="163185" y="5081468"/>
            <a:ext cx="1269853" cy="560550"/>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88" tIns="76188" rIns="76188" bIns="76188" numCol="1" anchor="ctr" anchorCtr="0" compatLnSpc="1">
            <a:prstTxWarp prst="textNoShape">
              <a:avLst/>
            </a:prstTxWarp>
            <a:noAutofit/>
          </a:bodyPr>
          <a:lstStyle>
            <a:defPPr>
              <a:defRPr lang="en-US"/>
            </a:defPPr>
            <a:lvl1pPr marL="0" lvl="0" indent="0" defTabSz="895350" eaLnBrk="1" hangingPunct="1">
              <a:buClr>
                <a:srgbClr val="002960"/>
              </a:buClr>
              <a:buSzTx/>
              <a:buFontTx/>
              <a:buNone/>
              <a:defRPr sz="1100"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065" fontAlgn="auto">
              <a:spcBef>
                <a:spcPts val="0"/>
              </a:spcBef>
              <a:spcAft>
                <a:spcPts val="0"/>
              </a:spcAft>
              <a:defRPr/>
            </a:pPr>
            <a:r>
              <a:rPr lang="fr-FR" dirty="0">
                <a:solidFill>
                  <a:srgbClr val="FFFFFF"/>
                </a:solidFill>
                <a:latin typeface="Arial"/>
              </a:rPr>
              <a:t>Suivi des actions </a:t>
            </a:r>
          </a:p>
        </p:txBody>
      </p:sp>
      <p:sp>
        <p:nvSpPr>
          <p:cNvPr id="66" name="Rectangle 140">
            <a:extLst>
              <a:ext uri="{FF2B5EF4-FFF2-40B4-BE49-F238E27FC236}">
                <a16:creationId xmlns:a16="http://schemas.microsoft.com/office/drawing/2014/main" id="{9C64962B-7313-164E-A30C-2B393DF0161C}"/>
              </a:ext>
            </a:extLst>
          </p:cNvPr>
          <p:cNvSpPr txBox="1"/>
          <p:nvPr/>
        </p:nvSpPr>
        <p:spPr>
          <a:xfrm>
            <a:off x="7535673" y="1322842"/>
            <a:ext cx="1254471" cy="241285"/>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065" fontAlgn="auto">
              <a:spcBef>
                <a:spcPts val="0"/>
              </a:spcBef>
              <a:spcAft>
                <a:spcPts val="0"/>
              </a:spcAft>
              <a:buClr>
                <a:srgbClr val="39302A"/>
              </a:buClr>
              <a:defRPr/>
            </a:pPr>
            <a:r>
              <a:rPr lang="fr-FR" sz="1568" b="1" u="sng" dirty="0">
                <a:solidFill>
                  <a:prstClr val="black"/>
                </a:solidFill>
                <a:latin typeface="Arial"/>
              </a:rPr>
              <a:t>Responsable</a:t>
            </a:r>
          </a:p>
        </p:txBody>
      </p:sp>
      <p:sp>
        <p:nvSpPr>
          <p:cNvPr id="67" name="TextBox 66">
            <a:extLst>
              <a:ext uri="{FF2B5EF4-FFF2-40B4-BE49-F238E27FC236}">
                <a16:creationId xmlns:a16="http://schemas.microsoft.com/office/drawing/2014/main" id="{84D4A149-01DC-ED43-AEA7-2104A8FA31EE}"/>
              </a:ext>
            </a:extLst>
          </p:cNvPr>
          <p:cNvSpPr txBox="1"/>
          <p:nvPr/>
        </p:nvSpPr>
        <p:spPr>
          <a:xfrm>
            <a:off x="2058590" y="1707658"/>
            <a:ext cx="455065" cy="264962"/>
          </a:xfrm>
          <a:prstGeom prst="rect">
            <a:avLst/>
          </a:prstGeom>
          <a:noFill/>
        </p:spPr>
        <p:txBody>
          <a:bodyPr wrap="square" rtlCol="0">
            <a:spAutoFit/>
          </a:bodyPr>
          <a:lstStyle/>
          <a:p>
            <a:pPr defTabSz="914109" eaLnBrk="0" fontAlgn="auto" hangingPunct="0">
              <a:spcBef>
                <a:spcPts val="0"/>
              </a:spcBef>
              <a:spcAft>
                <a:spcPts val="0"/>
              </a:spcAft>
              <a:buClr>
                <a:srgbClr val="002960"/>
              </a:buClr>
              <a:buSzPct val="125000"/>
              <a:defRPr/>
            </a:pPr>
            <a:r>
              <a:rPr lang="fr-FR" sz="1100" b="1">
                <a:solidFill>
                  <a:srgbClr val="000000"/>
                </a:solidFill>
                <a:latin typeface="Arial"/>
              </a:rPr>
              <a:t>T1 </a:t>
            </a:r>
          </a:p>
        </p:txBody>
      </p:sp>
      <p:sp>
        <p:nvSpPr>
          <p:cNvPr id="68" name="TextBox 67">
            <a:extLst>
              <a:ext uri="{FF2B5EF4-FFF2-40B4-BE49-F238E27FC236}">
                <a16:creationId xmlns:a16="http://schemas.microsoft.com/office/drawing/2014/main" id="{F76A5BD4-1062-324D-AECB-39326ED3C004}"/>
              </a:ext>
            </a:extLst>
          </p:cNvPr>
          <p:cNvSpPr txBox="1"/>
          <p:nvPr/>
        </p:nvSpPr>
        <p:spPr>
          <a:xfrm>
            <a:off x="3309833" y="1702424"/>
            <a:ext cx="455065" cy="264962"/>
          </a:xfrm>
          <a:prstGeom prst="rect">
            <a:avLst/>
          </a:prstGeom>
          <a:noFill/>
        </p:spPr>
        <p:txBody>
          <a:bodyPr wrap="square" rtlCol="0">
            <a:spAutoFit/>
          </a:bodyPr>
          <a:lstStyle/>
          <a:p>
            <a:pPr defTabSz="914109" eaLnBrk="0" fontAlgn="auto" hangingPunct="0">
              <a:spcBef>
                <a:spcPts val="0"/>
              </a:spcBef>
              <a:spcAft>
                <a:spcPts val="0"/>
              </a:spcAft>
              <a:buClr>
                <a:srgbClr val="002960"/>
              </a:buClr>
              <a:buSzPct val="125000"/>
              <a:defRPr/>
            </a:pPr>
            <a:r>
              <a:rPr lang="fr-FR" sz="1100" b="1">
                <a:solidFill>
                  <a:srgbClr val="000000"/>
                </a:solidFill>
                <a:latin typeface="Arial"/>
              </a:rPr>
              <a:t>T2 </a:t>
            </a:r>
          </a:p>
        </p:txBody>
      </p:sp>
      <p:sp>
        <p:nvSpPr>
          <p:cNvPr id="69" name="TextBox 68">
            <a:extLst>
              <a:ext uri="{FF2B5EF4-FFF2-40B4-BE49-F238E27FC236}">
                <a16:creationId xmlns:a16="http://schemas.microsoft.com/office/drawing/2014/main" id="{F4D8E1D9-1523-FF4D-8D31-57B323FC9A26}"/>
              </a:ext>
            </a:extLst>
          </p:cNvPr>
          <p:cNvSpPr txBox="1"/>
          <p:nvPr/>
        </p:nvSpPr>
        <p:spPr>
          <a:xfrm>
            <a:off x="4710548" y="1718555"/>
            <a:ext cx="455065" cy="264962"/>
          </a:xfrm>
          <a:prstGeom prst="rect">
            <a:avLst/>
          </a:prstGeom>
          <a:noFill/>
        </p:spPr>
        <p:txBody>
          <a:bodyPr wrap="square" rtlCol="0">
            <a:spAutoFit/>
          </a:bodyPr>
          <a:lstStyle/>
          <a:p>
            <a:pPr defTabSz="914109" eaLnBrk="0" fontAlgn="auto" hangingPunct="0">
              <a:spcBef>
                <a:spcPts val="0"/>
              </a:spcBef>
              <a:spcAft>
                <a:spcPts val="0"/>
              </a:spcAft>
              <a:buClr>
                <a:srgbClr val="002960"/>
              </a:buClr>
              <a:buSzPct val="125000"/>
              <a:defRPr/>
            </a:pPr>
            <a:r>
              <a:rPr lang="fr-FR" sz="1100" b="1">
                <a:solidFill>
                  <a:srgbClr val="000000"/>
                </a:solidFill>
                <a:latin typeface="Arial"/>
              </a:rPr>
              <a:t>T3 </a:t>
            </a:r>
          </a:p>
        </p:txBody>
      </p:sp>
      <p:sp>
        <p:nvSpPr>
          <p:cNvPr id="70" name="TextBox 69">
            <a:extLst>
              <a:ext uri="{FF2B5EF4-FFF2-40B4-BE49-F238E27FC236}">
                <a16:creationId xmlns:a16="http://schemas.microsoft.com/office/drawing/2014/main" id="{A4DF4DBA-A90F-504E-A45F-BCFE46823ACC}"/>
              </a:ext>
            </a:extLst>
          </p:cNvPr>
          <p:cNvSpPr txBox="1"/>
          <p:nvPr/>
        </p:nvSpPr>
        <p:spPr>
          <a:xfrm>
            <a:off x="6104807" y="1709049"/>
            <a:ext cx="455065" cy="264962"/>
          </a:xfrm>
          <a:prstGeom prst="rect">
            <a:avLst/>
          </a:prstGeom>
          <a:noFill/>
        </p:spPr>
        <p:txBody>
          <a:bodyPr wrap="square" rtlCol="0">
            <a:spAutoFit/>
          </a:bodyPr>
          <a:lstStyle/>
          <a:p>
            <a:pPr defTabSz="914109" eaLnBrk="0" fontAlgn="auto" hangingPunct="0">
              <a:spcBef>
                <a:spcPts val="0"/>
              </a:spcBef>
              <a:spcAft>
                <a:spcPts val="0"/>
              </a:spcAft>
              <a:buClr>
                <a:srgbClr val="002960"/>
              </a:buClr>
              <a:buSzPct val="125000"/>
              <a:defRPr/>
            </a:pPr>
            <a:r>
              <a:rPr lang="fr-FR" sz="1100" b="1">
                <a:solidFill>
                  <a:srgbClr val="000000"/>
                </a:solidFill>
                <a:latin typeface="Arial"/>
              </a:rPr>
              <a:t>T4 </a:t>
            </a:r>
          </a:p>
        </p:txBody>
      </p:sp>
      <p:sp>
        <p:nvSpPr>
          <p:cNvPr id="71" name="Diamond 70">
            <a:extLst>
              <a:ext uri="{FF2B5EF4-FFF2-40B4-BE49-F238E27FC236}">
                <a16:creationId xmlns:a16="http://schemas.microsoft.com/office/drawing/2014/main" id="{8B367C9A-8F95-8F41-BE58-89B8B49A1360}"/>
              </a:ext>
            </a:extLst>
          </p:cNvPr>
          <p:cNvSpPr/>
          <p:nvPr>
            <p:custDataLst>
              <p:tags r:id="rId43"/>
            </p:custDataLst>
          </p:nvPr>
        </p:nvSpPr>
        <p:spPr bwMode="auto">
          <a:xfrm>
            <a:off x="4497699" y="2010017"/>
            <a:ext cx="341252" cy="345749"/>
          </a:xfrm>
          <a:prstGeom prst="diamond">
            <a:avLst/>
          </a:prstGeom>
          <a:solidFill>
            <a:schemeClr val="accent1"/>
          </a:solidFill>
          <a:ln w="952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9" fontAlgn="auto">
              <a:spcBef>
                <a:spcPts val="0"/>
              </a:spcBef>
              <a:spcAft>
                <a:spcPts val="0"/>
              </a:spcAft>
              <a:defRPr/>
            </a:pPr>
            <a:endParaRPr lang="en-US" sz="1597" dirty="0" err="1">
              <a:solidFill>
                <a:prstClr val="black"/>
              </a:solidFill>
              <a:latin typeface="Arial"/>
            </a:endParaRPr>
          </a:p>
        </p:txBody>
      </p:sp>
      <p:sp>
        <p:nvSpPr>
          <p:cNvPr id="72" name="Diamond 71">
            <a:extLst>
              <a:ext uri="{FF2B5EF4-FFF2-40B4-BE49-F238E27FC236}">
                <a16:creationId xmlns:a16="http://schemas.microsoft.com/office/drawing/2014/main" id="{DDD1A0D1-3CDA-9D4F-BCB2-0EC20323A801}"/>
              </a:ext>
            </a:extLst>
          </p:cNvPr>
          <p:cNvSpPr/>
          <p:nvPr>
            <p:custDataLst>
              <p:tags r:id="rId44"/>
            </p:custDataLst>
          </p:nvPr>
        </p:nvSpPr>
        <p:spPr bwMode="auto">
          <a:xfrm>
            <a:off x="5855589" y="2036773"/>
            <a:ext cx="341252" cy="345749"/>
          </a:xfrm>
          <a:prstGeom prst="diamond">
            <a:avLst/>
          </a:prstGeom>
          <a:solidFill>
            <a:schemeClr val="accent1"/>
          </a:solidFill>
          <a:ln w="952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9" fontAlgn="auto">
              <a:spcBef>
                <a:spcPts val="0"/>
              </a:spcBef>
              <a:spcAft>
                <a:spcPts val="0"/>
              </a:spcAft>
              <a:defRPr/>
            </a:pPr>
            <a:endParaRPr lang="en-US" sz="1597" dirty="0" err="1">
              <a:solidFill>
                <a:prstClr val="black"/>
              </a:solidFill>
              <a:latin typeface="Arial"/>
            </a:endParaRPr>
          </a:p>
        </p:txBody>
      </p:sp>
      <p:sp>
        <p:nvSpPr>
          <p:cNvPr id="73" name="Diamond 72">
            <a:extLst>
              <a:ext uri="{FF2B5EF4-FFF2-40B4-BE49-F238E27FC236}">
                <a16:creationId xmlns:a16="http://schemas.microsoft.com/office/drawing/2014/main" id="{023CA28F-2A45-ED42-AEA5-C804E776C0BE}"/>
              </a:ext>
            </a:extLst>
          </p:cNvPr>
          <p:cNvSpPr/>
          <p:nvPr>
            <p:custDataLst>
              <p:tags r:id="rId45"/>
            </p:custDataLst>
          </p:nvPr>
        </p:nvSpPr>
        <p:spPr bwMode="auto">
          <a:xfrm>
            <a:off x="1775022" y="2057339"/>
            <a:ext cx="341252" cy="345749"/>
          </a:xfrm>
          <a:prstGeom prst="diamond">
            <a:avLst/>
          </a:prstGeom>
          <a:solidFill>
            <a:schemeClr val="accent1"/>
          </a:solidFill>
          <a:ln w="952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9" fontAlgn="auto">
              <a:spcBef>
                <a:spcPts val="0"/>
              </a:spcBef>
              <a:spcAft>
                <a:spcPts val="0"/>
              </a:spcAft>
              <a:defRPr/>
            </a:pPr>
            <a:endParaRPr lang="en-US" sz="1597" dirty="0" err="1">
              <a:solidFill>
                <a:prstClr val="black"/>
              </a:solidFill>
              <a:latin typeface="Arial"/>
            </a:endParaRPr>
          </a:p>
        </p:txBody>
      </p:sp>
      <p:sp>
        <p:nvSpPr>
          <p:cNvPr id="74" name="Isosceles Triangle 146">
            <a:extLst>
              <a:ext uri="{FF2B5EF4-FFF2-40B4-BE49-F238E27FC236}">
                <a16:creationId xmlns:a16="http://schemas.microsoft.com/office/drawing/2014/main" id="{5956A9FB-97A2-954B-8945-9084FAD29252}"/>
              </a:ext>
            </a:extLst>
          </p:cNvPr>
          <p:cNvSpPr/>
          <p:nvPr>
            <p:custDataLst>
              <p:tags r:id="rId46"/>
            </p:custDataLst>
          </p:nvPr>
        </p:nvSpPr>
        <p:spPr bwMode="auto">
          <a:xfrm>
            <a:off x="4888791" y="2950398"/>
            <a:ext cx="319034" cy="264642"/>
          </a:xfrm>
          <a:prstGeom prst="triangle">
            <a:avLst/>
          </a:prstGeom>
          <a:solidFill>
            <a:srgbClr val="E8DB34"/>
          </a:solidFill>
          <a:ln w="952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109" fontAlgn="auto">
              <a:spcBef>
                <a:spcPts val="0"/>
              </a:spcBef>
              <a:spcAft>
                <a:spcPts val="0"/>
              </a:spcAft>
              <a:defRPr/>
            </a:pPr>
            <a:endParaRPr lang="en-US" sz="1597" dirty="0">
              <a:solidFill>
                <a:srgbClr val="000000"/>
              </a:solidFill>
              <a:latin typeface="Arial"/>
            </a:endParaRPr>
          </a:p>
        </p:txBody>
      </p:sp>
      <p:sp>
        <p:nvSpPr>
          <p:cNvPr id="75" name="Isosceles Triangle 147">
            <a:extLst>
              <a:ext uri="{FF2B5EF4-FFF2-40B4-BE49-F238E27FC236}">
                <a16:creationId xmlns:a16="http://schemas.microsoft.com/office/drawing/2014/main" id="{440A4E50-2149-284E-A800-ACBD534CDD60}"/>
              </a:ext>
            </a:extLst>
          </p:cNvPr>
          <p:cNvSpPr/>
          <p:nvPr>
            <p:custDataLst>
              <p:tags r:id="rId47"/>
            </p:custDataLst>
          </p:nvPr>
        </p:nvSpPr>
        <p:spPr bwMode="auto">
          <a:xfrm>
            <a:off x="6265558" y="2950398"/>
            <a:ext cx="319034" cy="264642"/>
          </a:xfrm>
          <a:prstGeom prst="triangle">
            <a:avLst/>
          </a:prstGeom>
          <a:solidFill>
            <a:srgbClr val="E8DB34"/>
          </a:solidFill>
          <a:ln w="952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109" fontAlgn="auto">
              <a:spcBef>
                <a:spcPts val="0"/>
              </a:spcBef>
              <a:spcAft>
                <a:spcPts val="0"/>
              </a:spcAft>
              <a:defRPr/>
            </a:pPr>
            <a:endParaRPr lang="en-US" sz="1597" dirty="0">
              <a:solidFill>
                <a:srgbClr val="000000"/>
              </a:solidFill>
              <a:latin typeface="Arial"/>
            </a:endParaRPr>
          </a:p>
        </p:txBody>
      </p:sp>
      <p:sp>
        <p:nvSpPr>
          <p:cNvPr id="76" name="Isosceles Triangle 148">
            <a:extLst>
              <a:ext uri="{FF2B5EF4-FFF2-40B4-BE49-F238E27FC236}">
                <a16:creationId xmlns:a16="http://schemas.microsoft.com/office/drawing/2014/main" id="{68162C83-8746-5143-95B3-3D76DD4C695B}"/>
              </a:ext>
            </a:extLst>
          </p:cNvPr>
          <p:cNvSpPr/>
          <p:nvPr>
            <p:custDataLst>
              <p:tags r:id="rId48"/>
            </p:custDataLst>
          </p:nvPr>
        </p:nvSpPr>
        <p:spPr bwMode="auto">
          <a:xfrm>
            <a:off x="2085418" y="2950398"/>
            <a:ext cx="319034" cy="264642"/>
          </a:xfrm>
          <a:prstGeom prst="triangle">
            <a:avLst/>
          </a:prstGeom>
          <a:solidFill>
            <a:srgbClr val="E8DB34"/>
          </a:solidFill>
          <a:ln w="952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109" fontAlgn="auto">
              <a:spcBef>
                <a:spcPts val="0"/>
              </a:spcBef>
              <a:spcAft>
                <a:spcPts val="0"/>
              </a:spcAft>
              <a:defRPr/>
            </a:pPr>
            <a:endParaRPr lang="en-US" sz="1597" dirty="0">
              <a:solidFill>
                <a:srgbClr val="000000"/>
              </a:solidFill>
              <a:latin typeface="Arial"/>
            </a:endParaRPr>
          </a:p>
        </p:txBody>
      </p:sp>
      <p:sp>
        <p:nvSpPr>
          <p:cNvPr id="77" name="Text Placeholder 16">
            <a:extLst>
              <a:ext uri="{FF2B5EF4-FFF2-40B4-BE49-F238E27FC236}">
                <a16:creationId xmlns:a16="http://schemas.microsoft.com/office/drawing/2014/main" id="{537A0265-0898-9E40-96D3-843E96D8EB81}"/>
              </a:ext>
            </a:extLst>
          </p:cNvPr>
          <p:cNvSpPr>
            <a:spLocks noGrp="1"/>
          </p:cNvSpPr>
          <p:nvPr>
            <p:custDataLst>
              <p:tags r:id="rId49"/>
            </p:custDataLst>
          </p:nvPr>
        </p:nvSpPr>
        <p:spPr bwMode="auto">
          <a:xfrm>
            <a:off x="6422104" y="3794315"/>
            <a:ext cx="991009" cy="257040"/>
          </a:xfrm>
          <a:prstGeom prst="homePlate">
            <a:avLst>
              <a:gd name="adj" fmla="val 18788"/>
            </a:avLst>
          </a:prstGeom>
          <a:solidFill>
            <a:schemeClr val="bg2"/>
          </a:solidFill>
          <a:ln w="9525">
            <a:solidFill>
              <a:schemeClr val="tx1"/>
            </a:solidFill>
          </a:ln>
        </p:spPr>
        <p:txBody>
          <a:bodyPr vert="horz" wrap="square" lIns="90473" tIns="46029" rIns="0" bIns="46029"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065">
              <a:buClr>
                <a:srgbClr val="39302A"/>
              </a:buClr>
              <a:defRPr/>
            </a:pPr>
            <a:endParaRPr lang="en-US" sz="1200" dirty="0">
              <a:solidFill>
                <a:prstClr val="black"/>
              </a:solidFill>
              <a:latin typeface="Arial"/>
              <a:cs typeface="Arial" panose="020B0604020202020204" pitchFamily="34" charset="0"/>
              <a:sym typeface="Arial" panose="020B0604020202020204" pitchFamily="34" charset="0"/>
            </a:endParaRPr>
          </a:p>
        </p:txBody>
      </p:sp>
      <p:sp>
        <p:nvSpPr>
          <p:cNvPr id="78" name="Rectangle 140">
            <a:extLst>
              <a:ext uri="{FF2B5EF4-FFF2-40B4-BE49-F238E27FC236}">
                <a16:creationId xmlns:a16="http://schemas.microsoft.com/office/drawing/2014/main" id="{D009859D-7168-A14E-B60D-C5F19EA72EDA}"/>
              </a:ext>
            </a:extLst>
          </p:cNvPr>
          <p:cNvSpPr txBox="1"/>
          <p:nvPr/>
        </p:nvSpPr>
        <p:spPr>
          <a:xfrm>
            <a:off x="269967" y="1385227"/>
            <a:ext cx="1146153" cy="241285"/>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065" fontAlgn="auto">
              <a:spcBef>
                <a:spcPts val="0"/>
              </a:spcBef>
              <a:spcAft>
                <a:spcPts val="0"/>
              </a:spcAft>
              <a:buClr>
                <a:srgbClr val="39302A"/>
              </a:buClr>
              <a:defRPr/>
            </a:pPr>
            <a:r>
              <a:rPr lang="fr-FR" sz="1568" b="1" u="sng">
                <a:solidFill>
                  <a:prstClr val="black"/>
                </a:solidFill>
                <a:latin typeface="Arial"/>
              </a:rPr>
              <a:t>Activité</a:t>
            </a:r>
          </a:p>
        </p:txBody>
      </p:sp>
      <p:sp>
        <p:nvSpPr>
          <p:cNvPr id="79" name="TextBox 5">
            <a:extLst>
              <a:ext uri="{FF2B5EF4-FFF2-40B4-BE49-F238E27FC236}">
                <a16:creationId xmlns:a16="http://schemas.microsoft.com/office/drawing/2014/main" id="{FABC4181-1BF3-FC4F-ABE9-B9A8F162797A}"/>
              </a:ext>
            </a:extLst>
          </p:cNvPr>
          <p:cNvSpPr txBox="1">
            <a:spLocks/>
          </p:cNvSpPr>
          <p:nvPr>
            <p:custDataLst>
              <p:tags r:id="rId50"/>
            </p:custDataLst>
          </p:nvPr>
        </p:nvSpPr>
        <p:spPr bwMode="gray">
          <a:xfrm>
            <a:off x="163185" y="2705026"/>
            <a:ext cx="1269853" cy="715343"/>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88" tIns="76188" rIns="76188" bIns="76188" numCol="1" anchor="ctr" anchorCtr="0" compatLnSpc="1">
            <a:prstTxWarp prst="textNoShape">
              <a:avLst/>
            </a:prstTxWarp>
            <a:noAutofit/>
          </a:bodyPr>
          <a:lstStyle>
            <a:defPPr>
              <a:defRPr lang="en-US"/>
            </a:defPPr>
            <a:lvl1pPr marL="0" lvl="0" indent="0" defTabSz="895350" eaLnBrk="1" hangingPunct="1">
              <a:buClr>
                <a:srgbClr val="002960"/>
              </a:buClr>
              <a:buSzTx/>
              <a:buFontTx/>
              <a:buNone/>
              <a:defRPr sz="1100"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065" fontAlgn="auto">
              <a:spcBef>
                <a:spcPts val="0"/>
              </a:spcBef>
              <a:spcAft>
                <a:spcPts val="0"/>
              </a:spcAft>
              <a:defRPr/>
            </a:pPr>
            <a:r>
              <a:rPr lang="fr-FR" sz="1078" dirty="0">
                <a:solidFill>
                  <a:srgbClr val="FFFFFF"/>
                </a:solidFill>
                <a:latin typeface="Arial"/>
              </a:rPr>
              <a:t>Analyser la carte de score et proposer des actions</a:t>
            </a:r>
          </a:p>
        </p:txBody>
      </p:sp>
      <p:sp>
        <p:nvSpPr>
          <p:cNvPr id="80" name="Text Placeholder 19">
            <a:extLst>
              <a:ext uri="{FF2B5EF4-FFF2-40B4-BE49-F238E27FC236}">
                <a16:creationId xmlns:a16="http://schemas.microsoft.com/office/drawing/2014/main" id="{2A89984A-45DB-B249-AB69-636B9E119CAC}"/>
              </a:ext>
            </a:extLst>
          </p:cNvPr>
          <p:cNvSpPr>
            <a:spLocks noGrp="1"/>
          </p:cNvSpPr>
          <p:nvPr>
            <p:custDataLst>
              <p:tags r:id="rId51"/>
            </p:custDataLst>
          </p:nvPr>
        </p:nvSpPr>
        <p:spPr bwMode="gray">
          <a:xfrm>
            <a:off x="4943177" y="5258125"/>
            <a:ext cx="1176036" cy="261891"/>
          </a:xfrm>
          <a:prstGeom prst="homePlate">
            <a:avLst>
              <a:gd name="adj" fmla="val 18788"/>
            </a:avLst>
          </a:prstGeom>
          <a:solidFill>
            <a:schemeClr val="accent4">
              <a:lumMod val="60000"/>
              <a:lumOff val="40000"/>
            </a:schemeClr>
          </a:solidFill>
          <a:ln w="9525">
            <a:solidFill>
              <a:srgbClr val="808080"/>
            </a:solidFill>
          </a:ln>
        </p:spPr>
        <p:txBody>
          <a:bodyPr vert="horz" wrap="square" lIns="90473" tIns="46029" rIns="0" bIns="46029"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065">
              <a:buClr>
                <a:srgbClr val="39302A"/>
              </a:buClr>
              <a:defRPr/>
            </a:pPr>
            <a:endParaRPr lang="en-US" sz="1200" dirty="0">
              <a:solidFill>
                <a:prstClr val="white"/>
              </a:solidFill>
              <a:latin typeface="Arial"/>
              <a:cs typeface="Arial" panose="020B0604020202020204" pitchFamily="34" charset="0"/>
              <a:sym typeface="Arial" panose="020B0604020202020204" pitchFamily="34" charset="0"/>
            </a:endParaRPr>
          </a:p>
        </p:txBody>
      </p:sp>
      <p:sp>
        <p:nvSpPr>
          <p:cNvPr id="81" name="Text Placeholder 18">
            <a:extLst>
              <a:ext uri="{FF2B5EF4-FFF2-40B4-BE49-F238E27FC236}">
                <a16:creationId xmlns:a16="http://schemas.microsoft.com/office/drawing/2014/main" id="{D380DFE9-68CD-924E-9A3B-0926E47F7322}"/>
              </a:ext>
            </a:extLst>
          </p:cNvPr>
          <p:cNvSpPr>
            <a:spLocks noGrp="1"/>
          </p:cNvSpPr>
          <p:nvPr>
            <p:custDataLst>
              <p:tags r:id="rId52"/>
            </p:custDataLst>
          </p:nvPr>
        </p:nvSpPr>
        <p:spPr bwMode="gray">
          <a:xfrm>
            <a:off x="3478674" y="5273679"/>
            <a:ext cx="1199937" cy="261891"/>
          </a:xfrm>
          <a:prstGeom prst="homePlate">
            <a:avLst>
              <a:gd name="adj" fmla="val 18788"/>
            </a:avLst>
          </a:prstGeom>
          <a:solidFill>
            <a:schemeClr val="accent4">
              <a:lumMod val="60000"/>
              <a:lumOff val="40000"/>
            </a:schemeClr>
          </a:solidFill>
          <a:ln w="9525">
            <a:solidFill>
              <a:srgbClr val="808080"/>
            </a:solidFill>
          </a:ln>
        </p:spPr>
        <p:txBody>
          <a:bodyPr vert="horz" wrap="square" lIns="90473" tIns="46029" rIns="0" bIns="46029"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065">
              <a:buClr>
                <a:srgbClr val="39302A"/>
              </a:buClr>
              <a:defRPr/>
            </a:pPr>
            <a:endParaRPr lang="en-US" sz="1200" dirty="0">
              <a:solidFill>
                <a:prstClr val="white"/>
              </a:solidFill>
              <a:latin typeface="Arial"/>
              <a:cs typeface="Arial" panose="020B0604020202020204" pitchFamily="34" charset="0"/>
              <a:sym typeface="Arial" panose="020B0604020202020204" pitchFamily="34" charset="0"/>
            </a:endParaRPr>
          </a:p>
        </p:txBody>
      </p:sp>
      <p:sp>
        <p:nvSpPr>
          <p:cNvPr id="82" name="Text Placeholder 20">
            <a:extLst>
              <a:ext uri="{FF2B5EF4-FFF2-40B4-BE49-F238E27FC236}">
                <a16:creationId xmlns:a16="http://schemas.microsoft.com/office/drawing/2014/main" id="{D57376C0-2D7E-5740-B9D6-53B5ECCF50B8}"/>
              </a:ext>
            </a:extLst>
          </p:cNvPr>
          <p:cNvSpPr>
            <a:spLocks noGrp="1"/>
          </p:cNvSpPr>
          <p:nvPr>
            <p:custDataLst>
              <p:tags r:id="rId53"/>
            </p:custDataLst>
          </p:nvPr>
        </p:nvSpPr>
        <p:spPr bwMode="gray">
          <a:xfrm>
            <a:off x="6331010" y="5258125"/>
            <a:ext cx="1044802" cy="257040"/>
          </a:xfrm>
          <a:prstGeom prst="homePlate">
            <a:avLst>
              <a:gd name="adj" fmla="val 18788"/>
            </a:avLst>
          </a:prstGeom>
          <a:solidFill>
            <a:schemeClr val="accent4">
              <a:lumMod val="60000"/>
              <a:lumOff val="40000"/>
            </a:schemeClr>
          </a:solidFill>
          <a:ln w="9525">
            <a:solidFill>
              <a:srgbClr val="808080"/>
            </a:solidFill>
          </a:ln>
        </p:spPr>
        <p:txBody>
          <a:bodyPr vert="horz" wrap="square" lIns="90473" tIns="46029" rIns="0" bIns="46029"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065">
              <a:buClr>
                <a:srgbClr val="39302A"/>
              </a:buClr>
              <a:defRPr/>
            </a:pPr>
            <a:endParaRPr lang="en-US" sz="1200" dirty="0">
              <a:solidFill>
                <a:prstClr val="white"/>
              </a:solidFill>
              <a:latin typeface="Arial"/>
              <a:cs typeface="Arial" panose="020B0604020202020204" pitchFamily="34" charset="0"/>
              <a:sym typeface="Arial" panose="020B0604020202020204" pitchFamily="34" charset="0"/>
            </a:endParaRPr>
          </a:p>
        </p:txBody>
      </p:sp>
      <p:sp>
        <p:nvSpPr>
          <p:cNvPr id="83" name="Text Placeholder 3">
            <a:extLst>
              <a:ext uri="{FF2B5EF4-FFF2-40B4-BE49-F238E27FC236}">
                <a16:creationId xmlns:a16="http://schemas.microsoft.com/office/drawing/2014/main" id="{FCF808F8-2D74-EF4F-A1B0-A351EF669E4D}"/>
              </a:ext>
            </a:extLst>
          </p:cNvPr>
          <p:cNvSpPr>
            <a:spLocks noGrp="1"/>
          </p:cNvSpPr>
          <p:nvPr>
            <p:custDataLst>
              <p:tags r:id="rId54"/>
            </p:custDataLst>
          </p:nvPr>
        </p:nvSpPr>
        <p:spPr bwMode="gray">
          <a:xfrm>
            <a:off x="1934877" y="5275187"/>
            <a:ext cx="1139623" cy="261891"/>
          </a:xfrm>
          <a:prstGeom prst="homePlate">
            <a:avLst>
              <a:gd name="adj" fmla="val 18788"/>
            </a:avLst>
          </a:prstGeom>
          <a:solidFill>
            <a:schemeClr val="accent4">
              <a:lumMod val="60000"/>
              <a:lumOff val="40000"/>
            </a:schemeClr>
          </a:solidFill>
          <a:ln w="9525">
            <a:solidFill>
              <a:srgbClr val="808080"/>
            </a:solidFill>
          </a:ln>
        </p:spPr>
        <p:txBody>
          <a:bodyPr vert="horz" wrap="square" lIns="90473" tIns="46029" rIns="0" bIns="46029"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065">
              <a:buClr>
                <a:srgbClr val="39302A"/>
              </a:buClr>
              <a:defRPr/>
            </a:pPr>
            <a:endParaRPr lang="en-US" sz="1200" b="1" dirty="0">
              <a:solidFill>
                <a:prstClr val="white"/>
              </a:solidFill>
              <a:latin typeface="Arial"/>
              <a:cs typeface="Arial" panose="020B0604020202020204" pitchFamily="34" charset="0"/>
              <a:sym typeface="Arial" panose="020B0604020202020204" pitchFamily="34" charset="0"/>
            </a:endParaRPr>
          </a:p>
        </p:txBody>
      </p:sp>
      <p:sp useBgFill="1">
        <p:nvSpPr>
          <p:cNvPr id="84" name="Text Placeholder 14">
            <a:extLst>
              <a:ext uri="{FF2B5EF4-FFF2-40B4-BE49-F238E27FC236}">
                <a16:creationId xmlns:a16="http://schemas.microsoft.com/office/drawing/2014/main" id="{BBE51E22-3064-E943-BEB7-589BB451C4C0}"/>
              </a:ext>
            </a:extLst>
          </p:cNvPr>
          <p:cNvSpPr>
            <a:spLocks noGrp="1"/>
          </p:cNvSpPr>
          <p:nvPr>
            <p:custDataLst>
              <p:tags r:id="rId55"/>
            </p:custDataLst>
          </p:nvPr>
        </p:nvSpPr>
        <p:spPr bwMode="auto">
          <a:xfrm>
            <a:off x="1437710" y="6030883"/>
            <a:ext cx="1333058" cy="182520"/>
          </a:xfrm>
          <a:prstGeom prst="rect">
            <a:avLst/>
          </a:prstGeom>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77443">
              <a:buClr>
                <a:srgbClr val="39302A"/>
              </a:buClr>
              <a:defRPr/>
            </a:pPr>
            <a:r>
              <a:rPr lang="fr-FR" sz="1200" dirty="0">
                <a:solidFill>
                  <a:prstClr val="black"/>
                </a:solidFill>
                <a:latin typeface="Arial"/>
                <a:sym typeface="Arial" panose="020B0604020202020204" pitchFamily="34" charset="0"/>
              </a:rPr>
              <a:t>Carte de score T4</a:t>
            </a:r>
          </a:p>
        </p:txBody>
      </p:sp>
      <p:sp useBgFill="1">
        <p:nvSpPr>
          <p:cNvPr id="85" name="Text Placeholder 4">
            <a:extLst>
              <a:ext uri="{FF2B5EF4-FFF2-40B4-BE49-F238E27FC236}">
                <a16:creationId xmlns:a16="http://schemas.microsoft.com/office/drawing/2014/main" id="{BFACAAFD-0796-6645-929B-1D567C801EAC}"/>
              </a:ext>
            </a:extLst>
          </p:cNvPr>
          <p:cNvSpPr>
            <a:spLocks noGrp="1"/>
          </p:cNvSpPr>
          <p:nvPr>
            <p:custDataLst>
              <p:tags r:id="rId56"/>
            </p:custDataLst>
          </p:nvPr>
        </p:nvSpPr>
        <p:spPr bwMode="auto">
          <a:xfrm>
            <a:off x="2868542" y="6030881"/>
            <a:ext cx="912599" cy="120252"/>
          </a:xfrm>
          <a:prstGeom prst="rect">
            <a:avLst/>
          </a:prstGeom>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defTabSz="877443">
              <a:buClr>
                <a:srgbClr val="39302A"/>
              </a:buClr>
              <a:defRPr/>
            </a:pPr>
            <a:r>
              <a:rPr lang="fr-FR" sz="1200">
                <a:solidFill>
                  <a:prstClr val="black"/>
                </a:solidFill>
                <a:latin typeface="Arial"/>
                <a:sym typeface="Arial" panose="020B0604020202020204" pitchFamily="34" charset="0"/>
              </a:rPr>
              <a:t>T1</a:t>
            </a:r>
          </a:p>
        </p:txBody>
      </p:sp>
      <p:sp useBgFill="1">
        <p:nvSpPr>
          <p:cNvPr id="86" name="Text Placeholder 11">
            <a:extLst>
              <a:ext uri="{FF2B5EF4-FFF2-40B4-BE49-F238E27FC236}">
                <a16:creationId xmlns:a16="http://schemas.microsoft.com/office/drawing/2014/main" id="{E091D023-2DD0-3B41-8EF5-E31F39097810}"/>
              </a:ext>
            </a:extLst>
          </p:cNvPr>
          <p:cNvSpPr>
            <a:spLocks noGrp="1"/>
          </p:cNvSpPr>
          <p:nvPr>
            <p:custDataLst>
              <p:tags r:id="rId57"/>
            </p:custDataLst>
          </p:nvPr>
        </p:nvSpPr>
        <p:spPr bwMode="auto">
          <a:xfrm>
            <a:off x="4311417" y="6030883"/>
            <a:ext cx="912599" cy="182520"/>
          </a:xfrm>
          <a:prstGeom prst="rect">
            <a:avLst/>
          </a:prstGeom>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77443">
              <a:buClr>
                <a:srgbClr val="39302A"/>
              </a:buClr>
              <a:defRPr/>
            </a:pPr>
            <a:r>
              <a:rPr lang="fr-FR" sz="1200" dirty="0">
                <a:solidFill>
                  <a:prstClr val="black"/>
                </a:solidFill>
                <a:latin typeface="Arial"/>
                <a:cs typeface="Arial" panose="020B0604020202020204" pitchFamily="34" charset="0"/>
                <a:sym typeface="Arial" panose="020B0604020202020204" pitchFamily="34" charset="0"/>
              </a:rPr>
              <a:t>T2</a:t>
            </a:r>
          </a:p>
        </p:txBody>
      </p:sp>
      <p:sp useBgFill="1">
        <p:nvSpPr>
          <p:cNvPr id="87" name="Text Placeholder 12">
            <a:extLst>
              <a:ext uri="{FF2B5EF4-FFF2-40B4-BE49-F238E27FC236}">
                <a16:creationId xmlns:a16="http://schemas.microsoft.com/office/drawing/2014/main" id="{53F5758F-7A8C-6242-8B39-D51F71117004}"/>
              </a:ext>
            </a:extLst>
          </p:cNvPr>
          <p:cNvSpPr>
            <a:spLocks noGrp="1"/>
          </p:cNvSpPr>
          <p:nvPr>
            <p:custDataLst>
              <p:tags r:id="rId58"/>
            </p:custDataLst>
          </p:nvPr>
        </p:nvSpPr>
        <p:spPr bwMode="auto">
          <a:xfrm>
            <a:off x="5714538" y="6030883"/>
            <a:ext cx="912599" cy="182520"/>
          </a:xfrm>
          <a:prstGeom prst="rect">
            <a:avLst/>
          </a:prstGeom>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77443">
              <a:buClr>
                <a:srgbClr val="39302A"/>
              </a:buClr>
              <a:defRPr/>
            </a:pPr>
            <a:r>
              <a:rPr lang="fr-FR" sz="1200" dirty="0">
                <a:solidFill>
                  <a:prstClr val="black"/>
                </a:solidFill>
                <a:latin typeface="Arial"/>
                <a:sym typeface="Arial" panose="020B0604020202020204" pitchFamily="34" charset="0"/>
              </a:rPr>
              <a:t>T3</a:t>
            </a:r>
          </a:p>
        </p:txBody>
      </p:sp>
      <p:sp>
        <p:nvSpPr>
          <p:cNvPr id="88" name="TextBox 5">
            <a:extLst>
              <a:ext uri="{FF2B5EF4-FFF2-40B4-BE49-F238E27FC236}">
                <a16:creationId xmlns:a16="http://schemas.microsoft.com/office/drawing/2014/main" id="{B5BB20FC-8A02-FC4F-A127-78C4D6F6C46D}"/>
              </a:ext>
            </a:extLst>
          </p:cNvPr>
          <p:cNvSpPr txBox="1">
            <a:spLocks/>
          </p:cNvSpPr>
          <p:nvPr>
            <p:custDataLst>
              <p:tags r:id="rId59"/>
            </p:custDataLst>
          </p:nvPr>
        </p:nvSpPr>
        <p:spPr bwMode="gray">
          <a:xfrm>
            <a:off x="7472834" y="4545524"/>
            <a:ext cx="1269853" cy="560550"/>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88" tIns="76188" rIns="76188" bIns="76188" numCol="1" anchor="ctr" anchorCtr="0" compatLnSpc="1">
            <a:prstTxWarp prst="textNoShape">
              <a:avLst/>
            </a:prstTxWarp>
            <a:noAutofit/>
          </a:bodyPr>
          <a:lstStyle>
            <a:defPPr>
              <a:defRPr lang="en-US"/>
            </a:defPPr>
            <a:lvl1pPr marL="0" lvl="0" indent="0" defTabSz="895350" eaLnBrk="1" hangingPunct="1">
              <a:buClr>
                <a:srgbClr val="002960"/>
              </a:buClr>
              <a:buSzTx/>
              <a:buFontTx/>
              <a:buNone/>
              <a:defRPr sz="1100" b="1" baseline="0">
                <a:solidFill>
                  <a:schemeClr val="bg1"/>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77443" fontAlgn="auto">
              <a:spcBef>
                <a:spcPts val="0"/>
              </a:spcBef>
              <a:spcAft>
                <a:spcPts val="0"/>
              </a:spcAft>
              <a:defRPr/>
            </a:pPr>
            <a:r>
              <a:rPr lang="fr-FR" sz="1099" dirty="0">
                <a:solidFill>
                  <a:prstClr val="white"/>
                </a:solidFill>
                <a:latin typeface="Arial"/>
              </a:rPr>
              <a:t>Responsables désignés dans le suivi d’action</a:t>
            </a:r>
          </a:p>
        </p:txBody>
      </p:sp>
      <p:sp>
        <p:nvSpPr>
          <p:cNvPr id="89" name="TextBox 5">
            <a:extLst>
              <a:ext uri="{FF2B5EF4-FFF2-40B4-BE49-F238E27FC236}">
                <a16:creationId xmlns:a16="http://schemas.microsoft.com/office/drawing/2014/main" id="{F2256397-A594-E84C-857A-4FBC0D28301D}"/>
              </a:ext>
            </a:extLst>
          </p:cNvPr>
          <p:cNvSpPr txBox="1">
            <a:spLocks/>
          </p:cNvSpPr>
          <p:nvPr>
            <p:custDataLst>
              <p:tags r:id="rId60"/>
            </p:custDataLst>
          </p:nvPr>
        </p:nvSpPr>
        <p:spPr bwMode="gray">
          <a:xfrm>
            <a:off x="7472834" y="3525360"/>
            <a:ext cx="1269853" cy="943585"/>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88" tIns="76188" rIns="76188" bIns="76188" numCol="1" anchor="ctr" anchorCtr="0" compatLnSpc="1">
            <a:prstTxWarp prst="textNoShape">
              <a:avLst/>
            </a:prstTxWarp>
            <a:noAutofit/>
          </a:bodyPr>
          <a:lstStyle>
            <a:defPPr>
              <a:defRPr lang="en-US"/>
            </a:defPPr>
            <a:lvl1pPr marL="0" lvl="0" indent="0" defTabSz="895350" eaLnBrk="1" hangingPunct="1">
              <a:buClr>
                <a:srgbClr val="002960"/>
              </a:buClr>
              <a:buSzTx/>
              <a:buFontTx/>
              <a:buNone/>
              <a:defRPr sz="1100"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065" fontAlgn="auto">
              <a:spcBef>
                <a:spcPts val="0"/>
              </a:spcBef>
              <a:spcAft>
                <a:spcPts val="0"/>
              </a:spcAft>
              <a:defRPr/>
            </a:pPr>
            <a:r>
              <a:rPr lang="fr-FR" dirty="0">
                <a:solidFill>
                  <a:srgbClr val="FFFFFF"/>
                </a:solidFill>
                <a:latin typeface="Arial"/>
              </a:rPr>
              <a:t>Équipes régionales de gestion sanitaire et autres forums pertinents</a:t>
            </a:r>
          </a:p>
        </p:txBody>
      </p:sp>
      <p:sp>
        <p:nvSpPr>
          <p:cNvPr id="90" name="TextBox 5">
            <a:extLst>
              <a:ext uri="{FF2B5EF4-FFF2-40B4-BE49-F238E27FC236}">
                <a16:creationId xmlns:a16="http://schemas.microsoft.com/office/drawing/2014/main" id="{2BD72250-9270-344D-AA12-A83186B887E6}"/>
              </a:ext>
            </a:extLst>
          </p:cNvPr>
          <p:cNvSpPr txBox="1">
            <a:spLocks/>
          </p:cNvSpPr>
          <p:nvPr>
            <p:custDataLst>
              <p:tags r:id="rId61"/>
            </p:custDataLst>
          </p:nvPr>
        </p:nvSpPr>
        <p:spPr bwMode="gray">
          <a:xfrm>
            <a:off x="7454970" y="1805990"/>
            <a:ext cx="1305581" cy="799427"/>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88" tIns="76188" rIns="76188" bIns="76188" numCol="1" anchor="ctr" anchorCtr="0" compatLnSpc="1">
            <a:prstTxWarp prst="textNoShape">
              <a:avLst/>
            </a:prstTxWarp>
            <a:noAutofit/>
          </a:bodyPr>
          <a:lstStyle>
            <a:defPPr>
              <a:defRPr lang="en-US"/>
            </a:defPPr>
            <a:lvl1pPr marL="0" lvl="0" indent="0" defTabSz="895350" eaLnBrk="1" hangingPunct="1">
              <a:buClr>
                <a:srgbClr val="002960"/>
              </a:buClr>
              <a:buSzTx/>
              <a:buFontTx/>
              <a:buNone/>
              <a:defRPr sz="1100"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065" fontAlgn="auto">
              <a:spcBef>
                <a:spcPts val="0"/>
              </a:spcBef>
              <a:spcAft>
                <a:spcPts val="0"/>
              </a:spcAft>
              <a:defRPr/>
            </a:pPr>
            <a:r>
              <a:rPr lang="fr-FR" dirty="0">
                <a:solidFill>
                  <a:srgbClr val="FFFFFF"/>
                </a:solidFill>
                <a:latin typeface="Arial"/>
              </a:rPr>
              <a:t>Agent S-É et admin carte de score SRMNIA</a:t>
            </a:r>
          </a:p>
        </p:txBody>
      </p:sp>
      <p:sp>
        <p:nvSpPr>
          <p:cNvPr id="91" name="TextBox 5">
            <a:extLst>
              <a:ext uri="{FF2B5EF4-FFF2-40B4-BE49-F238E27FC236}">
                <a16:creationId xmlns:a16="http://schemas.microsoft.com/office/drawing/2014/main" id="{1FF8ADF8-376D-4341-B5D0-BAAAF18EC5EF}"/>
              </a:ext>
            </a:extLst>
          </p:cNvPr>
          <p:cNvSpPr txBox="1">
            <a:spLocks/>
          </p:cNvSpPr>
          <p:nvPr>
            <p:custDataLst>
              <p:tags r:id="rId62"/>
            </p:custDataLst>
          </p:nvPr>
        </p:nvSpPr>
        <p:spPr bwMode="gray">
          <a:xfrm>
            <a:off x="7472834" y="5159840"/>
            <a:ext cx="1269853" cy="941328"/>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88" tIns="76188" rIns="76188" bIns="76188" numCol="1" anchor="ctr" anchorCtr="0" compatLnSpc="1">
            <a:prstTxWarp prst="textNoShape">
              <a:avLst/>
            </a:prstTxWarp>
            <a:noAutofit/>
          </a:bodyPr>
          <a:lstStyle>
            <a:defPPr>
              <a:defRPr lang="en-US"/>
            </a:defPPr>
            <a:lvl1pPr marL="0" lvl="0" indent="0" defTabSz="895350" eaLnBrk="1" hangingPunct="1">
              <a:buClr>
                <a:srgbClr val="002960"/>
              </a:buClr>
              <a:buSzTx/>
              <a:buFontTx/>
              <a:buNone/>
              <a:defRPr sz="1100"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065" fontAlgn="auto">
              <a:spcBef>
                <a:spcPts val="0"/>
              </a:spcBef>
              <a:spcAft>
                <a:spcPts val="0"/>
              </a:spcAft>
              <a:defRPr/>
            </a:pPr>
            <a:r>
              <a:rPr lang="fr-FR" sz="1029" dirty="0">
                <a:solidFill>
                  <a:srgbClr val="FFFFFF"/>
                </a:solidFill>
                <a:latin typeface="Arial"/>
              </a:rPr>
              <a:t>Équipes régionales de gestion sanitaire et gestionnaire du SRMNIA</a:t>
            </a:r>
          </a:p>
        </p:txBody>
      </p:sp>
      <p:sp>
        <p:nvSpPr>
          <p:cNvPr id="92" name="TextBox 5">
            <a:extLst>
              <a:ext uri="{FF2B5EF4-FFF2-40B4-BE49-F238E27FC236}">
                <a16:creationId xmlns:a16="http://schemas.microsoft.com/office/drawing/2014/main" id="{B08C284A-A97B-5946-8978-B9B89B0CAFE7}"/>
              </a:ext>
            </a:extLst>
          </p:cNvPr>
          <p:cNvSpPr txBox="1">
            <a:spLocks/>
          </p:cNvSpPr>
          <p:nvPr>
            <p:custDataLst>
              <p:tags r:id="rId63"/>
            </p:custDataLst>
          </p:nvPr>
        </p:nvSpPr>
        <p:spPr bwMode="gray">
          <a:xfrm>
            <a:off x="7472834" y="2712419"/>
            <a:ext cx="1269853" cy="715343"/>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88" tIns="76188" rIns="76188" bIns="76188" numCol="1" anchor="ctr" anchorCtr="0" compatLnSpc="1">
            <a:prstTxWarp prst="textNoShape">
              <a:avLst/>
            </a:prstTxWarp>
            <a:noAutofit/>
          </a:bodyPr>
          <a:lstStyle>
            <a:defPPr>
              <a:defRPr lang="en-US"/>
            </a:defPPr>
            <a:lvl1pPr marL="0" lvl="0" indent="0" defTabSz="895350" eaLnBrk="1" hangingPunct="1">
              <a:buClr>
                <a:srgbClr val="002960"/>
              </a:buClr>
              <a:buSzTx/>
              <a:buFontTx/>
              <a:buNone/>
              <a:defRPr sz="1100"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065" fontAlgn="auto">
              <a:spcBef>
                <a:spcPts val="0"/>
              </a:spcBef>
              <a:spcAft>
                <a:spcPts val="0"/>
              </a:spcAft>
              <a:defRPr/>
            </a:pPr>
            <a:r>
              <a:rPr lang="fr-FR" sz="1078" dirty="0">
                <a:solidFill>
                  <a:srgbClr val="FFFFFF"/>
                </a:solidFill>
                <a:latin typeface="Arial"/>
              </a:rPr>
              <a:t>Points focaux SRMNIA régionaux avec l’aide de l’OMS</a:t>
            </a:r>
          </a:p>
        </p:txBody>
      </p:sp>
      <p:sp>
        <p:nvSpPr>
          <p:cNvPr id="2" name="Rectangle 1">
            <a:extLst>
              <a:ext uri="{FF2B5EF4-FFF2-40B4-BE49-F238E27FC236}">
                <a16:creationId xmlns:a16="http://schemas.microsoft.com/office/drawing/2014/main" id="{D70449B7-62D7-1C4A-888C-AA9B90AA5066}"/>
              </a:ext>
            </a:extLst>
          </p:cNvPr>
          <p:cNvSpPr/>
          <p:nvPr/>
        </p:nvSpPr>
        <p:spPr>
          <a:xfrm>
            <a:off x="2116274" y="6151397"/>
            <a:ext cx="7108588" cy="271469"/>
          </a:xfrm>
          <a:prstGeom prst="rect">
            <a:avLst/>
          </a:prstGeom>
        </p:spPr>
        <p:txBody>
          <a:bodyPr wrap="square">
            <a:spAutoFit/>
          </a:bodyPr>
          <a:lstStyle/>
          <a:p>
            <a:r>
              <a:rPr lang="fr-FR" sz="1176" dirty="0"/>
              <a:t>*La carte de score est produite </a:t>
            </a:r>
            <a:r>
              <a:rPr lang="fr-FR" sz="1176" u="sng" dirty="0"/>
              <a:t>21 jours après la clôture de chaque trimestre</a:t>
            </a:r>
            <a:r>
              <a:rPr lang="fr-FR" sz="1176" dirty="0"/>
              <a:t>.</a:t>
            </a:r>
          </a:p>
        </p:txBody>
      </p:sp>
    </p:spTree>
    <p:extLst>
      <p:ext uri="{BB962C8B-B14F-4D97-AF65-F5344CB8AC3E}">
        <p14:creationId xmlns:p14="http://schemas.microsoft.com/office/powerpoint/2010/main" val="92588783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98161" y="4243090"/>
            <a:ext cx="6858728" cy="2412840"/>
          </a:xfrm>
        </p:spPr>
        <p:txBody>
          <a:bodyPr/>
          <a:lstStyle/>
          <a:p>
            <a:pPr algn="ctr"/>
            <a:r>
              <a:rPr lang="fr-FR" sz="3136" dirty="0">
                <a:solidFill>
                  <a:schemeClr val="tx1"/>
                </a:solidFill>
              </a:rPr>
              <a:t>Formation plateforme web </a:t>
            </a:r>
            <a:br>
              <a:rPr lang="fr-FR" sz="3136" dirty="0">
                <a:solidFill>
                  <a:schemeClr val="tx1"/>
                </a:solidFill>
              </a:rPr>
            </a:br>
            <a:r>
              <a:rPr lang="fr-FR" sz="3136" dirty="0">
                <a:solidFill>
                  <a:schemeClr val="tx1"/>
                </a:solidFill>
              </a:rPr>
              <a:t>carte de score</a:t>
            </a:r>
            <a:br>
              <a:rPr lang="fr-FR" sz="3136" dirty="0">
                <a:solidFill>
                  <a:schemeClr val="tx1"/>
                </a:solidFill>
              </a:rPr>
            </a:br>
            <a:br>
              <a:rPr lang="fr-FR" sz="3136" dirty="0">
                <a:solidFill>
                  <a:schemeClr val="tx1"/>
                </a:solidFill>
              </a:rPr>
            </a:br>
            <a:br>
              <a:rPr lang="fr-FR" sz="3136" dirty="0">
                <a:solidFill>
                  <a:schemeClr val="tx1"/>
                </a:solidFill>
              </a:rPr>
            </a:br>
            <a:endParaRPr lang="en-US" sz="3136" dirty="0">
              <a:solidFill>
                <a:schemeClr val="tx1"/>
              </a:solidFill>
            </a:endParaRPr>
          </a:p>
        </p:txBody>
      </p:sp>
      <p:sp>
        <p:nvSpPr>
          <p:cNvPr id="3" name="Subtitle 2"/>
          <p:cNvSpPr>
            <a:spLocks noGrp="1"/>
          </p:cNvSpPr>
          <p:nvPr>
            <p:ph type="subTitle" idx="1"/>
          </p:nvPr>
        </p:nvSpPr>
        <p:spPr>
          <a:xfrm>
            <a:off x="3671795" y="5378100"/>
            <a:ext cx="2355102" cy="338554"/>
          </a:xfrm>
        </p:spPr>
        <p:txBody>
          <a:bodyPr/>
          <a:lstStyle/>
          <a:p>
            <a:r>
              <a:rPr lang="en-US" dirty="0" err="1"/>
              <a:t>Juin</a:t>
            </a:r>
            <a:r>
              <a:rPr lang="en-US" dirty="0"/>
              <a:t> 2021</a:t>
            </a: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7" name="Picture 6">
            <a:extLst>
              <a:ext uri="{FF2B5EF4-FFF2-40B4-BE49-F238E27FC236}">
                <a16:creationId xmlns:a16="http://schemas.microsoft.com/office/drawing/2014/main" id="{89C9AF53-AE28-4582-AFA5-E60F720D12AA}"/>
              </a:ext>
            </a:extLst>
          </p:cNvPr>
          <p:cNvPicPr>
            <a:picLocks noChangeAspect="1"/>
          </p:cNvPicPr>
          <p:nvPr/>
        </p:nvPicPr>
        <p:blipFill>
          <a:blip r:embed="rId3"/>
          <a:stretch>
            <a:fillRect/>
          </a:stretch>
        </p:blipFill>
        <p:spPr>
          <a:xfrm>
            <a:off x="2821682" y="842043"/>
            <a:ext cx="3011685" cy="3036071"/>
          </a:xfrm>
          <a:prstGeom prst="rect">
            <a:avLst/>
          </a:prstGeom>
        </p:spPr>
      </p:pic>
    </p:spTree>
    <p:extLst>
      <p:ext uri="{BB962C8B-B14F-4D97-AF65-F5344CB8AC3E}">
        <p14:creationId xmlns:p14="http://schemas.microsoft.com/office/powerpoint/2010/main" val="16649043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8E133A-45A4-4C59-AC87-49E1CFC9008D}"/>
              </a:ext>
            </a:extLst>
          </p:cNvPr>
          <p:cNvSpPr>
            <a:spLocks noGrp="1"/>
          </p:cNvSpPr>
          <p:nvPr>
            <p:ph type="title"/>
          </p:nvPr>
        </p:nvSpPr>
        <p:spPr>
          <a:xfrm>
            <a:off x="602388" y="376382"/>
            <a:ext cx="6654067" cy="292388"/>
          </a:xfrm>
        </p:spPr>
        <p:txBody>
          <a:bodyPr/>
          <a:lstStyle/>
          <a:p>
            <a:r>
              <a:rPr lang="fr-FR" dirty="0"/>
              <a:t>Liste de contrôle pour le matériel de formation</a:t>
            </a:r>
            <a:endParaRPr lang="en-US" dirty="0"/>
          </a:p>
        </p:txBody>
      </p:sp>
      <p:sp>
        <p:nvSpPr>
          <p:cNvPr id="4" name="TextBox 3">
            <a:extLst>
              <a:ext uri="{FF2B5EF4-FFF2-40B4-BE49-F238E27FC236}">
                <a16:creationId xmlns:a16="http://schemas.microsoft.com/office/drawing/2014/main" id="{3748CDE1-F848-4FC9-9EED-65FEDA0A0D29}"/>
              </a:ext>
            </a:extLst>
          </p:cNvPr>
          <p:cNvSpPr txBox="1"/>
          <p:nvPr/>
        </p:nvSpPr>
        <p:spPr>
          <a:xfrm>
            <a:off x="535578" y="924805"/>
            <a:ext cx="7805057" cy="5324535"/>
          </a:xfrm>
          <a:prstGeom prst="rect">
            <a:avLst/>
          </a:prstGeom>
          <a:noFill/>
        </p:spPr>
        <p:txBody>
          <a:bodyPr wrap="square">
            <a:spAutoFit/>
          </a:bodyPr>
          <a:lstStyle/>
          <a:p>
            <a:pPr marL="285750" indent="-285750">
              <a:spcBef>
                <a:spcPts val="600"/>
              </a:spcBef>
              <a:spcAft>
                <a:spcPts val="600"/>
              </a:spcAft>
              <a:buFont typeface="Wingdings" panose="05000000000000000000" pitchFamily="2" charset="2"/>
              <a:buChar char="q"/>
            </a:pPr>
            <a:r>
              <a:rPr lang="fr-FR" sz="2000" dirty="0"/>
              <a:t>Présentation PowerPoint avec les fichiers </a:t>
            </a:r>
            <a:r>
              <a:rPr lang="fr-FR" sz="2000" dirty="0">
                <a:solidFill>
                  <a:srgbClr val="0070C0"/>
                </a:solidFill>
                <a:hlinkClick r:id="rId2">
                  <a:extLst>
                    <a:ext uri="{A12FA001-AC4F-418D-AE19-62706E023703}">
                      <ahyp:hlinkClr xmlns:ahyp="http://schemas.microsoft.com/office/drawing/2018/hyperlinkcolor" val="tx"/>
                    </a:ext>
                  </a:extLst>
                </a:hlinkClick>
              </a:rPr>
              <a:t>vidéo</a:t>
            </a:r>
            <a:r>
              <a:rPr lang="fr-FR" sz="2000" dirty="0"/>
              <a:t> insérés</a:t>
            </a:r>
          </a:p>
          <a:p>
            <a:pPr marL="285750" indent="-285750">
              <a:spcBef>
                <a:spcPts val="600"/>
              </a:spcBef>
              <a:spcAft>
                <a:spcPts val="600"/>
              </a:spcAft>
              <a:buFont typeface="Wingdings" panose="05000000000000000000" pitchFamily="2" charset="2"/>
              <a:buChar char="q"/>
            </a:pPr>
            <a:r>
              <a:rPr lang="fr-FR" sz="2000" dirty="0"/>
              <a:t>Ordre du jour de l'atelier</a:t>
            </a:r>
          </a:p>
          <a:p>
            <a:pPr marL="285750" indent="-285750">
              <a:spcBef>
                <a:spcPts val="600"/>
              </a:spcBef>
              <a:spcAft>
                <a:spcPts val="600"/>
              </a:spcAft>
              <a:buFont typeface="Wingdings" panose="05000000000000000000" pitchFamily="2" charset="2"/>
              <a:buChar char="q"/>
            </a:pPr>
            <a:r>
              <a:rPr lang="fr-FR" sz="2000" dirty="0">
                <a:solidFill>
                  <a:srgbClr val="0070C0"/>
                </a:solidFill>
                <a:hlinkClick r:id="rId3">
                  <a:extLst>
                    <a:ext uri="{A12FA001-AC4F-418D-AE19-62706E023703}">
                      <ahyp:hlinkClr xmlns:ahyp="http://schemas.microsoft.com/office/drawing/2018/hyperlinkcolor" val="tx"/>
                    </a:ext>
                  </a:extLst>
                </a:hlinkClick>
              </a:rPr>
              <a:t>Modèle Excel </a:t>
            </a:r>
            <a:r>
              <a:rPr lang="fr-FR" sz="2000" dirty="0"/>
              <a:t>pour ajouter des comptes de plate-forme Web</a:t>
            </a:r>
          </a:p>
          <a:p>
            <a:pPr marL="285750" indent="-285750">
              <a:spcBef>
                <a:spcPts val="600"/>
              </a:spcBef>
              <a:spcAft>
                <a:spcPts val="600"/>
              </a:spcAft>
              <a:buFont typeface="Wingdings" panose="05000000000000000000" pitchFamily="2" charset="2"/>
              <a:buChar char="q"/>
            </a:pPr>
            <a:r>
              <a:rPr lang="fr-FR" sz="2000" dirty="0"/>
              <a:t>Liste de </a:t>
            </a:r>
            <a:r>
              <a:rPr lang="fr-FR" sz="2000" dirty="0">
                <a:solidFill>
                  <a:srgbClr val="0070C0"/>
                </a:solidFill>
                <a:hlinkClick r:id="rId4">
                  <a:extLst>
                    <a:ext uri="{A12FA001-AC4F-418D-AE19-62706E023703}">
                      <ahyp:hlinkClr xmlns:ahyp="http://schemas.microsoft.com/office/drawing/2018/hyperlinkcolor" val="tx"/>
                    </a:ext>
                  </a:extLst>
                </a:hlinkClick>
              </a:rPr>
              <a:t>présence</a:t>
            </a:r>
            <a:endParaRPr lang="fr-FR" sz="2000" dirty="0">
              <a:solidFill>
                <a:srgbClr val="0070C0"/>
              </a:solidFill>
            </a:endParaRPr>
          </a:p>
          <a:p>
            <a:pPr marL="285750" indent="-285750">
              <a:spcBef>
                <a:spcPts val="600"/>
              </a:spcBef>
              <a:spcAft>
                <a:spcPts val="600"/>
              </a:spcAft>
              <a:buFont typeface="Wingdings" panose="05000000000000000000" pitchFamily="2" charset="2"/>
              <a:buChar char="q"/>
            </a:pPr>
            <a:r>
              <a:rPr lang="fr-FR" sz="2000" dirty="0"/>
              <a:t>Projecteur</a:t>
            </a:r>
          </a:p>
          <a:p>
            <a:pPr marL="285750" indent="-285750">
              <a:spcBef>
                <a:spcPts val="600"/>
              </a:spcBef>
              <a:spcAft>
                <a:spcPts val="600"/>
              </a:spcAft>
              <a:buFont typeface="Wingdings" panose="05000000000000000000" pitchFamily="2" charset="2"/>
              <a:buChar char="q"/>
            </a:pPr>
            <a:r>
              <a:rPr lang="fr-FR" sz="2000" dirty="0"/>
              <a:t>Haut-parleurs d'ordinateur portable (ceci est nécessaire pour les vidéos)</a:t>
            </a:r>
          </a:p>
          <a:p>
            <a:pPr marL="285750" indent="-285750">
              <a:spcBef>
                <a:spcPts val="600"/>
              </a:spcBef>
              <a:spcAft>
                <a:spcPts val="600"/>
              </a:spcAft>
              <a:buFont typeface="Wingdings" panose="05000000000000000000" pitchFamily="2" charset="2"/>
              <a:buChar char="q"/>
            </a:pPr>
            <a:r>
              <a:rPr lang="fr-FR" sz="2000" dirty="0"/>
              <a:t>Connexion Wifi pour tous les participants</a:t>
            </a:r>
          </a:p>
          <a:p>
            <a:pPr marL="285750" indent="-285750">
              <a:spcBef>
                <a:spcPts val="600"/>
              </a:spcBef>
              <a:spcAft>
                <a:spcPts val="600"/>
              </a:spcAft>
              <a:buFont typeface="Wingdings" panose="05000000000000000000" pitchFamily="2" charset="2"/>
              <a:buChar char="q"/>
            </a:pPr>
            <a:r>
              <a:rPr lang="fr-FR" sz="2000" dirty="0"/>
              <a:t>Les participants doivent avoir leurs propres ordinateurs portables si possible</a:t>
            </a:r>
          </a:p>
          <a:p>
            <a:pPr marL="285750" indent="-285750">
              <a:spcBef>
                <a:spcPts val="600"/>
              </a:spcBef>
              <a:spcAft>
                <a:spcPts val="600"/>
              </a:spcAft>
              <a:buFont typeface="Wingdings" panose="05000000000000000000" pitchFamily="2" charset="2"/>
              <a:buChar char="q"/>
            </a:pPr>
            <a:r>
              <a:rPr lang="fr-FR" sz="2000" dirty="0"/>
              <a:t>Si un support virtuel est requis, connectez-vous à la ligne de zoom. Contactez ALMA (</a:t>
            </a:r>
            <a:r>
              <a:rPr lang="fr-FR" sz="2000" dirty="0">
                <a:solidFill>
                  <a:srgbClr val="0070C0"/>
                </a:solidFill>
                <a:hlinkClick r:id="rId5">
                  <a:extLst>
                    <a:ext uri="{A12FA001-AC4F-418D-AE19-62706E023703}">
                      <ahyp:hlinkClr xmlns:ahyp="http://schemas.microsoft.com/office/drawing/2018/hyperlinkcolor" val="tx"/>
                    </a:ext>
                  </a:extLst>
                </a:hlinkClick>
              </a:rPr>
              <a:t>dduque@alma2030.org</a:t>
            </a:r>
            <a:r>
              <a:rPr lang="fr-FR" sz="2000" dirty="0"/>
              <a:t>) pour une ligne de zoom si besoin.</a:t>
            </a:r>
          </a:p>
        </p:txBody>
      </p:sp>
    </p:spTree>
    <p:extLst>
      <p:ext uri="{BB962C8B-B14F-4D97-AF65-F5344CB8AC3E}">
        <p14:creationId xmlns:p14="http://schemas.microsoft.com/office/powerpoint/2010/main" val="9381476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FADEA46-2FC6-497E-AD8A-76CC23CFBB75}"/>
              </a:ext>
            </a:extLst>
          </p:cNvPr>
          <p:cNvPicPr>
            <a:picLocks noChangeAspect="1"/>
          </p:cNvPicPr>
          <p:nvPr/>
        </p:nvPicPr>
        <p:blipFill>
          <a:blip r:embed="rId2"/>
          <a:stretch>
            <a:fillRect/>
          </a:stretch>
        </p:blipFill>
        <p:spPr>
          <a:xfrm>
            <a:off x="0" y="2346859"/>
            <a:ext cx="8961438" cy="3188503"/>
          </a:xfrm>
          <a:prstGeom prst="rect">
            <a:avLst/>
          </a:prstGeom>
        </p:spPr>
      </p:pic>
      <p:sp>
        <p:nvSpPr>
          <p:cNvPr id="2" name="Title 1">
            <a:extLst>
              <a:ext uri="{FF2B5EF4-FFF2-40B4-BE49-F238E27FC236}">
                <a16:creationId xmlns:a16="http://schemas.microsoft.com/office/drawing/2014/main" id="{498804B6-DC7D-42C7-A069-4C9C6FD31E4B}"/>
              </a:ext>
            </a:extLst>
          </p:cNvPr>
          <p:cNvSpPr>
            <a:spLocks noGrp="1"/>
          </p:cNvSpPr>
          <p:nvPr>
            <p:ph type="title"/>
          </p:nvPr>
        </p:nvSpPr>
        <p:spPr>
          <a:xfrm>
            <a:off x="549873" y="400067"/>
            <a:ext cx="6654067" cy="292388"/>
          </a:xfrm>
        </p:spPr>
        <p:txBody>
          <a:bodyPr/>
          <a:lstStyle/>
          <a:p>
            <a:r>
              <a:rPr lang="fr-FR" dirty="0"/>
              <a:t>Activez votre compte depuis votre email</a:t>
            </a:r>
            <a:endParaRPr lang="en-US" dirty="0"/>
          </a:p>
        </p:txBody>
      </p:sp>
      <p:sp>
        <p:nvSpPr>
          <p:cNvPr id="3" name="TextBox 2">
            <a:extLst>
              <a:ext uri="{FF2B5EF4-FFF2-40B4-BE49-F238E27FC236}">
                <a16:creationId xmlns:a16="http://schemas.microsoft.com/office/drawing/2014/main" id="{F18CB37C-13E3-4BD6-8983-15FD52F9A8E1}"/>
              </a:ext>
            </a:extLst>
          </p:cNvPr>
          <p:cNvSpPr txBox="1"/>
          <p:nvPr/>
        </p:nvSpPr>
        <p:spPr>
          <a:xfrm>
            <a:off x="0" y="819201"/>
            <a:ext cx="8961438" cy="1569660"/>
          </a:xfrm>
          <a:prstGeom prst="rect">
            <a:avLst/>
          </a:prstGeom>
          <a:solidFill>
            <a:srgbClr val="FFC000"/>
          </a:solidFill>
        </p:spPr>
        <p:txBody>
          <a:bodyPr wrap="square" rtlCol="0">
            <a:spAutoFit/>
          </a:bodyPr>
          <a:lstStyle/>
          <a:p>
            <a:pPr marL="342900" indent="-342900">
              <a:buFont typeface="+mj-lt"/>
              <a:buAutoNum type="arabicPeriod"/>
            </a:pPr>
            <a:r>
              <a:rPr lang="fr-FR" dirty="0"/>
              <a:t>Accédez à votre boîte de réception et recherchez un e-mail avec le sujet « </a:t>
            </a:r>
            <a:r>
              <a:rPr lang="en-US" b="1" i="0" dirty="0">
                <a:solidFill>
                  <a:srgbClr val="333333"/>
                </a:solidFill>
                <a:effectLst/>
                <a:latin typeface="Lucida Grande"/>
              </a:rPr>
              <a:t> </a:t>
            </a:r>
            <a:r>
              <a:rPr lang="en-US" b="1" i="0" dirty="0" err="1">
                <a:solidFill>
                  <a:srgbClr val="333333"/>
                </a:solidFill>
                <a:effectLst/>
                <a:latin typeface="Lucida Grande"/>
              </a:rPr>
              <a:t>Compte</a:t>
            </a:r>
            <a:r>
              <a:rPr lang="en-US" b="1" i="0" dirty="0">
                <a:solidFill>
                  <a:srgbClr val="333333"/>
                </a:solidFill>
                <a:effectLst/>
                <a:latin typeface="Lucida Grande"/>
              </a:rPr>
              <a:t> </a:t>
            </a:r>
            <a:r>
              <a:rPr lang="en-US" b="1" i="0" dirty="0" err="1">
                <a:solidFill>
                  <a:srgbClr val="333333"/>
                </a:solidFill>
                <a:effectLst/>
                <a:latin typeface="Lucida Grande"/>
              </a:rPr>
              <a:t>utilisateur</a:t>
            </a:r>
            <a:r>
              <a:rPr lang="en-US" b="1" i="0" dirty="0">
                <a:solidFill>
                  <a:srgbClr val="333333"/>
                </a:solidFill>
                <a:effectLst/>
                <a:latin typeface="Lucida Grande"/>
              </a:rPr>
              <a:t> </a:t>
            </a:r>
            <a:r>
              <a:rPr lang="en-US" b="1" i="0" dirty="0" err="1">
                <a:solidFill>
                  <a:srgbClr val="333333"/>
                </a:solidFill>
                <a:effectLst/>
                <a:latin typeface="Lucida Grande"/>
              </a:rPr>
              <a:t>créé</a:t>
            </a:r>
            <a:r>
              <a:rPr lang="en-US" b="1" dirty="0">
                <a:solidFill>
                  <a:srgbClr val="333333"/>
                </a:solidFill>
                <a:latin typeface="Lucida Grande"/>
              </a:rPr>
              <a:t> </a:t>
            </a:r>
            <a:r>
              <a:rPr lang="fr-FR" dirty="0"/>
              <a:t>» à partir de </a:t>
            </a:r>
            <a:r>
              <a:rPr lang="fr-FR" dirty="0">
                <a:solidFill>
                  <a:schemeClr val="tx2"/>
                </a:solidFill>
                <a:hlinkClick r:id="rId3">
                  <a:extLst>
                    <a:ext uri="{A12FA001-AC4F-418D-AE19-62706E023703}">
                      <ahyp:hlinkClr xmlns:ahyp="http://schemas.microsoft.com/office/drawing/2018/hyperlinkcolor" val="tx"/>
                    </a:ext>
                  </a:extLst>
                </a:hlinkClick>
              </a:rPr>
              <a:t>account@rmnch.org</a:t>
            </a:r>
            <a:endParaRPr lang="fr-FR" dirty="0">
              <a:solidFill>
                <a:schemeClr val="tx2"/>
              </a:solidFill>
            </a:endParaRPr>
          </a:p>
          <a:p>
            <a:pPr marL="342900" indent="-342900">
              <a:buFont typeface="+mj-lt"/>
              <a:buAutoNum type="arabicPeriod"/>
            </a:pPr>
            <a:r>
              <a:rPr lang="fr-FR" dirty="0"/>
              <a:t>Si vous ne trouvez pas l'email, vérifiez votre boîte de réception de spam</a:t>
            </a:r>
          </a:p>
          <a:p>
            <a:pPr marL="342900" indent="-342900">
              <a:buFont typeface="+mj-lt"/>
              <a:buAutoNum type="arabicPeriod"/>
            </a:pPr>
            <a:r>
              <a:rPr lang="fr-FR" dirty="0"/>
              <a:t>Cliquez sur le lien où il est écrit « Cliquer </a:t>
            </a:r>
            <a:r>
              <a:rPr lang="fr-FR" u="sng" dirty="0">
                <a:solidFill>
                  <a:schemeClr val="accent5">
                    <a:lumMod val="50000"/>
                    <a:lumOff val="50000"/>
                  </a:schemeClr>
                </a:solidFill>
              </a:rPr>
              <a:t>ici</a:t>
            </a:r>
            <a:r>
              <a:rPr lang="fr-FR" dirty="0"/>
              <a:t> pour activer votre compte »</a:t>
            </a:r>
          </a:p>
          <a:p>
            <a:pPr marL="342900" indent="-342900">
              <a:buFont typeface="+mj-lt"/>
              <a:buAutoNum type="arabicPeriod"/>
            </a:pPr>
            <a:r>
              <a:rPr lang="fr-FR" dirty="0"/>
              <a:t>Écrivez le mot de passe que vous souhaitez utiliser deux fois. Le même mot de passe ci-dessus et ci-dessous.</a:t>
            </a:r>
            <a:endParaRPr lang="en-US" dirty="0"/>
          </a:p>
        </p:txBody>
      </p:sp>
      <p:sp>
        <p:nvSpPr>
          <p:cNvPr id="6" name="Oval 5">
            <a:extLst>
              <a:ext uri="{FF2B5EF4-FFF2-40B4-BE49-F238E27FC236}">
                <a16:creationId xmlns:a16="http://schemas.microsoft.com/office/drawing/2014/main" id="{79DE2905-E51D-4DE2-8196-99A6647DCB4E}"/>
              </a:ext>
            </a:extLst>
          </p:cNvPr>
          <p:cNvSpPr/>
          <p:nvPr/>
        </p:nvSpPr>
        <p:spPr>
          <a:xfrm>
            <a:off x="530224" y="4702407"/>
            <a:ext cx="478583" cy="356996"/>
          </a:xfrm>
          <a:prstGeom prst="ellipse">
            <a:avLst/>
          </a:prstGeom>
          <a:noFill/>
          <a:ln w="76200">
            <a:solidFill>
              <a:srgbClr val="5400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pic>
        <p:nvPicPr>
          <p:cNvPr id="8" name="Picture 7">
            <a:extLst>
              <a:ext uri="{FF2B5EF4-FFF2-40B4-BE49-F238E27FC236}">
                <a16:creationId xmlns:a16="http://schemas.microsoft.com/office/drawing/2014/main" id="{A84A5C4B-08B2-4D5A-BE66-82E0567D4497}"/>
              </a:ext>
            </a:extLst>
          </p:cNvPr>
          <p:cNvPicPr>
            <a:picLocks noChangeAspect="1"/>
          </p:cNvPicPr>
          <p:nvPr/>
        </p:nvPicPr>
        <p:blipFill>
          <a:blip r:embed="rId4"/>
          <a:stretch>
            <a:fillRect/>
          </a:stretch>
        </p:blipFill>
        <p:spPr>
          <a:xfrm>
            <a:off x="6094859" y="4387583"/>
            <a:ext cx="2721054" cy="1773543"/>
          </a:xfrm>
          <a:prstGeom prst="rect">
            <a:avLst/>
          </a:prstGeom>
        </p:spPr>
      </p:pic>
      <p:cxnSp>
        <p:nvCxnSpPr>
          <p:cNvPr id="10" name="Straight Arrow Connector 9">
            <a:extLst>
              <a:ext uri="{FF2B5EF4-FFF2-40B4-BE49-F238E27FC236}">
                <a16:creationId xmlns:a16="http://schemas.microsoft.com/office/drawing/2014/main" id="{B3D674BB-BC5C-4C3C-B2C3-6F0B6828A938}"/>
              </a:ext>
            </a:extLst>
          </p:cNvPr>
          <p:cNvCxnSpPr>
            <a:cxnSpLocks/>
          </p:cNvCxnSpPr>
          <p:nvPr/>
        </p:nvCxnSpPr>
        <p:spPr>
          <a:xfrm flipH="1">
            <a:off x="1038796" y="1872407"/>
            <a:ext cx="3155931" cy="3008498"/>
          </a:xfrm>
          <a:prstGeom prst="straightConnector1">
            <a:avLst/>
          </a:prstGeom>
          <a:ln w="57150">
            <a:tailEnd type="triangle"/>
          </a:ln>
        </p:spPr>
        <p:style>
          <a:lnRef idx="1">
            <a:schemeClr val="dk1"/>
          </a:lnRef>
          <a:fillRef idx="0">
            <a:schemeClr val="dk1"/>
          </a:fillRef>
          <a:effectRef idx="0">
            <a:schemeClr val="dk1"/>
          </a:effectRef>
          <a:fontRef idx="minor">
            <a:schemeClr val="tx1"/>
          </a:fontRef>
        </p:style>
      </p:cxnSp>
      <p:cxnSp>
        <p:nvCxnSpPr>
          <p:cNvPr id="12" name="Straight Arrow Connector 11">
            <a:extLst>
              <a:ext uri="{FF2B5EF4-FFF2-40B4-BE49-F238E27FC236}">
                <a16:creationId xmlns:a16="http://schemas.microsoft.com/office/drawing/2014/main" id="{4C3B0234-BE47-44AB-AA06-67D14CDCB714}"/>
              </a:ext>
            </a:extLst>
          </p:cNvPr>
          <p:cNvCxnSpPr>
            <a:cxnSpLocks/>
          </p:cNvCxnSpPr>
          <p:nvPr/>
        </p:nvCxnSpPr>
        <p:spPr>
          <a:xfrm flipH="1">
            <a:off x="1038797" y="4121332"/>
            <a:ext cx="2566552" cy="393624"/>
          </a:xfrm>
          <a:prstGeom prst="straightConnector1">
            <a:avLst/>
          </a:prstGeom>
          <a:ln w="57150">
            <a:tailEnd type="triangle"/>
          </a:ln>
        </p:spPr>
        <p:style>
          <a:lnRef idx="1">
            <a:schemeClr val="dk1"/>
          </a:lnRef>
          <a:fillRef idx="0">
            <a:schemeClr val="dk1"/>
          </a:fillRef>
          <a:effectRef idx="0">
            <a:schemeClr val="dk1"/>
          </a:effectRef>
          <a:fontRef idx="minor">
            <a:schemeClr val="tx1"/>
          </a:fontRef>
        </p:style>
      </p:cxnSp>
      <p:sp>
        <p:nvSpPr>
          <p:cNvPr id="15" name="Title 1">
            <a:extLst>
              <a:ext uri="{FF2B5EF4-FFF2-40B4-BE49-F238E27FC236}">
                <a16:creationId xmlns:a16="http://schemas.microsoft.com/office/drawing/2014/main" id="{94E39FE4-36A8-4200-ABBF-F3B7FDCB16DA}"/>
              </a:ext>
            </a:extLst>
          </p:cNvPr>
          <p:cNvSpPr txBox="1">
            <a:spLocks/>
          </p:cNvSpPr>
          <p:nvPr/>
        </p:nvSpPr>
        <p:spPr bwMode="auto">
          <a:xfrm>
            <a:off x="3773272" y="3975138"/>
            <a:ext cx="4273448"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fr-FR" kern="0" dirty="0"/>
              <a:t>Nom d’utilisateur</a:t>
            </a:r>
            <a:endParaRPr lang="en-US" kern="0" dirty="0"/>
          </a:p>
        </p:txBody>
      </p:sp>
    </p:spTree>
    <p:extLst>
      <p:ext uri="{BB962C8B-B14F-4D97-AF65-F5344CB8AC3E}">
        <p14:creationId xmlns:p14="http://schemas.microsoft.com/office/powerpoint/2010/main" val="70048874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C8FAFE-3350-4457-B651-A5DDD0B5FEC3}"/>
              </a:ext>
            </a:extLst>
          </p:cNvPr>
          <p:cNvSpPr>
            <a:spLocks noGrp="1"/>
          </p:cNvSpPr>
          <p:nvPr>
            <p:ph type="title"/>
          </p:nvPr>
        </p:nvSpPr>
        <p:spPr>
          <a:xfrm>
            <a:off x="726616" y="156735"/>
            <a:ext cx="7386382" cy="430887"/>
          </a:xfrm>
        </p:spPr>
        <p:txBody>
          <a:bodyPr/>
          <a:lstStyle/>
          <a:p>
            <a:pPr algn="ctr"/>
            <a:r>
              <a:rPr lang="fr-FR" sz="2800" dirty="0"/>
              <a:t>Comment se connecter a la carte de score </a:t>
            </a:r>
          </a:p>
        </p:txBody>
      </p:sp>
      <p:sp>
        <p:nvSpPr>
          <p:cNvPr id="3" name="Title 1">
            <a:extLst>
              <a:ext uri="{FF2B5EF4-FFF2-40B4-BE49-F238E27FC236}">
                <a16:creationId xmlns:a16="http://schemas.microsoft.com/office/drawing/2014/main" id="{C630C459-A166-4B9B-9FC4-803E708B127B}"/>
              </a:ext>
            </a:extLst>
          </p:cNvPr>
          <p:cNvSpPr txBox="1">
            <a:spLocks/>
          </p:cNvSpPr>
          <p:nvPr/>
        </p:nvSpPr>
        <p:spPr bwMode="auto">
          <a:xfrm>
            <a:off x="429485" y="795773"/>
            <a:ext cx="8186196" cy="21544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ctr"/>
            <a:r>
              <a:rPr lang="en-US" sz="2000" kern="0" dirty="0">
                <a:solidFill>
                  <a:schemeClr val="tx1"/>
                </a:solidFill>
                <a:hlinkClick r:id="rId3">
                  <a:extLst>
                    <a:ext uri="{A12FA001-AC4F-418D-AE19-62706E023703}">
                      <ahyp:hlinkClr xmlns:ahyp="http://schemas.microsoft.com/office/drawing/2018/hyperlinkcolor" val="tx"/>
                    </a:ext>
                  </a:extLst>
                </a:hlinkClick>
              </a:rPr>
              <a:t>www.rmncah.org</a:t>
            </a:r>
            <a:endParaRPr lang="en-US" sz="2000" kern="0" dirty="0">
              <a:solidFill>
                <a:schemeClr val="tx1"/>
              </a:solidFill>
            </a:endParaRPr>
          </a:p>
          <a:p>
            <a:pPr algn="ctr"/>
            <a:endParaRPr lang="en-US" sz="2000" kern="0" dirty="0">
              <a:solidFill>
                <a:schemeClr val="tx1"/>
              </a:solidFill>
            </a:endParaRPr>
          </a:p>
          <a:p>
            <a:pPr algn="ctr"/>
            <a:r>
              <a:rPr lang="fr-FR" sz="2000" kern="0" dirty="0">
                <a:solidFill>
                  <a:schemeClr val="tx1"/>
                </a:solidFill>
              </a:rPr>
              <a:t>Nom D’utilisateur: </a:t>
            </a:r>
            <a:r>
              <a:rPr lang="fr-FR" sz="2000" kern="0" dirty="0">
                <a:solidFill>
                  <a:schemeClr val="tx1"/>
                </a:solidFill>
                <a:highlight>
                  <a:srgbClr val="FFFF00"/>
                </a:highlight>
              </a:rPr>
              <a:t>_____________</a:t>
            </a:r>
          </a:p>
          <a:p>
            <a:pPr algn="ctr"/>
            <a:r>
              <a:rPr lang="fr-FR" sz="2000" kern="0" dirty="0">
                <a:solidFill>
                  <a:schemeClr val="tx1"/>
                </a:solidFill>
              </a:rPr>
              <a:t>Mot de Passe: __________</a:t>
            </a:r>
            <a:endParaRPr lang="fr-FR" sz="2000" kern="0" dirty="0"/>
          </a:p>
          <a:p>
            <a:pPr algn="ctr"/>
            <a:endParaRPr lang="fr-FR" sz="2000" kern="0" dirty="0"/>
          </a:p>
          <a:p>
            <a:pPr algn="ctr"/>
            <a:r>
              <a:rPr lang="fr-FR" sz="2000" kern="0" dirty="0"/>
              <a:t>Ou sur mobile and tablette</a:t>
            </a:r>
          </a:p>
          <a:p>
            <a:pPr algn="ctr"/>
            <a:r>
              <a:rPr lang="fr-FR" sz="2000" kern="0" dirty="0"/>
              <a:t>Télécharger l’app “country </a:t>
            </a:r>
            <a:r>
              <a:rPr lang="fr-FR" sz="2000" kern="0" dirty="0" err="1"/>
              <a:t>scorecard</a:t>
            </a:r>
            <a:r>
              <a:rPr lang="fr-FR" sz="2000" kern="0" dirty="0"/>
              <a:t>” </a:t>
            </a:r>
          </a:p>
        </p:txBody>
      </p:sp>
      <p:sp>
        <p:nvSpPr>
          <p:cNvPr id="4" name="Title 1">
            <a:extLst>
              <a:ext uri="{FF2B5EF4-FFF2-40B4-BE49-F238E27FC236}">
                <a16:creationId xmlns:a16="http://schemas.microsoft.com/office/drawing/2014/main" id="{34B4F511-EBCC-4297-8007-84D47B49940B}"/>
              </a:ext>
            </a:extLst>
          </p:cNvPr>
          <p:cNvSpPr txBox="1">
            <a:spLocks/>
          </p:cNvSpPr>
          <p:nvPr/>
        </p:nvSpPr>
        <p:spPr bwMode="auto">
          <a:xfrm>
            <a:off x="5552722" y="3121282"/>
            <a:ext cx="2560276"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ctr"/>
            <a:r>
              <a:rPr lang="en-US" sz="2800" kern="0" dirty="0" err="1">
                <a:solidFill>
                  <a:schemeClr val="tx1"/>
                </a:solidFill>
              </a:rPr>
              <a:t>iphone</a:t>
            </a:r>
            <a:r>
              <a:rPr lang="en-US" sz="2800" kern="0" dirty="0">
                <a:solidFill>
                  <a:schemeClr val="tx1"/>
                </a:solidFill>
              </a:rPr>
              <a:t> app</a:t>
            </a:r>
            <a:endParaRPr lang="en-US" sz="2800" kern="0" dirty="0"/>
          </a:p>
        </p:txBody>
      </p:sp>
      <p:sp>
        <p:nvSpPr>
          <p:cNvPr id="8" name="Title 1">
            <a:extLst>
              <a:ext uri="{FF2B5EF4-FFF2-40B4-BE49-F238E27FC236}">
                <a16:creationId xmlns:a16="http://schemas.microsoft.com/office/drawing/2014/main" id="{22BF6E7E-F2A3-47C9-9D69-4E16BE1B8824}"/>
              </a:ext>
            </a:extLst>
          </p:cNvPr>
          <p:cNvSpPr txBox="1">
            <a:spLocks/>
          </p:cNvSpPr>
          <p:nvPr/>
        </p:nvSpPr>
        <p:spPr bwMode="auto">
          <a:xfrm>
            <a:off x="630665" y="3129936"/>
            <a:ext cx="3002388"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ctr"/>
            <a:r>
              <a:rPr lang="en-US" sz="2800" kern="0" dirty="0">
                <a:solidFill>
                  <a:schemeClr val="tx1"/>
                </a:solidFill>
              </a:rPr>
              <a:t>Android app</a:t>
            </a:r>
            <a:endParaRPr lang="en-US" sz="2800" kern="0" dirty="0"/>
          </a:p>
        </p:txBody>
      </p:sp>
      <p:graphicFrame>
        <p:nvGraphicFramePr>
          <p:cNvPr id="9" name="Table 6">
            <a:extLst>
              <a:ext uri="{FF2B5EF4-FFF2-40B4-BE49-F238E27FC236}">
                <a16:creationId xmlns:a16="http://schemas.microsoft.com/office/drawing/2014/main" id="{741945E8-D9E1-42AD-8C54-E9FFDD0F2818}"/>
              </a:ext>
            </a:extLst>
          </p:cNvPr>
          <p:cNvGraphicFramePr>
            <a:graphicFrameLocks noGrp="1"/>
          </p:cNvGraphicFramePr>
          <p:nvPr>
            <p:extLst>
              <p:ext uri="{D42A27DB-BD31-4B8C-83A1-F6EECF244321}">
                <p14:modId xmlns:p14="http://schemas.microsoft.com/office/powerpoint/2010/main" val="44216697"/>
              </p:ext>
            </p:extLst>
          </p:nvPr>
        </p:nvGraphicFramePr>
        <p:xfrm>
          <a:off x="43731" y="3577820"/>
          <a:ext cx="4184602" cy="2706379"/>
        </p:xfrm>
        <a:graphic>
          <a:graphicData uri="http://schemas.openxmlformats.org/drawingml/2006/table">
            <a:tbl>
              <a:tblPr firstRow="1" bandRow="1">
                <a:tableStyleId>{073A0DAA-6AF3-43AB-8588-CEC1D06C72B9}</a:tableStyleId>
              </a:tblPr>
              <a:tblGrid>
                <a:gridCol w="3552500">
                  <a:extLst>
                    <a:ext uri="{9D8B030D-6E8A-4147-A177-3AD203B41FA5}">
                      <a16:colId xmlns:a16="http://schemas.microsoft.com/office/drawing/2014/main" val="1099008632"/>
                    </a:ext>
                  </a:extLst>
                </a:gridCol>
                <a:gridCol w="632102">
                  <a:extLst>
                    <a:ext uri="{9D8B030D-6E8A-4147-A177-3AD203B41FA5}">
                      <a16:colId xmlns:a16="http://schemas.microsoft.com/office/drawing/2014/main" val="2329018708"/>
                    </a:ext>
                  </a:extLst>
                </a:gridCol>
              </a:tblGrid>
              <a:tr h="678129">
                <a:tc>
                  <a:txBody>
                    <a:bodyPr/>
                    <a:lstStyle/>
                    <a:p>
                      <a:pPr algn="ctr"/>
                      <a:r>
                        <a:rPr lang="en-US" dirty="0"/>
                        <a:t>Instruc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tc>
                  <a:txBody>
                    <a:bodyPr/>
                    <a:lstStyle/>
                    <a:p>
                      <a:pPr algn="ctr"/>
                      <a:r>
                        <a:rPr lang="en-US" sz="1600" dirty="0"/>
                        <a:t>Ic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extLst>
                  <a:ext uri="{0D108BD9-81ED-4DB2-BD59-A6C34878D82A}">
                    <a16:rowId xmlns:a16="http://schemas.microsoft.com/office/drawing/2014/main" val="826519797"/>
                  </a:ext>
                </a:extLst>
              </a:tr>
              <a:tr h="610623">
                <a:tc>
                  <a:txBody>
                    <a:bodyPr/>
                    <a:lstStyle/>
                    <a:p>
                      <a:r>
                        <a:rPr lang="fr-FR" sz="1400" noProof="0" dirty="0"/>
                        <a:t>1. Aller dans Google </a:t>
                      </a:r>
                      <a:r>
                        <a:rPr lang="fr-FR" sz="1400" noProof="0" dirty="0" err="1"/>
                        <a:t>playstore</a:t>
                      </a:r>
                      <a:r>
                        <a:rPr lang="fr-FR" sz="1400" noProof="0" dirty="0"/>
                        <a:t> en cliquant sur l'Icon dans votre mobile ou tablett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186856"/>
                  </a:ext>
                </a:extLst>
              </a:tr>
              <a:tr h="503227">
                <a:tc>
                  <a:txBody>
                    <a:bodyPr/>
                    <a:lstStyle/>
                    <a:p>
                      <a:r>
                        <a:rPr lang="en-US" sz="1400" dirty="0"/>
                        <a:t>2. </a:t>
                      </a:r>
                      <a:r>
                        <a:rPr lang="fr-FR" sz="1400" noProof="0" dirty="0"/>
                        <a:t>Chercher “country </a:t>
                      </a:r>
                      <a:r>
                        <a:rPr lang="fr-FR" sz="1400" noProof="0" dirty="0" err="1"/>
                        <a:t>scorecard</a:t>
                      </a:r>
                      <a:r>
                        <a:rPr lang="fr-FR" sz="1400" noProof="0" dirty="0"/>
                        <a:t>” et télécharger l</a:t>
                      </a:r>
                      <a:r>
                        <a:rPr lang="fr-FR" sz="1400" noProof="0" dirty="0">
                          <a:hlinkClick r:id="rId4">
                            <a:extLst>
                              <a:ext uri="{A12FA001-AC4F-418D-AE19-62706E023703}">
                                <ahyp:hlinkClr xmlns:ahyp="http://schemas.microsoft.com/office/drawing/2018/hyperlinkcolor" val="tx"/>
                              </a:ext>
                            </a:extLst>
                          </a:hlinkClick>
                        </a:rPr>
                        <a:t>’</a:t>
                      </a:r>
                      <a:r>
                        <a:rPr lang="fr-FR" sz="1400" noProof="0" dirty="0">
                          <a:solidFill>
                            <a:schemeClr val="tx1"/>
                          </a:solidFill>
                          <a:hlinkClick r:id="rId4">
                            <a:extLst>
                              <a:ext uri="{A12FA001-AC4F-418D-AE19-62706E023703}">
                                <ahyp:hlinkClr xmlns:ahyp="http://schemas.microsoft.com/office/drawing/2018/hyperlinkcolor" val="tx"/>
                              </a:ext>
                            </a:extLst>
                          </a:hlinkClick>
                        </a:rPr>
                        <a:t>app</a:t>
                      </a:r>
                      <a:endParaRPr lang="fr-FR" sz="1400" noProof="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62049610"/>
                  </a:ext>
                </a:extLst>
              </a:tr>
              <a:tr h="899467">
                <a:tc>
                  <a:txBody>
                    <a:bodyPr/>
                    <a:lstStyle/>
                    <a:p>
                      <a:r>
                        <a:rPr lang="fr-FR" sz="1400" noProof="0" dirty="0"/>
                        <a:t>3. Ouvrir l’app et se connecter en utilisant vos identifiants</a:t>
                      </a:r>
                    </a:p>
                    <a:p>
                      <a:endParaRPr 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66552295"/>
                  </a:ext>
                </a:extLst>
              </a:tr>
            </a:tbl>
          </a:graphicData>
        </a:graphic>
      </p:graphicFrame>
      <p:pic>
        <p:nvPicPr>
          <p:cNvPr id="11" name="Picture 10">
            <a:extLst>
              <a:ext uri="{FF2B5EF4-FFF2-40B4-BE49-F238E27FC236}">
                <a16:creationId xmlns:a16="http://schemas.microsoft.com/office/drawing/2014/main" id="{570F7CBF-49EC-412D-8B93-5665A31384DF}"/>
              </a:ext>
            </a:extLst>
          </p:cNvPr>
          <p:cNvPicPr>
            <a:picLocks noChangeAspect="1"/>
          </p:cNvPicPr>
          <p:nvPr/>
        </p:nvPicPr>
        <p:blipFill>
          <a:blip r:embed="rId5"/>
          <a:stretch>
            <a:fillRect/>
          </a:stretch>
        </p:blipFill>
        <p:spPr>
          <a:xfrm>
            <a:off x="3669875" y="4335535"/>
            <a:ext cx="490221" cy="446514"/>
          </a:xfrm>
          <a:prstGeom prst="rect">
            <a:avLst/>
          </a:prstGeom>
        </p:spPr>
      </p:pic>
      <p:pic>
        <p:nvPicPr>
          <p:cNvPr id="12" name="Picture 11">
            <a:extLst>
              <a:ext uri="{FF2B5EF4-FFF2-40B4-BE49-F238E27FC236}">
                <a16:creationId xmlns:a16="http://schemas.microsoft.com/office/drawing/2014/main" id="{ED4E5300-80AE-4999-A2CD-69744372E5F2}"/>
              </a:ext>
            </a:extLst>
          </p:cNvPr>
          <p:cNvPicPr>
            <a:picLocks noChangeAspect="1"/>
          </p:cNvPicPr>
          <p:nvPr/>
        </p:nvPicPr>
        <p:blipFill>
          <a:blip r:embed="rId6"/>
          <a:stretch>
            <a:fillRect/>
          </a:stretch>
        </p:blipFill>
        <p:spPr>
          <a:xfrm>
            <a:off x="3663738" y="4887120"/>
            <a:ext cx="490222" cy="457757"/>
          </a:xfrm>
          <a:prstGeom prst="rect">
            <a:avLst/>
          </a:prstGeom>
        </p:spPr>
      </p:pic>
      <p:pic>
        <p:nvPicPr>
          <p:cNvPr id="13" name="Picture 12">
            <a:extLst>
              <a:ext uri="{FF2B5EF4-FFF2-40B4-BE49-F238E27FC236}">
                <a16:creationId xmlns:a16="http://schemas.microsoft.com/office/drawing/2014/main" id="{8FF760A9-D332-4CE2-B64D-073E53C19397}"/>
              </a:ext>
            </a:extLst>
          </p:cNvPr>
          <p:cNvPicPr>
            <a:picLocks noChangeAspect="1"/>
          </p:cNvPicPr>
          <p:nvPr/>
        </p:nvPicPr>
        <p:blipFill>
          <a:blip r:embed="rId7"/>
          <a:stretch>
            <a:fillRect/>
          </a:stretch>
        </p:blipFill>
        <p:spPr>
          <a:xfrm>
            <a:off x="3633053" y="5416635"/>
            <a:ext cx="552322" cy="831042"/>
          </a:xfrm>
          <a:prstGeom prst="rect">
            <a:avLst/>
          </a:prstGeom>
        </p:spPr>
      </p:pic>
      <p:graphicFrame>
        <p:nvGraphicFramePr>
          <p:cNvPr id="14" name="Table 6">
            <a:extLst>
              <a:ext uri="{FF2B5EF4-FFF2-40B4-BE49-F238E27FC236}">
                <a16:creationId xmlns:a16="http://schemas.microsoft.com/office/drawing/2014/main" id="{73D85725-FD45-4128-B1F6-8BED1F3FD0C2}"/>
              </a:ext>
            </a:extLst>
          </p:cNvPr>
          <p:cNvGraphicFramePr>
            <a:graphicFrameLocks noGrp="1"/>
          </p:cNvGraphicFramePr>
          <p:nvPr>
            <p:extLst>
              <p:ext uri="{D42A27DB-BD31-4B8C-83A1-F6EECF244321}">
                <p14:modId xmlns:p14="http://schemas.microsoft.com/office/powerpoint/2010/main" val="4157708670"/>
              </p:ext>
            </p:extLst>
          </p:nvPr>
        </p:nvGraphicFramePr>
        <p:xfrm>
          <a:off x="4669935" y="3577820"/>
          <a:ext cx="4184602" cy="2706379"/>
        </p:xfrm>
        <a:graphic>
          <a:graphicData uri="http://schemas.openxmlformats.org/drawingml/2006/table">
            <a:tbl>
              <a:tblPr firstRow="1" bandRow="1">
                <a:tableStyleId>{073A0DAA-6AF3-43AB-8588-CEC1D06C72B9}</a:tableStyleId>
              </a:tblPr>
              <a:tblGrid>
                <a:gridCol w="3553528">
                  <a:extLst>
                    <a:ext uri="{9D8B030D-6E8A-4147-A177-3AD203B41FA5}">
                      <a16:colId xmlns:a16="http://schemas.microsoft.com/office/drawing/2014/main" val="1099008632"/>
                    </a:ext>
                  </a:extLst>
                </a:gridCol>
                <a:gridCol w="631074">
                  <a:extLst>
                    <a:ext uri="{9D8B030D-6E8A-4147-A177-3AD203B41FA5}">
                      <a16:colId xmlns:a16="http://schemas.microsoft.com/office/drawing/2014/main" val="2329018708"/>
                    </a:ext>
                  </a:extLst>
                </a:gridCol>
              </a:tblGrid>
              <a:tr h="678129">
                <a:tc>
                  <a:txBody>
                    <a:bodyPr/>
                    <a:lstStyle/>
                    <a:p>
                      <a:pPr algn="ctr"/>
                      <a:r>
                        <a:rPr lang="en-US" dirty="0"/>
                        <a:t>Instruc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tc>
                  <a:txBody>
                    <a:bodyPr/>
                    <a:lstStyle/>
                    <a:p>
                      <a:pPr algn="ctr"/>
                      <a:r>
                        <a:rPr lang="en-US" sz="1600" dirty="0"/>
                        <a:t>Ic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extLst>
                  <a:ext uri="{0D108BD9-81ED-4DB2-BD59-A6C34878D82A}">
                    <a16:rowId xmlns:a16="http://schemas.microsoft.com/office/drawing/2014/main" val="826519797"/>
                  </a:ext>
                </a:extLst>
              </a:tr>
              <a:tr h="6106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1. </a:t>
                      </a:r>
                      <a:r>
                        <a:rPr lang="fr-FR" sz="1400" noProof="0" dirty="0"/>
                        <a:t>1. Aller dans Apple store en cliquant sur l'Icon dans votre mobile ou tablett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186856"/>
                  </a:ext>
                </a:extLst>
              </a:tr>
              <a:tr h="503227">
                <a:tc>
                  <a:txBody>
                    <a:bodyPr/>
                    <a:lstStyle/>
                    <a:p>
                      <a:r>
                        <a:rPr lang="en-US" sz="1400" dirty="0"/>
                        <a:t>2. </a:t>
                      </a:r>
                      <a:r>
                        <a:rPr lang="fr-FR" sz="1400" noProof="0" dirty="0"/>
                        <a:t>Chercher “country </a:t>
                      </a:r>
                      <a:r>
                        <a:rPr lang="fr-FR" sz="1400" noProof="0" dirty="0" err="1"/>
                        <a:t>scorecard</a:t>
                      </a:r>
                      <a:r>
                        <a:rPr lang="fr-FR" sz="1400" noProof="0" dirty="0"/>
                        <a:t>” et télécharger l</a:t>
                      </a:r>
                      <a:r>
                        <a:rPr lang="fr-FR" sz="1400" noProof="0" dirty="0">
                          <a:hlinkClick r:id="rId4">
                            <a:extLst>
                              <a:ext uri="{A12FA001-AC4F-418D-AE19-62706E023703}">
                                <ahyp:hlinkClr xmlns:ahyp="http://schemas.microsoft.com/office/drawing/2018/hyperlinkcolor" val="tx"/>
                              </a:ext>
                            </a:extLst>
                          </a:hlinkClick>
                        </a:rPr>
                        <a:t>’</a:t>
                      </a:r>
                      <a:r>
                        <a:rPr lang="fr-FR" sz="1400" noProof="0" dirty="0">
                          <a:solidFill>
                            <a:schemeClr val="tx1"/>
                          </a:solidFill>
                          <a:hlinkClick r:id="rId4">
                            <a:extLst>
                              <a:ext uri="{A12FA001-AC4F-418D-AE19-62706E023703}">
                                <ahyp:hlinkClr xmlns:ahyp="http://schemas.microsoft.com/office/drawing/2018/hyperlinkcolor" val="tx"/>
                              </a:ext>
                            </a:extLst>
                          </a:hlinkClick>
                        </a:rPr>
                        <a:t>app</a:t>
                      </a:r>
                      <a:endParaRPr lang="fr-FR" sz="1400" noProof="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62049610"/>
                  </a:ext>
                </a:extLst>
              </a:tr>
              <a:tr h="899467">
                <a:tc>
                  <a:txBody>
                    <a:bodyPr/>
                    <a:lstStyle/>
                    <a:p>
                      <a:r>
                        <a:rPr lang="fr-FR" sz="1400" noProof="0" dirty="0"/>
                        <a:t>3. Ouvrir l’app et se connecter en utilisant vos identifia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66552295"/>
                  </a:ext>
                </a:extLst>
              </a:tr>
            </a:tbl>
          </a:graphicData>
        </a:graphic>
      </p:graphicFrame>
      <p:pic>
        <p:nvPicPr>
          <p:cNvPr id="5" name="Picture 4">
            <a:extLst>
              <a:ext uri="{FF2B5EF4-FFF2-40B4-BE49-F238E27FC236}">
                <a16:creationId xmlns:a16="http://schemas.microsoft.com/office/drawing/2014/main" id="{A07F523C-8EBF-4010-82AE-A2DB19D62A1A}"/>
              </a:ext>
            </a:extLst>
          </p:cNvPr>
          <p:cNvPicPr>
            <a:picLocks noChangeAspect="1"/>
          </p:cNvPicPr>
          <p:nvPr/>
        </p:nvPicPr>
        <p:blipFill>
          <a:blip r:embed="rId8"/>
          <a:stretch>
            <a:fillRect/>
          </a:stretch>
        </p:blipFill>
        <p:spPr>
          <a:xfrm>
            <a:off x="8290913" y="4326752"/>
            <a:ext cx="472498" cy="464079"/>
          </a:xfrm>
          <a:prstGeom prst="rect">
            <a:avLst/>
          </a:prstGeom>
        </p:spPr>
      </p:pic>
      <p:pic>
        <p:nvPicPr>
          <p:cNvPr id="15" name="Picture 14">
            <a:extLst>
              <a:ext uri="{FF2B5EF4-FFF2-40B4-BE49-F238E27FC236}">
                <a16:creationId xmlns:a16="http://schemas.microsoft.com/office/drawing/2014/main" id="{68396E7D-2009-49E7-BCDF-38F8C6D2F8A9}"/>
              </a:ext>
            </a:extLst>
          </p:cNvPr>
          <p:cNvPicPr>
            <a:picLocks noChangeAspect="1"/>
          </p:cNvPicPr>
          <p:nvPr/>
        </p:nvPicPr>
        <p:blipFill>
          <a:blip r:embed="rId6"/>
          <a:stretch>
            <a:fillRect/>
          </a:stretch>
        </p:blipFill>
        <p:spPr>
          <a:xfrm>
            <a:off x="8277667" y="4898370"/>
            <a:ext cx="490222" cy="457757"/>
          </a:xfrm>
          <a:prstGeom prst="rect">
            <a:avLst/>
          </a:prstGeom>
        </p:spPr>
      </p:pic>
      <p:pic>
        <p:nvPicPr>
          <p:cNvPr id="16" name="Picture 15">
            <a:extLst>
              <a:ext uri="{FF2B5EF4-FFF2-40B4-BE49-F238E27FC236}">
                <a16:creationId xmlns:a16="http://schemas.microsoft.com/office/drawing/2014/main" id="{033A4BE2-D5E6-4A52-A7D1-6191DEE77BCE}"/>
              </a:ext>
            </a:extLst>
          </p:cNvPr>
          <p:cNvPicPr>
            <a:picLocks noChangeAspect="1"/>
          </p:cNvPicPr>
          <p:nvPr/>
        </p:nvPicPr>
        <p:blipFill>
          <a:blip r:embed="rId7"/>
          <a:stretch>
            <a:fillRect/>
          </a:stretch>
        </p:blipFill>
        <p:spPr>
          <a:xfrm>
            <a:off x="8234708" y="5440159"/>
            <a:ext cx="552322" cy="831042"/>
          </a:xfrm>
          <a:prstGeom prst="rect">
            <a:avLst/>
          </a:prstGeom>
        </p:spPr>
      </p:pic>
      <p:pic>
        <p:nvPicPr>
          <p:cNvPr id="18" name="Picture 17">
            <a:extLst>
              <a:ext uri="{FF2B5EF4-FFF2-40B4-BE49-F238E27FC236}">
                <a16:creationId xmlns:a16="http://schemas.microsoft.com/office/drawing/2014/main" id="{70DBCADA-9B3C-4ABD-ACE8-F837E5E36C1C}"/>
              </a:ext>
            </a:extLst>
          </p:cNvPr>
          <p:cNvPicPr>
            <a:picLocks noChangeAspect="1"/>
          </p:cNvPicPr>
          <p:nvPr/>
        </p:nvPicPr>
        <p:blipFill>
          <a:blip r:embed="rId6"/>
          <a:stretch>
            <a:fillRect/>
          </a:stretch>
        </p:blipFill>
        <p:spPr>
          <a:xfrm>
            <a:off x="6927559" y="2167645"/>
            <a:ext cx="743594" cy="694349"/>
          </a:xfrm>
          <a:prstGeom prst="rect">
            <a:avLst/>
          </a:prstGeom>
        </p:spPr>
      </p:pic>
    </p:spTree>
    <p:extLst>
      <p:ext uri="{BB962C8B-B14F-4D97-AF65-F5344CB8AC3E}">
        <p14:creationId xmlns:p14="http://schemas.microsoft.com/office/powerpoint/2010/main" val="127630063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3F4B92-E813-4BC2-B4F0-57BC38EC53A8}"/>
              </a:ext>
            </a:extLst>
          </p:cNvPr>
          <p:cNvSpPr>
            <a:spLocks noGrp="1"/>
          </p:cNvSpPr>
          <p:nvPr>
            <p:ph type="title"/>
          </p:nvPr>
        </p:nvSpPr>
        <p:spPr/>
        <p:txBody>
          <a:bodyPr/>
          <a:lstStyle/>
          <a:p>
            <a:r>
              <a:rPr lang="en-US" dirty="0"/>
              <a:t>Formation </a:t>
            </a:r>
            <a:r>
              <a:rPr lang="en-US" dirty="0" err="1"/>
              <a:t>Platforme</a:t>
            </a:r>
            <a:r>
              <a:rPr lang="en-US" dirty="0"/>
              <a:t> Web Carte de Score: </a:t>
            </a:r>
            <a:r>
              <a:rPr lang="en-US" dirty="0" err="1"/>
              <a:t>Partie</a:t>
            </a:r>
            <a:r>
              <a:rPr lang="en-US" dirty="0"/>
              <a:t> 1</a:t>
            </a:r>
          </a:p>
        </p:txBody>
      </p:sp>
      <p:pic>
        <p:nvPicPr>
          <p:cNvPr id="4" name="Online Media 3" title="French_Part 1 web platform users">
            <a:hlinkClick r:id="" action="ppaction://media"/>
            <a:extLst>
              <a:ext uri="{FF2B5EF4-FFF2-40B4-BE49-F238E27FC236}">
                <a16:creationId xmlns:a16="http://schemas.microsoft.com/office/drawing/2014/main" id="{EF28F75E-7E50-4B5A-B96D-D4A402C78DC1}"/>
              </a:ext>
            </a:extLst>
          </p:cNvPr>
          <p:cNvPicPr>
            <a:picLocks noRot="1" noChangeAspect="1"/>
          </p:cNvPicPr>
          <p:nvPr>
            <a:videoFile r:link="rId1"/>
          </p:nvPr>
        </p:nvPicPr>
        <p:blipFill>
          <a:blip r:embed="rId3"/>
          <a:stretch>
            <a:fillRect/>
          </a:stretch>
        </p:blipFill>
        <p:spPr>
          <a:xfrm>
            <a:off x="40563" y="964611"/>
            <a:ext cx="8880312" cy="5017376"/>
          </a:xfrm>
          <a:prstGeom prst="rect">
            <a:avLst/>
          </a:prstGeom>
        </p:spPr>
      </p:pic>
      <p:sp>
        <p:nvSpPr>
          <p:cNvPr id="6" name="TextBox 5">
            <a:extLst>
              <a:ext uri="{FF2B5EF4-FFF2-40B4-BE49-F238E27FC236}">
                <a16:creationId xmlns:a16="http://schemas.microsoft.com/office/drawing/2014/main" id="{5FEFB3C5-11A9-474F-8B7B-35BD9CC01EFA}"/>
              </a:ext>
            </a:extLst>
          </p:cNvPr>
          <p:cNvSpPr txBox="1"/>
          <p:nvPr/>
        </p:nvSpPr>
        <p:spPr>
          <a:xfrm>
            <a:off x="248195" y="5981987"/>
            <a:ext cx="4493622" cy="338554"/>
          </a:xfrm>
          <a:prstGeom prst="rect">
            <a:avLst/>
          </a:prstGeom>
          <a:noFill/>
        </p:spPr>
        <p:txBody>
          <a:bodyPr wrap="square">
            <a:spAutoFit/>
          </a:bodyPr>
          <a:lstStyle/>
          <a:p>
            <a:r>
              <a:rPr lang="en-US" dirty="0" err="1">
                <a:hlinkClick r:id="rId4">
                  <a:extLst>
                    <a:ext uri="{A12FA001-AC4F-418D-AE19-62706E023703}">
                      <ahyp:hlinkClr xmlns:ahyp="http://schemas.microsoft.com/office/drawing/2018/hyperlinkcolor" val="tx"/>
                    </a:ext>
                  </a:extLst>
                </a:hlinkClick>
              </a:rPr>
              <a:t>Télécharger</a:t>
            </a:r>
            <a:r>
              <a:rPr lang="en-US" dirty="0">
                <a:hlinkClick r:id="rId4">
                  <a:extLst>
                    <a:ext uri="{A12FA001-AC4F-418D-AE19-62706E023703}">
                      <ahyp:hlinkClr xmlns:ahyp="http://schemas.microsoft.com/office/drawing/2018/hyperlinkcolor" val="tx"/>
                    </a:ext>
                  </a:extLst>
                </a:hlinkClick>
              </a:rPr>
              <a:t> la video</a:t>
            </a:r>
            <a:endParaRPr lang="en-US" dirty="0"/>
          </a:p>
        </p:txBody>
      </p:sp>
    </p:spTree>
    <p:extLst>
      <p:ext uri="{BB962C8B-B14F-4D97-AF65-F5344CB8AC3E}">
        <p14:creationId xmlns:p14="http://schemas.microsoft.com/office/powerpoint/2010/main" val="12073366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Online Media 2" title="French_Part 2 web platform users">
            <a:hlinkClick r:id="" action="ppaction://media"/>
            <a:extLst>
              <a:ext uri="{FF2B5EF4-FFF2-40B4-BE49-F238E27FC236}">
                <a16:creationId xmlns:a16="http://schemas.microsoft.com/office/drawing/2014/main" id="{0DEEED8E-FF9F-4E34-AE6B-5C38A1ED4846}"/>
              </a:ext>
            </a:extLst>
          </p:cNvPr>
          <p:cNvPicPr>
            <a:picLocks noRot="1" noChangeAspect="1"/>
          </p:cNvPicPr>
          <p:nvPr>
            <a:videoFile r:link="rId1"/>
          </p:nvPr>
        </p:nvPicPr>
        <p:blipFill>
          <a:blip r:embed="rId3"/>
          <a:stretch>
            <a:fillRect/>
          </a:stretch>
        </p:blipFill>
        <p:spPr>
          <a:xfrm>
            <a:off x="77782" y="840513"/>
            <a:ext cx="8831087" cy="4989564"/>
          </a:xfrm>
          <a:prstGeom prst="rect">
            <a:avLst/>
          </a:prstGeom>
        </p:spPr>
      </p:pic>
      <p:sp>
        <p:nvSpPr>
          <p:cNvPr id="4" name="Title 1">
            <a:extLst>
              <a:ext uri="{FF2B5EF4-FFF2-40B4-BE49-F238E27FC236}">
                <a16:creationId xmlns:a16="http://schemas.microsoft.com/office/drawing/2014/main" id="{48D65FA7-92F0-4A23-ADCC-2FF294617F05}"/>
              </a:ext>
            </a:extLst>
          </p:cNvPr>
          <p:cNvSpPr txBox="1">
            <a:spLocks/>
          </p:cNvSpPr>
          <p:nvPr/>
        </p:nvSpPr>
        <p:spPr bwMode="auto">
          <a:xfrm>
            <a:off x="272908" y="382588"/>
            <a:ext cx="665406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US" kern="0" dirty="0"/>
              <a:t>Formation </a:t>
            </a:r>
            <a:r>
              <a:rPr lang="en-US" kern="0" dirty="0" err="1"/>
              <a:t>Platforme</a:t>
            </a:r>
            <a:r>
              <a:rPr lang="en-US" kern="0" dirty="0"/>
              <a:t> Web Carte de Score: </a:t>
            </a:r>
            <a:r>
              <a:rPr lang="en-US" kern="0" dirty="0" err="1"/>
              <a:t>Partie</a:t>
            </a:r>
            <a:r>
              <a:rPr lang="en-US" kern="0" dirty="0"/>
              <a:t> 2</a:t>
            </a:r>
          </a:p>
        </p:txBody>
      </p:sp>
      <p:sp>
        <p:nvSpPr>
          <p:cNvPr id="5" name="TextBox 4">
            <a:extLst>
              <a:ext uri="{FF2B5EF4-FFF2-40B4-BE49-F238E27FC236}">
                <a16:creationId xmlns:a16="http://schemas.microsoft.com/office/drawing/2014/main" id="{925DB32F-CB3E-4900-A65B-ACBC0BC6B11C}"/>
              </a:ext>
            </a:extLst>
          </p:cNvPr>
          <p:cNvSpPr txBox="1"/>
          <p:nvPr/>
        </p:nvSpPr>
        <p:spPr>
          <a:xfrm>
            <a:off x="248195" y="5981987"/>
            <a:ext cx="4493622" cy="338554"/>
          </a:xfrm>
          <a:prstGeom prst="rect">
            <a:avLst/>
          </a:prstGeom>
          <a:noFill/>
        </p:spPr>
        <p:txBody>
          <a:bodyPr wrap="square">
            <a:spAutoFit/>
          </a:bodyPr>
          <a:lstStyle/>
          <a:p>
            <a:r>
              <a:rPr lang="en-US" dirty="0" err="1">
                <a:hlinkClick r:id="rId4">
                  <a:extLst>
                    <a:ext uri="{A12FA001-AC4F-418D-AE19-62706E023703}">
                      <ahyp:hlinkClr xmlns:ahyp="http://schemas.microsoft.com/office/drawing/2018/hyperlinkcolor" val="tx"/>
                    </a:ext>
                  </a:extLst>
                </a:hlinkClick>
              </a:rPr>
              <a:t>Télécharger</a:t>
            </a:r>
            <a:r>
              <a:rPr lang="en-US" dirty="0">
                <a:hlinkClick r:id="rId4">
                  <a:extLst>
                    <a:ext uri="{A12FA001-AC4F-418D-AE19-62706E023703}">
                      <ahyp:hlinkClr xmlns:ahyp="http://schemas.microsoft.com/office/drawing/2018/hyperlinkcolor" val="tx"/>
                    </a:ext>
                  </a:extLst>
                </a:hlinkClick>
              </a:rPr>
              <a:t> la video</a:t>
            </a:r>
            <a:endParaRPr lang="en-US" dirty="0"/>
          </a:p>
        </p:txBody>
      </p:sp>
    </p:spTree>
    <p:extLst>
      <p:ext uri="{BB962C8B-B14F-4D97-AF65-F5344CB8AC3E}">
        <p14:creationId xmlns:p14="http://schemas.microsoft.com/office/powerpoint/2010/main" val="30561684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Online Media 2" title="French Part 3 action tracker">
            <a:hlinkClick r:id="" action="ppaction://media"/>
            <a:extLst>
              <a:ext uri="{FF2B5EF4-FFF2-40B4-BE49-F238E27FC236}">
                <a16:creationId xmlns:a16="http://schemas.microsoft.com/office/drawing/2014/main" id="{2C353800-B866-42DD-8D28-411D1CB37561}"/>
              </a:ext>
            </a:extLst>
          </p:cNvPr>
          <p:cNvPicPr>
            <a:picLocks noRot="1" noChangeAspect="1"/>
          </p:cNvPicPr>
          <p:nvPr>
            <a:videoFile r:link="rId1"/>
          </p:nvPr>
        </p:nvPicPr>
        <p:blipFill>
          <a:blip r:embed="rId3"/>
          <a:stretch>
            <a:fillRect/>
          </a:stretch>
        </p:blipFill>
        <p:spPr>
          <a:xfrm>
            <a:off x="0" y="845032"/>
            <a:ext cx="8961438" cy="5063213"/>
          </a:xfrm>
          <a:prstGeom prst="rect">
            <a:avLst/>
          </a:prstGeom>
        </p:spPr>
      </p:pic>
      <p:sp>
        <p:nvSpPr>
          <p:cNvPr id="4" name="Title 1">
            <a:extLst>
              <a:ext uri="{FF2B5EF4-FFF2-40B4-BE49-F238E27FC236}">
                <a16:creationId xmlns:a16="http://schemas.microsoft.com/office/drawing/2014/main" id="{09B27F9B-DB64-416B-8764-C28A724B1A90}"/>
              </a:ext>
            </a:extLst>
          </p:cNvPr>
          <p:cNvSpPr txBox="1">
            <a:spLocks/>
          </p:cNvSpPr>
          <p:nvPr/>
        </p:nvSpPr>
        <p:spPr bwMode="auto">
          <a:xfrm>
            <a:off x="272908" y="382588"/>
            <a:ext cx="665406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US" kern="0" dirty="0"/>
              <a:t>Formation Le Suivi </a:t>
            </a:r>
            <a:r>
              <a:rPr lang="en-US" kern="0" dirty="0" err="1"/>
              <a:t>d’Actions</a:t>
            </a:r>
            <a:r>
              <a:rPr lang="en-US" kern="0" dirty="0"/>
              <a:t>: </a:t>
            </a:r>
            <a:r>
              <a:rPr lang="en-US" kern="0" dirty="0" err="1"/>
              <a:t>Partie</a:t>
            </a:r>
            <a:r>
              <a:rPr lang="en-US" kern="0" dirty="0"/>
              <a:t> 3</a:t>
            </a:r>
          </a:p>
        </p:txBody>
      </p:sp>
      <p:sp>
        <p:nvSpPr>
          <p:cNvPr id="5" name="TextBox 4">
            <a:extLst>
              <a:ext uri="{FF2B5EF4-FFF2-40B4-BE49-F238E27FC236}">
                <a16:creationId xmlns:a16="http://schemas.microsoft.com/office/drawing/2014/main" id="{B9FA5925-211A-4D07-A1BA-BA70424E1302}"/>
              </a:ext>
            </a:extLst>
          </p:cNvPr>
          <p:cNvSpPr txBox="1"/>
          <p:nvPr/>
        </p:nvSpPr>
        <p:spPr>
          <a:xfrm>
            <a:off x="97972" y="5930728"/>
            <a:ext cx="4493622" cy="338554"/>
          </a:xfrm>
          <a:prstGeom prst="rect">
            <a:avLst/>
          </a:prstGeom>
          <a:noFill/>
        </p:spPr>
        <p:txBody>
          <a:bodyPr wrap="square">
            <a:spAutoFit/>
          </a:bodyPr>
          <a:lstStyle/>
          <a:p>
            <a:r>
              <a:rPr lang="en-US" dirty="0" err="1">
                <a:hlinkClick r:id="rId4">
                  <a:extLst>
                    <a:ext uri="{A12FA001-AC4F-418D-AE19-62706E023703}">
                      <ahyp:hlinkClr xmlns:ahyp="http://schemas.microsoft.com/office/drawing/2018/hyperlinkcolor" val="tx"/>
                    </a:ext>
                  </a:extLst>
                </a:hlinkClick>
              </a:rPr>
              <a:t>Télécharger</a:t>
            </a:r>
            <a:r>
              <a:rPr lang="en-US" dirty="0">
                <a:hlinkClick r:id="rId4">
                  <a:extLst>
                    <a:ext uri="{A12FA001-AC4F-418D-AE19-62706E023703}">
                      <ahyp:hlinkClr xmlns:ahyp="http://schemas.microsoft.com/office/drawing/2018/hyperlinkcolor" val="tx"/>
                    </a:ext>
                  </a:extLst>
                </a:hlinkClick>
              </a:rPr>
              <a:t> la video</a:t>
            </a:r>
            <a:endParaRPr lang="en-US" dirty="0"/>
          </a:p>
        </p:txBody>
      </p:sp>
    </p:spTree>
    <p:extLst>
      <p:ext uri="{BB962C8B-B14F-4D97-AF65-F5344CB8AC3E}">
        <p14:creationId xmlns:p14="http://schemas.microsoft.com/office/powerpoint/2010/main" val="28406556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72046" y="369694"/>
            <a:ext cx="7785992" cy="1085875"/>
          </a:xfrm>
        </p:spPr>
        <p:txBody>
          <a:bodyPr/>
          <a:lstStyle/>
          <a:p>
            <a:pPr algn="ctr"/>
            <a:r>
              <a:rPr lang="fr-FR" sz="2352" dirty="0" err="1"/>
              <a:t>Exercise</a:t>
            </a:r>
            <a:r>
              <a:rPr lang="fr-FR" sz="2352" dirty="0"/>
              <a:t> suivi d’action: Entrainement dans le site </a:t>
            </a:r>
            <a:r>
              <a:rPr lang="fr-FR" sz="2352" b="1" u="sng" dirty="0" err="1"/>
              <a:t>Demo</a:t>
            </a:r>
            <a:br>
              <a:rPr lang="fr-FR" sz="2352" dirty="0"/>
            </a:br>
            <a:br>
              <a:rPr lang="fr-FR" sz="2352" dirty="0"/>
            </a:br>
            <a:r>
              <a:rPr lang="fr-FR" sz="2352" dirty="0"/>
              <a:t> </a:t>
            </a:r>
            <a:endParaRPr lang="en-US" sz="2352" dirty="0"/>
          </a:p>
        </p:txBody>
      </p:sp>
      <p:sp>
        <p:nvSpPr>
          <p:cNvPr id="3" name="Subtitle 2"/>
          <p:cNvSpPr>
            <a:spLocks noGrp="1"/>
          </p:cNvSpPr>
          <p:nvPr>
            <p:ph type="subTitle" idx="1"/>
          </p:nvPr>
        </p:nvSpPr>
        <p:spPr>
          <a:xfrm>
            <a:off x="685433" y="981255"/>
            <a:ext cx="6037584" cy="1767150"/>
          </a:xfrm>
        </p:spPr>
        <p:txBody>
          <a:bodyPr/>
          <a:lstStyle/>
          <a:p>
            <a:pPr marL="342864" indent="-342864">
              <a:spcBef>
                <a:spcPts val="450"/>
              </a:spcBef>
              <a:spcAft>
                <a:spcPts val="450"/>
              </a:spcAft>
              <a:buFont typeface="Arial" panose="020B0604020202020204" pitchFamily="34" charset="0"/>
              <a:buChar char="•"/>
            </a:pPr>
            <a:r>
              <a:rPr lang="en-US" sz="2400" dirty="0"/>
              <a:t>Aller a:   </a:t>
            </a:r>
            <a:r>
              <a:rPr lang="en-US" sz="2400" b="1" u="sng" dirty="0"/>
              <a:t>new.demoscorecard.org</a:t>
            </a:r>
          </a:p>
          <a:p>
            <a:pPr marL="342864" indent="-342864">
              <a:spcBef>
                <a:spcPts val="450"/>
              </a:spcBef>
              <a:spcAft>
                <a:spcPts val="450"/>
              </a:spcAft>
              <a:buFont typeface="Arial" panose="020B0604020202020204" pitchFamily="34" charset="0"/>
              <a:buChar char="•"/>
            </a:pPr>
            <a:r>
              <a:rPr lang="en-US" sz="2400" dirty="0"/>
              <a:t>Nom </a:t>
            </a:r>
            <a:r>
              <a:rPr lang="en-US" sz="2400" dirty="0" err="1"/>
              <a:t>Compte</a:t>
            </a:r>
            <a:r>
              <a:rPr lang="en-US" sz="2400" dirty="0"/>
              <a:t>: Burundi Demo</a:t>
            </a:r>
          </a:p>
          <a:p>
            <a:pPr marL="342864" indent="-342864">
              <a:spcBef>
                <a:spcPts val="450"/>
              </a:spcBef>
              <a:spcAft>
                <a:spcPts val="450"/>
              </a:spcAft>
              <a:buFont typeface="Arial" panose="020B0604020202020204" pitchFamily="34" charset="0"/>
              <a:buChar char="•"/>
            </a:pPr>
            <a:r>
              <a:rPr lang="en-US" sz="2400" dirty="0"/>
              <a:t>Mot de passe: 123456</a:t>
            </a:r>
          </a:p>
          <a:p>
            <a:endParaRPr lang="en-US" dirty="0"/>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65831" y="3246445"/>
            <a:ext cx="228586" cy="22858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76" tIns="34288" rIns="68576" bIns="34288" numCol="1" anchor="t" anchorCtr="0" compatLnSpc="1">
            <a:prstTxWarp prst="textNoShape">
              <a:avLst/>
            </a:prstTxWarp>
          </a:bodyPr>
          <a:lstStyle/>
          <a:p>
            <a:endParaRPr lang="en-US" sz="1350"/>
          </a:p>
        </p:txBody>
      </p:sp>
      <p:sp>
        <p:nvSpPr>
          <p:cNvPr id="7" name="TextBox 6">
            <a:extLst>
              <a:ext uri="{FF2B5EF4-FFF2-40B4-BE49-F238E27FC236}">
                <a16:creationId xmlns:a16="http://schemas.microsoft.com/office/drawing/2014/main" id="{8E04524A-26E8-417D-ADC8-57045D24FC67}"/>
              </a:ext>
            </a:extLst>
          </p:cNvPr>
          <p:cNvSpPr txBox="1"/>
          <p:nvPr/>
        </p:nvSpPr>
        <p:spPr>
          <a:xfrm>
            <a:off x="605036" y="2648203"/>
            <a:ext cx="8061886" cy="3621504"/>
          </a:xfrm>
          <a:prstGeom prst="rect">
            <a:avLst/>
          </a:prstGeom>
          <a:noFill/>
        </p:spPr>
        <p:txBody>
          <a:bodyPr wrap="square" rtlCol="0">
            <a:spAutoFit/>
          </a:bodyPr>
          <a:lstStyle/>
          <a:p>
            <a:r>
              <a:rPr lang="fr-FR" dirty="0"/>
              <a:t>Exercice:</a:t>
            </a:r>
          </a:p>
          <a:p>
            <a:endParaRPr lang="fr-FR" dirty="0"/>
          </a:p>
          <a:p>
            <a:pPr marL="257148" indent="-257148">
              <a:spcBef>
                <a:spcPts val="1200"/>
              </a:spcBef>
              <a:spcAft>
                <a:spcPts val="441"/>
              </a:spcAft>
              <a:buAutoNum type="arabicPeriod"/>
            </a:pPr>
            <a:r>
              <a:rPr lang="fr-FR" dirty="0"/>
              <a:t>Créer 3 nouvelles actions avec </a:t>
            </a:r>
            <a:r>
              <a:rPr lang="fr-FR" dirty="0" err="1"/>
              <a:t>status</a:t>
            </a:r>
            <a:r>
              <a:rPr lang="fr-FR" dirty="0"/>
              <a:t> ‘action n’est pas encore </a:t>
            </a:r>
            <a:r>
              <a:rPr lang="fr-FR" dirty="0" err="1"/>
              <a:t>dûe</a:t>
            </a:r>
            <a:r>
              <a:rPr lang="fr-FR" dirty="0"/>
              <a:t>’  (faite attention a la formulation des actions. Il doivent suivre le format SMART) </a:t>
            </a:r>
          </a:p>
          <a:p>
            <a:pPr marL="257148" indent="-257148">
              <a:spcBef>
                <a:spcPts val="1200"/>
              </a:spcBef>
              <a:spcAft>
                <a:spcPts val="441"/>
              </a:spcAft>
              <a:buAutoNum type="arabicPeriod"/>
            </a:pPr>
            <a:r>
              <a:rPr lang="fr-FR" dirty="0"/>
              <a:t>En plénière, discuter de quelques exemples d’actions enregistrer dans le suivi d’action et faite un retour sur comment améliorer. </a:t>
            </a:r>
          </a:p>
          <a:p>
            <a:pPr marL="257148" indent="-257148">
              <a:spcBef>
                <a:spcPts val="1200"/>
              </a:spcBef>
              <a:spcAft>
                <a:spcPts val="441"/>
              </a:spcAft>
              <a:buFont typeface="+mj-lt"/>
              <a:buAutoNum type="arabicPeriod"/>
            </a:pPr>
            <a:r>
              <a:rPr lang="fr-FR" dirty="0"/>
              <a:t>Mettez a jour chaque « </a:t>
            </a:r>
            <a:r>
              <a:rPr lang="en-US" b="1" i="0" dirty="0">
                <a:solidFill>
                  <a:srgbClr val="333333"/>
                </a:solidFill>
                <a:effectLst/>
                <a:latin typeface="-apple-system"/>
              </a:rPr>
              <a:t>Status </a:t>
            </a:r>
            <a:r>
              <a:rPr lang="fr-FR" dirty="0"/>
              <a:t>»</a:t>
            </a:r>
            <a:r>
              <a:rPr lang="en-US" b="1" i="0" dirty="0">
                <a:solidFill>
                  <a:srgbClr val="333333"/>
                </a:solidFill>
                <a:effectLst/>
                <a:latin typeface="-apple-system"/>
              </a:rPr>
              <a:t> </a:t>
            </a:r>
            <a:r>
              <a:rPr lang="fr-FR" dirty="0"/>
              <a:t>de vos actions et donner une explication.</a:t>
            </a:r>
          </a:p>
          <a:p>
            <a:pPr marL="257148" indent="-257148">
              <a:spcBef>
                <a:spcPts val="1200"/>
              </a:spcBef>
              <a:spcAft>
                <a:spcPts val="441"/>
              </a:spcAft>
              <a:buFont typeface="+mj-lt"/>
              <a:buAutoNum type="arabicPeriod"/>
            </a:pPr>
            <a:r>
              <a:rPr lang="fr-FR" dirty="0"/>
              <a:t>Télécharger un </a:t>
            </a:r>
            <a:r>
              <a:rPr lang="fr-FR" dirty="0" err="1"/>
              <a:t>excel</a:t>
            </a:r>
            <a:r>
              <a:rPr lang="fr-FR" dirty="0"/>
              <a:t> du suivi d’action et ajouter une nouvelle action et mettez a jour vos actions existants, puis télécharger l’Excel.</a:t>
            </a:r>
            <a:endParaRPr lang="en-US" dirty="0"/>
          </a:p>
          <a:p>
            <a:pPr marL="257148" indent="-257148">
              <a:buFont typeface="+mj-lt"/>
              <a:buAutoNum type="arabicPeriod"/>
            </a:pPr>
            <a:endParaRPr lang="en-US" dirty="0"/>
          </a:p>
          <a:p>
            <a:pPr marL="257148" indent="-257148">
              <a:buFont typeface="+mj-lt"/>
              <a:buAutoNum type="arabicPeriod"/>
            </a:pPr>
            <a:endParaRPr lang="en-US" dirty="0"/>
          </a:p>
        </p:txBody>
      </p:sp>
    </p:spTree>
    <p:extLst>
      <p:ext uri="{BB962C8B-B14F-4D97-AF65-F5344CB8AC3E}">
        <p14:creationId xmlns:p14="http://schemas.microsoft.com/office/powerpoint/2010/main" val="127030127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67316" y="3661918"/>
            <a:ext cx="6858728" cy="2895408"/>
          </a:xfrm>
        </p:spPr>
        <p:txBody>
          <a:bodyPr/>
          <a:lstStyle/>
          <a:p>
            <a:pPr algn="ctr"/>
            <a:r>
              <a:rPr lang="fr-FR" sz="3136" dirty="0">
                <a:solidFill>
                  <a:schemeClr val="tx1"/>
                </a:solidFill>
              </a:rPr>
              <a:t>Création des comptes sous nationaux (administrateurs sous régionaux ajoute les utilisateurs sous </a:t>
            </a:r>
            <a:r>
              <a:rPr lang="fr-FR" sz="3136" dirty="0" err="1">
                <a:solidFill>
                  <a:schemeClr val="tx1"/>
                </a:solidFill>
              </a:rPr>
              <a:t>regionaux</a:t>
            </a:r>
            <a:r>
              <a:rPr lang="fr-FR" sz="3136" dirty="0">
                <a:solidFill>
                  <a:schemeClr val="tx1"/>
                </a:solidFill>
              </a:rPr>
              <a:t>)</a:t>
            </a:r>
            <a:br>
              <a:rPr lang="fr-FR" sz="3136" dirty="0">
                <a:solidFill>
                  <a:schemeClr val="tx1"/>
                </a:solidFill>
              </a:rPr>
            </a:br>
            <a:br>
              <a:rPr lang="fr-FR" sz="3136" dirty="0">
                <a:solidFill>
                  <a:schemeClr val="tx1"/>
                </a:solidFill>
              </a:rPr>
            </a:br>
            <a:br>
              <a:rPr lang="fr-FR" sz="3136" dirty="0">
                <a:solidFill>
                  <a:schemeClr val="tx1"/>
                </a:solidFill>
              </a:rPr>
            </a:br>
            <a:endParaRPr lang="en-US" sz="3136" dirty="0">
              <a:solidFill>
                <a:schemeClr val="tx1"/>
              </a:solidFill>
            </a:endParaRPr>
          </a:p>
        </p:txBody>
      </p:sp>
      <p:sp>
        <p:nvSpPr>
          <p:cNvPr id="3" name="Subtitle 2"/>
          <p:cNvSpPr>
            <a:spLocks noGrp="1"/>
          </p:cNvSpPr>
          <p:nvPr>
            <p:ph type="subTitle" idx="1"/>
          </p:nvPr>
        </p:nvSpPr>
        <p:spPr>
          <a:xfrm>
            <a:off x="3783065" y="5415797"/>
            <a:ext cx="2355102" cy="338554"/>
          </a:xfrm>
        </p:spPr>
        <p:txBody>
          <a:bodyPr/>
          <a:lstStyle/>
          <a:p>
            <a:r>
              <a:rPr lang="en-US" dirty="0" err="1"/>
              <a:t>Juin</a:t>
            </a:r>
            <a:r>
              <a:rPr lang="en-US" dirty="0"/>
              <a:t> 2021</a:t>
            </a: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7" name="Picture 6">
            <a:extLst>
              <a:ext uri="{FF2B5EF4-FFF2-40B4-BE49-F238E27FC236}">
                <a16:creationId xmlns:a16="http://schemas.microsoft.com/office/drawing/2014/main" id="{89C9AF53-AE28-4582-AFA5-E60F720D12AA}"/>
              </a:ext>
            </a:extLst>
          </p:cNvPr>
          <p:cNvPicPr>
            <a:picLocks noChangeAspect="1"/>
          </p:cNvPicPr>
          <p:nvPr/>
        </p:nvPicPr>
        <p:blipFill>
          <a:blip r:embed="rId3"/>
          <a:stretch>
            <a:fillRect/>
          </a:stretch>
        </p:blipFill>
        <p:spPr>
          <a:xfrm>
            <a:off x="3126482" y="260744"/>
            <a:ext cx="3011685" cy="3036071"/>
          </a:xfrm>
          <a:prstGeom prst="rect">
            <a:avLst/>
          </a:prstGeom>
        </p:spPr>
      </p:pic>
    </p:spTree>
    <p:extLst>
      <p:ext uri="{BB962C8B-B14F-4D97-AF65-F5344CB8AC3E}">
        <p14:creationId xmlns:p14="http://schemas.microsoft.com/office/powerpoint/2010/main" val="104786534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0B48D4-38E0-45BE-ABF4-08BAC19FD4E8}"/>
              </a:ext>
            </a:extLst>
          </p:cNvPr>
          <p:cNvSpPr>
            <a:spLocks noGrp="1"/>
          </p:cNvSpPr>
          <p:nvPr>
            <p:ph type="title"/>
          </p:nvPr>
        </p:nvSpPr>
        <p:spPr>
          <a:xfrm>
            <a:off x="120508" y="230188"/>
            <a:ext cx="6654067" cy="584775"/>
          </a:xfrm>
        </p:spPr>
        <p:txBody>
          <a:bodyPr/>
          <a:lstStyle/>
          <a:p>
            <a:r>
              <a:rPr lang="fr-FR" dirty="0"/>
              <a:t>Formation d'administrateurs Partie 1: Comment ajouter des comptes (passez à 2:00 – 5:00 minutes)</a:t>
            </a:r>
            <a:r>
              <a:rPr lang="en-US" dirty="0"/>
              <a:t> </a:t>
            </a:r>
          </a:p>
        </p:txBody>
      </p:sp>
      <p:pic>
        <p:nvPicPr>
          <p:cNvPr id="3" name="Online Media 2" title="French Admin Part 1 Scorecard Web Platform">
            <a:hlinkClick r:id="" action="ppaction://media"/>
            <a:extLst>
              <a:ext uri="{FF2B5EF4-FFF2-40B4-BE49-F238E27FC236}">
                <a16:creationId xmlns:a16="http://schemas.microsoft.com/office/drawing/2014/main" id="{8E5873E8-D202-496A-9FDE-4C2FB6A4F459}"/>
              </a:ext>
            </a:extLst>
          </p:cNvPr>
          <p:cNvPicPr>
            <a:picLocks noRot="1" noChangeAspect="1"/>
          </p:cNvPicPr>
          <p:nvPr>
            <a:videoFile r:link="rId1"/>
          </p:nvPr>
        </p:nvPicPr>
        <p:blipFill>
          <a:blip r:embed="rId3"/>
          <a:stretch>
            <a:fillRect/>
          </a:stretch>
        </p:blipFill>
        <p:spPr>
          <a:xfrm>
            <a:off x="105008" y="950534"/>
            <a:ext cx="8856430" cy="5003883"/>
          </a:xfrm>
          <a:prstGeom prst="rect">
            <a:avLst/>
          </a:prstGeom>
        </p:spPr>
      </p:pic>
      <p:sp>
        <p:nvSpPr>
          <p:cNvPr id="6" name="TextBox 5">
            <a:extLst>
              <a:ext uri="{FF2B5EF4-FFF2-40B4-BE49-F238E27FC236}">
                <a16:creationId xmlns:a16="http://schemas.microsoft.com/office/drawing/2014/main" id="{C39BDC17-56AB-4675-B453-312216EBADF8}"/>
              </a:ext>
            </a:extLst>
          </p:cNvPr>
          <p:cNvSpPr txBox="1"/>
          <p:nvPr/>
        </p:nvSpPr>
        <p:spPr>
          <a:xfrm>
            <a:off x="97972" y="5977027"/>
            <a:ext cx="4493622" cy="338554"/>
          </a:xfrm>
          <a:prstGeom prst="rect">
            <a:avLst/>
          </a:prstGeom>
          <a:noFill/>
        </p:spPr>
        <p:txBody>
          <a:bodyPr wrap="square">
            <a:spAutoFit/>
          </a:bodyPr>
          <a:lstStyle/>
          <a:p>
            <a:r>
              <a:rPr lang="en-US" dirty="0" err="1">
                <a:hlinkClick r:id="rId4">
                  <a:extLst>
                    <a:ext uri="{A12FA001-AC4F-418D-AE19-62706E023703}">
                      <ahyp:hlinkClr xmlns:ahyp="http://schemas.microsoft.com/office/drawing/2018/hyperlinkcolor" val="tx"/>
                    </a:ext>
                  </a:extLst>
                </a:hlinkClick>
              </a:rPr>
              <a:t>Télécharger</a:t>
            </a:r>
            <a:r>
              <a:rPr lang="en-US" dirty="0">
                <a:hlinkClick r:id="rId4">
                  <a:extLst>
                    <a:ext uri="{A12FA001-AC4F-418D-AE19-62706E023703}">
                      <ahyp:hlinkClr xmlns:ahyp="http://schemas.microsoft.com/office/drawing/2018/hyperlinkcolor" val="tx"/>
                    </a:ext>
                  </a:extLst>
                </a:hlinkClick>
              </a:rPr>
              <a:t> la video</a:t>
            </a:r>
            <a:endParaRPr lang="en-US" dirty="0"/>
          </a:p>
        </p:txBody>
      </p:sp>
    </p:spTree>
    <p:extLst>
      <p:ext uri="{BB962C8B-B14F-4D97-AF65-F5344CB8AC3E}">
        <p14:creationId xmlns:p14="http://schemas.microsoft.com/office/powerpoint/2010/main" val="24607763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2CD782-4B27-407A-818A-93A758D2AE03}"/>
              </a:ext>
            </a:extLst>
          </p:cNvPr>
          <p:cNvSpPr>
            <a:spLocks noGrp="1"/>
          </p:cNvSpPr>
          <p:nvPr>
            <p:ph type="title"/>
          </p:nvPr>
        </p:nvSpPr>
        <p:spPr>
          <a:xfrm>
            <a:off x="258820" y="161032"/>
            <a:ext cx="8262773" cy="1169551"/>
          </a:xfrm>
        </p:spPr>
        <p:txBody>
          <a:bodyPr/>
          <a:lstStyle/>
          <a:p>
            <a:r>
              <a:rPr lang="fr-FR" dirty="0"/>
              <a:t>Pour ajouter un compte, vous devrez collecter les informations suivantes auprès de chaque personne. Vous pouvez </a:t>
            </a:r>
            <a:r>
              <a:rPr lang="fr-FR" dirty="0">
                <a:solidFill>
                  <a:schemeClr val="accent5">
                    <a:lumMod val="50000"/>
                    <a:lumOff val="50000"/>
                  </a:schemeClr>
                </a:solidFill>
                <a:hlinkClick r:id="rId2">
                  <a:extLst>
                    <a:ext uri="{A12FA001-AC4F-418D-AE19-62706E023703}">
                      <ahyp:hlinkClr xmlns:ahyp="http://schemas.microsoft.com/office/drawing/2018/hyperlinkcolor" val="tx"/>
                    </a:ext>
                  </a:extLst>
                </a:hlinkClick>
              </a:rPr>
              <a:t>télécharger un </a:t>
            </a:r>
            <a:r>
              <a:rPr lang="fr-FR" dirty="0" err="1">
                <a:solidFill>
                  <a:schemeClr val="accent5">
                    <a:lumMod val="50000"/>
                    <a:lumOff val="50000"/>
                  </a:schemeClr>
                </a:solidFill>
                <a:hlinkClick r:id="rId2">
                  <a:extLst>
                    <a:ext uri="{A12FA001-AC4F-418D-AE19-62706E023703}">
                      <ahyp:hlinkClr xmlns:ahyp="http://schemas.microsoft.com/office/drawing/2018/hyperlinkcolor" val="tx"/>
                    </a:ext>
                  </a:extLst>
                </a:hlinkClick>
              </a:rPr>
              <a:t>excel</a:t>
            </a:r>
            <a:r>
              <a:rPr lang="fr-FR" dirty="0">
                <a:solidFill>
                  <a:schemeClr val="accent5">
                    <a:lumMod val="50000"/>
                    <a:lumOff val="50000"/>
                  </a:schemeClr>
                </a:solidFill>
                <a:hlinkClick r:id="rId2">
                  <a:extLst>
                    <a:ext uri="{A12FA001-AC4F-418D-AE19-62706E023703}">
                      <ahyp:hlinkClr xmlns:ahyp="http://schemas.microsoft.com/office/drawing/2018/hyperlinkcolor" val="tx"/>
                    </a:ext>
                  </a:extLst>
                </a:hlinkClick>
              </a:rPr>
              <a:t> </a:t>
            </a:r>
            <a:r>
              <a:rPr lang="fr-FR" dirty="0"/>
              <a:t>pour collecter les informations nécessaires pour ajouter des comptes</a:t>
            </a:r>
            <a:endParaRPr lang="en-US" dirty="0"/>
          </a:p>
        </p:txBody>
      </p:sp>
      <p:graphicFrame>
        <p:nvGraphicFramePr>
          <p:cNvPr id="5" name="Table 4">
            <a:extLst>
              <a:ext uri="{FF2B5EF4-FFF2-40B4-BE49-F238E27FC236}">
                <a16:creationId xmlns:a16="http://schemas.microsoft.com/office/drawing/2014/main" id="{4EC45815-B9D2-42E5-916D-770CDADC28FB}"/>
              </a:ext>
            </a:extLst>
          </p:cNvPr>
          <p:cNvGraphicFramePr>
            <a:graphicFrameLocks noGrp="1"/>
          </p:cNvGraphicFramePr>
          <p:nvPr>
            <p:extLst>
              <p:ext uri="{D42A27DB-BD31-4B8C-83A1-F6EECF244321}">
                <p14:modId xmlns:p14="http://schemas.microsoft.com/office/powerpoint/2010/main" val="3160004354"/>
              </p:ext>
            </p:extLst>
          </p:nvPr>
        </p:nvGraphicFramePr>
        <p:xfrm>
          <a:off x="1" y="2185339"/>
          <a:ext cx="8898109" cy="3181183"/>
        </p:xfrm>
        <a:graphic>
          <a:graphicData uri="http://schemas.openxmlformats.org/drawingml/2006/table">
            <a:tbl>
              <a:tblPr firstRow="1">
                <a:tableStyleId>{00A15C55-8517-42AA-B614-E9B94910E393}</a:tableStyleId>
              </a:tblPr>
              <a:tblGrid>
                <a:gridCol w="1172022">
                  <a:extLst>
                    <a:ext uri="{9D8B030D-6E8A-4147-A177-3AD203B41FA5}">
                      <a16:colId xmlns:a16="http://schemas.microsoft.com/office/drawing/2014/main" val="786952141"/>
                    </a:ext>
                  </a:extLst>
                </a:gridCol>
                <a:gridCol w="1172022">
                  <a:extLst>
                    <a:ext uri="{9D8B030D-6E8A-4147-A177-3AD203B41FA5}">
                      <a16:colId xmlns:a16="http://schemas.microsoft.com/office/drawing/2014/main" val="3483799888"/>
                    </a:ext>
                  </a:extLst>
                </a:gridCol>
                <a:gridCol w="1640126">
                  <a:extLst>
                    <a:ext uri="{9D8B030D-6E8A-4147-A177-3AD203B41FA5}">
                      <a16:colId xmlns:a16="http://schemas.microsoft.com/office/drawing/2014/main" val="275852511"/>
                    </a:ext>
                  </a:extLst>
                </a:gridCol>
                <a:gridCol w="2037861">
                  <a:extLst>
                    <a:ext uri="{9D8B030D-6E8A-4147-A177-3AD203B41FA5}">
                      <a16:colId xmlns:a16="http://schemas.microsoft.com/office/drawing/2014/main" val="2421171324"/>
                    </a:ext>
                  </a:extLst>
                </a:gridCol>
                <a:gridCol w="1349367">
                  <a:extLst>
                    <a:ext uri="{9D8B030D-6E8A-4147-A177-3AD203B41FA5}">
                      <a16:colId xmlns:a16="http://schemas.microsoft.com/office/drawing/2014/main" val="1880516269"/>
                    </a:ext>
                  </a:extLst>
                </a:gridCol>
                <a:gridCol w="1526711">
                  <a:extLst>
                    <a:ext uri="{9D8B030D-6E8A-4147-A177-3AD203B41FA5}">
                      <a16:colId xmlns:a16="http://schemas.microsoft.com/office/drawing/2014/main" val="2238548791"/>
                    </a:ext>
                  </a:extLst>
                </a:gridCol>
              </a:tblGrid>
              <a:tr h="700754">
                <a:tc>
                  <a:txBody>
                    <a:bodyPr/>
                    <a:lstStyle/>
                    <a:p>
                      <a:pPr algn="ctr" fontAlgn="ctr"/>
                      <a:r>
                        <a:rPr lang="en-US" sz="1400" u="none" strike="noStrike">
                          <a:effectLst/>
                        </a:rPr>
                        <a:t>Nom d'utilisateur</a:t>
                      </a:r>
                      <a:endParaRPr lang="en-US" sz="1400" b="1" i="0" u="none" strike="noStrike">
                        <a:solidFill>
                          <a:srgbClr val="000000"/>
                        </a:solidFill>
                        <a:effectLst/>
                        <a:latin typeface="Century Gothic" panose="020B0502020202020204" pitchFamily="34" charset="0"/>
                      </a:endParaRPr>
                    </a:p>
                  </a:txBody>
                  <a:tcPr marL="1398" marR="1398" marT="1398" marB="0" anchor="ctr"/>
                </a:tc>
                <a:tc>
                  <a:txBody>
                    <a:bodyPr/>
                    <a:lstStyle/>
                    <a:p>
                      <a:pPr algn="ctr" fontAlgn="ctr"/>
                      <a:r>
                        <a:rPr lang="en-US" sz="1400" u="none" strike="noStrike">
                          <a:effectLst/>
                        </a:rPr>
                        <a:t>Nom d'affichage</a:t>
                      </a:r>
                      <a:endParaRPr lang="en-US" sz="1400" b="1" i="0" u="none" strike="noStrike">
                        <a:solidFill>
                          <a:srgbClr val="000000"/>
                        </a:solidFill>
                        <a:effectLst/>
                        <a:latin typeface="Century Gothic" panose="020B0502020202020204" pitchFamily="34" charset="0"/>
                      </a:endParaRPr>
                    </a:p>
                  </a:txBody>
                  <a:tcPr marL="1398" marR="1398" marT="1398" marB="0" anchor="ctr"/>
                </a:tc>
                <a:tc>
                  <a:txBody>
                    <a:bodyPr/>
                    <a:lstStyle/>
                    <a:p>
                      <a:pPr algn="ctr" fontAlgn="ctr"/>
                      <a:r>
                        <a:rPr lang="en-US" sz="1400" u="none" strike="noStrike">
                          <a:effectLst/>
                        </a:rPr>
                        <a:t>Address Email</a:t>
                      </a:r>
                      <a:endParaRPr lang="en-US" sz="1400" b="1" i="0" u="none" strike="noStrike">
                        <a:solidFill>
                          <a:srgbClr val="000000"/>
                        </a:solidFill>
                        <a:effectLst/>
                        <a:latin typeface="Century Gothic" panose="020B0502020202020204" pitchFamily="34" charset="0"/>
                      </a:endParaRPr>
                    </a:p>
                  </a:txBody>
                  <a:tcPr marL="1398" marR="1398" marT="1398" marB="0" anchor="ctr"/>
                </a:tc>
                <a:tc>
                  <a:txBody>
                    <a:bodyPr/>
                    <a:lstStyle/>
                    <a:p>
                      <a:pPr algn="ctr" fontAlgn="ctr"/>
                      <a:r>
                        <a:rPr lang="en-US" sz="1400" u="none" strike="noStrike">
                          <a:effectLst/>
                        </a:rPr>
                        <a:t>Organisation/ Designation</a:t>
                      </a:r>
                      <a:endParaRPr lang="en-US" sz="1400" b="1" i="0" u="none" strike="noStrike">
                        <a:solidFill>
                          <a:srgbClr val="000000"/>
                        </a:solidFill>
                        <a:effectLst/>
                        <a:latin typeface="Century Gothic" panose="020B0502020202020204" pitchFamily="34" charset="0"/>
                      </a:endParaRPr>
                    </a:p>
                  </a:txBody>
                  <a:tcPr marL="1398" marR="1398" marT="1398" marB="0" anchor="ctr"/>
                </a:tc>
                <a:tc>
                  <a:txBody>
                    <a:bodyPr/>
                    <a:lstStyle/>
                    <a:p>
                      <a:pPr algn="ctr" fontAlgn="ctr"/>
                      <a:r>
                        <a:rPr lang="en-US" sz="1400" u="none" strike="noStrike">
                          <a:effectLst/>
                        </a:rPr>
                        <a:t>Compte national ou Region</a:t>
                      </a:r>
                      <a:endParaRPr lang="en-US" sz="1400" b="1" i="0" u="none" strike="noStrike">
                        <a:solidFill>
                          <a:srgbClr val="000000"/>
                        </a:solidFill>
                        <a:effectLst/>
                        <a:latin typeface="Century Gothic" panose="020B0502020202020204" pitchFamily="34" charset="0"/>
                      </a:endParaRPr>
                    </a:p>
                  </a:txBody>
                  <a:tcPr marL="1398" marR="1398" marT="1398" marB="0" anchor="ctr"/>
                </a:tc>
                <a:tc>
                  <a:txBody>
                    <a:bodyPr/>
                    <a:lstStyle/>
                    <a:p>
                      <a:pPr algn="ctr" fontAlgn="ctr"/>
                      <a:r>
                        <a:rPr lang="fr-FR" sz="1400" u="none" strike="noStrike">
                          <a:effectLst/>
                        </a:rPr>
                        <a:t>Numéro de Téléphone portable (sans 0)</a:t>
                      </a:r>
                      <a:endParaRPr lang="fr-FR" sz="1400" b="1" i="0" u="none" strike="noStrike">
                        <a:solidFill>
                          <a:srgbClr val="000000"/>
                        </a:solidFill>
                        <a:effectLst/>
                        <a:latin typeface="Century Gothic" panose="020B0502020202020204" pitchFamily="34" charset="0"/>
                      </a:endParaRPr>
                    </a:p>
                  </a:txBody>
                  <a:tcPr marL="1398" marR="1398" marT="1398" marB="0" anchor="ctr"/>
                </a:tc>
                <a:extLst>
                  <a:ext uri="{0D108BD9-81ED-4DB2-BD59-A6C34878D82A}">
                    <a16:rowId xmlns:a16="http://schemas.microsoft.com/office/drawing/2014/main" val="1325233791"/>
                  </a:ext>
                </a:extLst>
              </a:tr>
              <a:tr h="354347">
                <a:tc>
                  <a:txBody>
                    <a:bodyPr/>
                    <a:lstStyle/>
                    <a:p>
                      <a:pPr algn="ctr" fontAlgn="ctr"/>
                      <a:r>
                        <a:rPr lang="en-US" sz="1400" u="none" strike="noStrike">
                          <a:effectLst/>
                        </a:rPr>
                        <a:t>BPierre</a:t>
                      </a:r>
                      <a:endParaRPr lang="en-US" sz="1400" b="1" i="0" u="none" strike="noStrike">
                        <a:solidFill>
                          <a:srgbClr val="000000"/>
                        </a:solidFill>
                        <a:effectLst/>
                        <a:latin typeface="Century Gothic" panose="020B0502020202020204" pitchFamily="34" charset="0"/>
                      </a:endParaRPr>
                    </a:p>
                  </a:txBody>
                  <a:tcPr marL="1398" marR="1398" marT="1398" marB="0" anchor="ctr"/>
                </a:tc>
                <a:tc>
                  <a:txBody>
                    <a:bodyPr/>
                    <a:lstStyle/>
                    <a:p>
                      <a:pPr algn="ctr" fontAlgn="ctr"/>
                      <a:r>
                        <a:rPr lang="en-US" sz="1400" u="none" strike="noStrike">
                          <a:effectLst/>
                        </a:rPr>
                        <a:t>Pierre Baptiste</a:t>
                      </a:r>
                      <a:endParaRPr lang="en-US" sz="1400" b="1" i="0" u="none" strike="noStrike">
                        <a:solidFill>
                          <a:srgbClr val="000000"/>
                        </a:solidFill>
                        <a:effectLst/>
                        <a:latin typeface="Century Gothic" panose="020B0502020202020204" pitchFamily="34" charset="0"/>
                      </a:endParaRPr>
                    </a:p>
                  </a:txBody>
                  <a:tcPr marL="1398" marR="1398" marT="1398" marB="0" anchor="ctr"/>
                </a:tc>
                <a:tc>
                  <a:txBody>
                    <a:bodyPr/>
                    <a:lstStyle/>
                    <a:p>
                      <a:pPr algn="ctr" fontAlgn="ctr"/>
                      <a:r>
                        <a:rPr lang="en-US" sz="1200" u="sng" strike="noStrike" dirty="0">
                          <a:solidFill>
                            <a:schemeClr val="accent5">
                              <a:lumMod val="50000"/>
                              <a:lumOff val="50000"/>
                            </a:schemeClr>
                          </a:solidFill>
                          <a:effectLst/>
                          <a:hlinkClick r:id="rId3">
                            <a:extLst>
                              <a:ext uri="{A12FA001-AC4F-418D-AE19-62706E023703}">
                                <ahyp:hlinkClr xmlns:ahyp="http://schemas.microsoft.com/office/drawing/2018/hyperlinkcolor" val="tx"/>
                              </a:ext>
                            </a:extLst>
                          </a:hlinkClick>
                        </a:rPr>
                        <a:t>pbaptiste@google.com</a:t>
                      </a:r>
                      <a:endParaRPr lang="en-US" sz="1200" b="0" i="0" u="sng" strike="noStrike" dirty="0">
                        <a:solidFill>
                          <a:schemeClr val="accent5">
                            <a:lumMod val="50000"/>
                            <a:lumOff val="50000"/>
                          </a:schemeClr>
                        </a:solidFill>
                        <a:effectLst/>
                        <a:latin typeface="Calibri" panose="020F0502020204030204" pitchFamily="34" charset="0"/>
                      </a:endParaRPr>
                    </a:p>
                  </a:txBody>
                  <a:tcPr marL="1398" marR="1398" marT="1398" marB="0" anchor="ctr"/>
                </a:tc>
                <a:tc>
                  <a:txBody>
                    <a:bodyPr/>
                    <a:lstStyle/>
                    <a:p>
                      <a:pPr algn="ctr" fontAlgn="ctr"/>
                      <a:r>
                        <a:rPr lang="en-US" sz="1400" u="none" strike="noStrike">
                          <a:effectLst/>
                        </a:rPr>
                        <a:t>Coordinateur DS</a:t>
                      </a:r>
                      <a:endParaRPr lang="en-US" sz="1400" b="1" i="0" u="none" strike="noStrike">
                        <a:solidFill>
                          <a:srgbClr val="000000"/>
                        </a:solidFill>
                        <a:effectLst/>
                        <a:latin typeface="Century Gothic" panose="020B0502020202020204" pitchFamily="34" charset="0"/>
                      </a:endParaRPr>
                    </a:p>
                  </a:txBody>
                  <a:tcPr marL="1398" marR="1398" marT="1398" marB="0" anchor="ctr"/>
                </a:tc>
                <a:tc>
                  <a:txBody>
                    <a:bodyPr/>
                    <a:lstStyle/>
                    <a:p>
                      <a:pPr algn="ctr" fontAlgn="ctr"/>
                      <a:r>
                        <a:rPr lang="en-US" sz="1400" u="none" strike="noStrike">
                          <a:effectLst/>
                        </a:rPr>
                        <a:t>Region Bubanza</a:t>
                      </a:r>
                      <a:endParaRPr lang="en-US" sz="1400" b="1" i="0" u="none" strike="noStrike">
                        <a:solidFill>
                          <a:srgbClr val="000000"/>
                        </a:solidFill>
                        <a:effectLst/>
                        <a:latin typeface="Century Gothic" panose="020B0502020202020204" pitchFamily="34" charset="0"/>
                      </a:endParaRPr>
                    </a:p>
                  </a:txBody>
                  <a:tcPr marL="1398" marR="1398" marT="1398" marB="0" anchor="ctr"/>
                </a:tc>
                <a:tc>
                  <a:txBody>
                    <a:bodyPr/>
                    <a:lstStyle/>
                    <a:p>
                      <a:pPr algn="ctr" fontAlgn="ctr"/>
                      <a:r>
                        <a:rPr lang="en-US" sz="1400" u="none" strike="noStrike">
                          <a:effectLst/>
                        </a:rPr>
                        <a:t>78987898</a:t>
                      </a:r>
                      <a:endParaRPr lang="en-US" sz="1400" b="1" i="0" u="none" strike="noStrike" dirty="0">
                        <a:solidFill>
                          <a:srgbClr val="000000"/>
                        </a:solidFill>
                        <a:effectLst/>
                        <a:latin typeface="Century Gothic" panose="020B0502020202020204" pitchFamily="34" charset="0"/>
                      </a:endParaRPr>
                    </a:p>
                  </a:txBody>
                  <a:tcPr marL="1398" marR="1398" marT="1398" marB="0" anchor="ctr"/>
                </a:tc>
                <a:extLst>
                  <a:ext uri="{0D108BD9-81ED-4DB2-BD59-A6C34878D82A}">
                    <a16:rowId xmlns:a16="http://schemas.microsoft.com/office/drawing/2014/main" val="3361053618"/>
                  </a:ext>
                </a:extLst>
              </a:tr>
              <a:tr h="354347">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tc>
                  <a:txBody>
                    <a:bodyPr/>
                    <a:lstStyle/>
                    <a:p>
                      <a:pPr algn="l" fontAlgn="ctr"/>
                      <a:r>
                        <a:rPr lang="en-US" sz="300" u="sng" strike="noStrike">
                          <a:effectLst/>
                        </a:rPr>
                        <a:t> </a:t>
                      </a:r>
                      <a:endParaRPr lang="en-US" sz="300" b="0" i="0" u="sng" strike="noStrike">
                        <a:solidFill>
                          <a:srgbClr val="0563C1"/>
                        </a:solidFill>
                        <a:effectLst/>
                        <a:latin typeface="Calibri" panose="020F0502020204030204" pitchFamily="34" charset="0"/>
                      </a:endParaRPr>
                    </a:p>
                  </a:txBody>
                  <a:tcPr marL="1398" marR="1398" marT="1398" marB="0" anchor="ctr"/>
                </a:tc>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extLst>
                  <a:ext uri="{0D108BD9-81ED-4DB2-BD59-A6C34878D82A}">
                    <a16:rowId xmlns:a16="http://schemas.microsoft.com/office/drawing/2014/main" val="67302578"/>
                  </a:ext>
                </a:extLst>
              </a:tr>
              <a:tr h="354347">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tc>
                  <a:txBody>
                    <a:bodyPr/>
                    <a:lstStyle/>
                    <a:p>
                      <a:pPr algn="l" fontAlgn="ctr"/>
                      <a:r>
                        <a:rPr lang="en-US" sz="300" u="sng" strike="noStrike">
                          <a:effectLst/>
                        </a:rPr>
                        <a:t> </a:t>
                      </a:r>
                      <a:endParaRPr lang="en-US" sz="300" b="0" i="0" u="sng" strike="noStrike">
                        <a:solidFill>
                          <a:srgbClr val="0563C1"/>
                        </a:solidFill>
                        <a:effectLst/>
                        <a:latin typeface="Calibri" panose="020F0502020204030204" pitchFamily="34" charset="0"/>
                      </a:endParaRPr>
                    </a:p>
                  </a:txBody>
                  <a:tcPr marL="1398" marR="1398" marT="1398" marB="0" anchor="ctr"/>
                </a:tc>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extLst>
                  <a:ext uri="{0D108BD9-81ED-4DB2-BD59-A6C34878D82A}">
                    <a16:rowId xmlns:a16="http://schemas.microsoft.com/office/drawing/2014/main" val="2202252356"/>
                  </a:ext>
                </a:extLst>
              </a:tr>
              <a:tr h="354347">
                <a:tc>
                  <a:txBody>
                    <a:bodyPr/>
                    <a:lstStyle/>
                    <a:p>
                      <a:pPr algn="l" fontAlgn="b"/>
                      <a:r>
                        <a:rPr lang="en-US" sz="300" u="none" strike="noStrike">
                          <a:effectLst/>
                        </a:rPr>
                        <a:t> </a:t>
                      </a:r>
                      <a:endParaRPr lang="en-US" sz="300" b="0" i="0" u="none" strike="noStrike">
                        <a:solidFill>
                          <a:srgbClr val="000000"/>
                        </a:solidFill>
                        <a:effectLst/>
                        <a:latin typeface="Calibri" panose="020F0502020204030204" pitchFamily="34" charset="0"/>
                      </a:endParaRPr>
                    </a:p>
                  </a:txBody>
                  <a:tcPr marL="1398" marR="1398" marT="1398" marB="0" anchor="b"/>
                </a:tc>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tc>
                  <a:txBody>
                    <a:bodyPr/>
                    <a:lstStyle/>
                    <a:p>
                      <a:pPr algn="l" fontAlgn="ctr"/>
                      <a:r>
                        <a:rPr lang="en-US" sz="300" u="sng" strike="noStrike">
                          <a:effectLst/>
                        </a:rPr>
                        <a:t> </a:t>
                      </a:r>
                      <a:endParaRPr lang="en-US" sz="300" b="0" i="0" u="sng" strike="noStrike">
                        <a:solidFill>
                          <a:srgbClr val="0563C1"/>
                        </a:solidFill>
                        <a:effectLst/>
                        <a:latin typeface="Calibri" panose="020F0502020204030204" pitchFamily="34" charset="0"/>
                      </a:endParaRPr>
                    </a:p>
                  </a:txBody>
                  <a:tcPr marL="1398" marR="1398" marT="1398" marB="0" anchor="ctr"/>
                </a:tc>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extLst>
                  <a:ext uri="{0D108BD9-81ED-4DB2-BD59-A6C34878D82A}">
                    <a16:rowId xmlns:a16="http://schemas.microsoft.com/office/drawing/2014/main" val="3131423449"/>
                  </a:ext>
                </a:extLst>
              </a:tr>
              <a:tr h="354347">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tc>
                  <a:txBody>
                    <a:bodyPr/>
                    <a:lstStyle/>
                    <a:p>
                      <a:pPr algn="l" fontAlgn="ctr"/>
                      <a:r>
                        <a:rPr lang="en-US" sz="300" u="sng" strike="noStrike">
                          <a:effectLst/>
                        </a:rPr>
                        <a:t> </a:t>
                      </a:r>
                      <a:endParaRPr lang="en-US" sz="300" b="0" i="0" u="sng" strike="noStrike">
                        <a:solidFill>
                          <a:srgbClr val="0563C1"/>
                        </a:solidFill>
                        <a:effectLst/>
                        <a:latin typeface="Calibri" panose="020F0502020204030204" pitchFamily="34" charset="0"/>
                      </a:endParaRPr>
                    </a:p>
                  </a:txBody>
                  <a:tcPr marL="1398" marR="1398" marT="1398" marB="0" anchor="ctr"/>
                </a:tc>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extLst>
                  <a:ext uri="{0D108BD9-81ED-4DB2-BD59-A6C34878D82A}">
                    <a16:rowId xmlns:a16="http://schemas.microsoft.com/office/drawing/2014/main" val="2630640693"/>
                  </a:ext>
                </a:extLst>
              </a:tr>
              <a:tr h="354347">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tc>
                  <a:txBody>
                    <a:bodyPr/>
                    <a:lstStyle/>
                    <a:p>
                      <a:pPr algn="l" fontAlgn="ctr"/>
                      <a:r>
                        <a:rPr lang="en-US" sz="300" u="sng" strike="noStrike">
                          <a:effectLst/>
                        </a:rPr>
                        <a:t> </a:t>
                      </a:r>
                      <a:endParaRPr lang="en-US" sz="300" b="0" i="0" u="sng" strike="noStrike">
                        <a:solidFill>
                          <a:srgbClr val="0563C1"/>
                        </a:solidFill>
                        <a:effectLst/>
                        <a:latin typeface="Calibri" panose="020F0502020204030204" pitchFamily="34" charset="0"/>
                      </a:endParaRPr>
                    </a:p>
                  </a:txBody>
                  <a:tcPr marL="1398" marR="1398" marT="1398" marB="0" anchor="ctr"/>
                </a:tc>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extLst>
                  <a:ext uri="{0D108BD9-81ED-4DB2-BD59-A6C34878D82A}">
                    <a16:rowId xmlns:a16="http://schemas.microsoft.com/office/drawing/2014/main" val="3496210071"/>
                  </a:ext>
                </a:extLst>
              </a:tr>
              <a:tr h="354347">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tc>
                  <a:txBody>
                    <a:bodyPr/>
                    <a:lstStyle/>
                    <a:p>
                      <a:pPr algn="l" fontAlgn="ctr"/>
                      <a:r>
                        <a:rPr lang="en-US" sz="300" u="sng" strike="noStrike">
                          <a:effectLst/>
                        </a:rPr>
                        <a:t> </a:t>
                      </a:r>
                      <a:endParaRPr lang="en-US" sz="300" b="0" i="0" u="sng" strike="noStrike">
                        <a:solidFill>
                          <a:srgbClr val="0563C1"/>
                        </a:solidFill>
                        <a:effectLst/>
                        <a:latin typeface="Calibri" panose="020F0502020204030204" pitchFamily="34" charset="0"/>
                      </a:endParaRPr>
                    </a:p>
                  </a:txBody>
                  <a:tcPr marL="1398" marR="1398" marT="1398" marB="0" anchor="ctr"/>
                </a:tc>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tc>
                  <a:txBody>
                    <a:bodyPr/>
                    <a:lstStyle/>
                    <a:p>
                      <a:pPr algn="l" fontAlgn="ctr"/>
                      <a:r>
                        <a:rPr lang="en-US" sz="400" u="none" strike="noStrike" dirty="0">
                          <a:effectLst/>
                        </a:rPr>
                        <a:t> </a:t>
                      </a:r>
                      <a:endParaRPr lang="en-US" sz="400" b="0" i="0" u="none" strike="noStrike" dirty="0">
                        <a:solidFill>
                          <a:srgbClr val="000000"/>
                        </a:solidFill>
                        <a:effectLst/>
                        <a:latin typeface="Times New Roman" panose="02020603050405020304" pitchFamily="18" charset="0"/>
                      </a:endParaRPr>
                    </a:p>
                  </a:txBody>
                  <a:tcPr marL="1398" marR="1398" marT="1398" marB="0" anchor="ctr"/>
                </a:tc>
                <a:extLst>
                  <a:ext uri="{0D108BD9-81ED-4DB2-BD59-A6C34878D82A}">
                    <a16:rowId xmlns:a16="http://schemas.microsoft.com/office/drawing/2014/main" val="1009360397"/>
                  </a:ext>
                </a:extLst>
              </a:tr>
            </a:tbl>
          </a:graphicData>
        </a:graphic>
      </p:graphicFrame>
      <p:sp>
        <p:nvSpPr>
          <p:cNvPr id="6" name="Title 1">
            <a:extLst>
              <a:ext uri="{FF2B5EF4-FFF2-40B4-BE49-F238E27FC236}">
                <a16:creationId xmlns:a16="http://schemas.microsoft.com/office/drawing/2014/main" id="{2F1D37DB-D05D-4C09-AA59-44375B4ED33C}"/>
              </a:ext>
            </a:extLst>
          </p:cNvPr>
          <p:cNvSpPr txBox="1">
            <a:spLocks/>
          </p:cNvSpPr>
          <p:nvPr/>
        </p:nvSpPr>
        <p:spPr bwMode="auto">
          <a:xfrm>
            <a:off x="1678578" y="5586021"/>
            <a:ext cx="5721530" cy="584775"/>
          </a:xfrm>
          <a:prstGeom prst="rect">
            <a:avLst/>
          </a:prstGeom>
          <a:solidFill>
            <a:srgbClr val="FFC000"/>
          </a:solidFill>
          <a:ln>
            <a:noFill/>
          </a:ln>
          <a:effec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ctr"/>
            <a:r>
              <a:rPr lang="fr-FR" kern="0" dirty="0"/>
              <a:t>Activité : Ajouter des comptes d'utilisateurs pour les personnes de votre région</a:t>
            </a:r>
            <a:endParaRPr lang="en-US" kern="0" dirty="0"/>
          </a:p>
        </p:txBody>
      </p:sp>
    </p:spTree>
    <p:extLst>
      <p:ext uri="{BB962C8B-B14F-4D97-AF65-F5344CB8AC3E}">
        <p14:creationId xmlns:p14="http://schemas.microsoft.com/office/powerpoint/2010/main" val="210953832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0B48D4-38E0-45BE-ABF4-08BAC19FD4E8}"/>
              </a:ext>
            </a:extLst>
          </p:cNvPr>
          <p:cNvSpPr>
            <a:spLocks noGrp="1"/>
          </p:cNvSpPr>
          <p:nvPr>
            <p:ph type="title"/>
          </p:nvPr>
        </p:nvSpPr>
        <p:spPr>
          <a:xfrm>
            <a:off x="120508" y="230188"/>
            <a:ext cx="6654067" cy="292388"/>
          </a:xfrm>
        </p:spPr>
        <p:txBody>
          <a:bodyPr/>
          <a:lstStyle/>
          <a:p>
            <a:r>
              <a:rPr lang="fr-FR" dirty="0"/>
              <a:t>Formation d'administrateurs Partie 2</a:t>
            </a:r>
            <a:endParaRPr lang="en-US" dirty="0"/>
          </a:p>
        </p:txBody>
      </p:sp>
      <p:sp>
        <p:nvSpPr>
          <p:cNvPr id="6" name="TextBox 5">
            <a:extLst>
              <a:ext uri="{FF2B5EF4-FFF2-40B4-BE49-F238E27FC236}">
                <a16:creationId xmlns:a16="http://schemas.microsoft.com/office/drawing/2014/main" id="{C39BDC17-56AB-4675-B453-312216EBADF8}"/>
              </a:ext>
            </a:extLst>
          </p:cNvPr>
          <p:cNvSpPr txBox="1"/>
          <p:nvPr/>
        </p:nvSpPr>
        <p:spPr>
          <a:xfrm>
            <a:off x="97972" y="5930728"/>
            <a:ext cx="4493622" cy="338554"/>
          </a:xfrm>
          <a:prstGeom prst="rect">
            <a:avLst/>
          </a:prstGeom>
          <a:noFill/>
        </p:spPr>
        <p:txBody>
          <a:bodyPr wrap="square">
            <a:spAutoFit/>
          </a:bodyPr>
          <a:lstStyle/>
          <a:p>
            <a:r>
              <a:rPr lang="en-US" dirty="0" err="1">
                <a:hlinkClick r:id="rId3">
                  <a:extLst>
                    <a:ext uri="{A12FA001-AC4F-418D-AE19-62706E023703}">
                      <ahyp:hlinkClr xmlns:ahyp="http://schemas.microsoft.com/office/drawing/2018/hyperlinkcolor" val="tx"/>
                    </a:ext>
                  </a:extLst>
                </a:hlinkClick>
              </a:rPr>
              <a:t>Télécharger</a:t>
            </a:r>
            <a:r>
              <a:rPr lang="en-US" dirty="0">
                <a:hlinkClick r:id="rId3">
                  <a:extLst>
                    <a:ext uri="{A12FA001-AC4F-418D-AE19-62706E023703}">
                      <ahyp:hlinkClr xmlns:ahyp="http://schemas.microsoft.com/office/drawing/2018/hyperlinkcolor" val="tx"/>
                    </a:ext>
                  </a:extLst>
                </a:hlinkClick>
              </a:rPr>
              <a:t> la video</a:t>
            </a:r>
            <a:endParaRPr lang="en-US" dirty="0"/>
          </a:p>
        </p:txBody>
      </p:sp>
      <p:pic>
        <p:nvPicPr>
          <p:cNvPr id="4" name="Online Media 3" title="French Admin Part 2 Scorecard Web Platform">
            <a:hlinkClick r:id="" action="ppaction://media"/>
            <a:extLst>
              <a:ext uri="{FF2B5EF4-FFF2-40B4-BE49-F238E27FC236}">
                <a16:creationId xmlns:a16="http://schemas.microsoft.com/office/drawing/2014/main" id="{6AF58965-E439-4495-8F9F-F6C34A482ADA}"/>
              </a:ext>
            </a:extLst>
          </p:cNvPr>
          <p:cNvPicPr>
            <a:picLocks noRot="1" noChangeAspect="1"/>
          </p:cNvPicPr>
          <p:nvPr>
            <a:videoFile r:link="rId1"/>
          </p:nvPr>
        </p:nvPicPr>
        <p:blipFill>
          <a:blip r:embed="rId4"/>
          <a:stretch>
            <a:fillRect/>
          </a:stretch>
        </p:blipFill>
        <p:spPr>
          <a:xfrm>
            <a:off x="0" y="775199"/>
            <a:ext cx="8961438" cy="5063212"/>
          </a:xfrm>
          <a:prstGeom prst="rect">
            <a:avLst/>
          </a:prstGeom>
        </p:spPr>
      </p:pic>
    </p:spTree>
    <p:extLst>
      <p:ext uri="{BB962C8B-B14F-4D97-AF65-F5344CB8AC3E}">
        <p14:creationId xmlns:p14="http://schemas.microsoft.com/office/powerpoint/2010/main" val="16067322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5956EC-997B-42D1-BD46-8879EB2C874F}"/>
              </a:ext>
            </a:extLst>
          </p:cNvPr>
          <p:cNvSpPr>
            <a:spLocks noGrp="1"/>
          </p:cNvSpPr>
          <p:nvPr>
            <p:ph type="title"/>
          </p:nvPr>
        </p:nvSpPr>
        <p:spPr>
          <a:xfrm>
            <a:off x="902835" y="325657"/>
            <a:ext cx="6654067" cy="292388"/>
          </a:xfrm>
        </p:spPr>
        <p:txBody>
          <a:bodyPr/>
          <a:lstStyle/>
          <a:p>
            <a:r>
              <a:rPr lang="en-US" dirty="0" err="1"/>
              <a:t>Méthodologie</a:t>
            </a:r>
            <a:r>
              <a:rPr lang="en-US" dirty="0"/>
              <a:t>:</a:t>
            </a:r>
          </a:p>
        </p:txBody>
      </p:sp>
      <p:sp>
        <p:nvSpPr>
          <p:cNvPr id="4" name="TextBox 3">
            <a:extLst>
              <a:ext uri="{FF2B5EF4-FFF2-40B4-BE49-F238E27FC236}">
                <a16:creationId xmlns:a16="http://schemas.microsoft.com/office/drawing/2014/main" id="{F7EB6A86-B512-4E5C-8A99-D4AC261C7689}"/>
              </a:ext>
            </a:extLst>
          </p:cNvPr>
          <p:cNvSpPr txBox="1"/>
          <p:nvPr/>
        </p:nvSpPr>
        <p:spPr>
          <a:xfrm>
            <a:off x="574765" y="871568"/>
            <a:ext cx="7968344" cy="5124480"/>
          </a:xfrm>
          <a:prstGeom prst="rect">
            <a:avLst/>
          </a:prstGeom>
          <a:noFill/>
        </p:spPr>
        <p:txBody>
          <a:bodyPr wrap="square">
            <a:spAutoFit/>
          </a:bodyPr>
          <a:lstStyle/>
          <a:p>
            <a:pPr marL="285750" indent="-285750">
              <a:spcBef>
                <a:spcPts val="1200"/>
              </a:spcBef>
              <a:spcAft>
                <a:spcPts val="600"/>
              </a:spcAft>
              <a:buFont typeface="Arial" panose="020B0604020202020204" pitchFamily="34" charset="0"/>
              <a:buChar char="•"/>
            </a:pPr>
            <a:r>
              <a:rPr lang="fr-FR" sz="1800" dirty="0"/>
              <a:t>Chaque atelier dure trois jours.</a:t>
            </a:r>
          </a:p>
          <a:p>
            <a:pPr marL="285750" indent="-285750">
              <a:spcBef>
                <a:spcPts val="1200"/>
              </a:spcBef>
              <a:spcAft>
                <a:spcPts val="600"/>
              </a:spcAft>
              <a:buFont typeface="Arial" panose="020B0604020202020204" pitchFamily="34" charset="0"/>
              <a:buChar char="•"/>
            </a:pPr>
            <a:r>
              <a:rPr lang="fr-FR" sz="1800" dirty="0"/>
              <a:t>Le format de l'atelier est d'utiliser un PowerPoint avec des vidéos pour présenter le matériel.</a:t>
            </a:r>
          </a:p>
          <a:p>
            <a:pPr marL="285750" indent="-285750">
              <a:spcBef>
                <a:spcPts val="1200"/>
              </a:spcBef>
              <a:spcAft>
                <a:spcPts val="600"/>
              </a:spcAft>
              <a:buFont typeface="Arial" panose="020B0604020202020204" pitchFamily="34" charset="0"/>
              <a:buChar char="•"/>
            </a:pPr>
            <a:r>
              <a:rPr lang="fr-FR" sz="1800" dirty="0"/>
              <a:t>Puisque vous allez montrer des vidéos, il est nécessaire de connecter votre ordinateur portable à des haut-parleurs.</a:t>
            </a:r>
          </a:p>
          <a:p>
            <a:pPr marL="285750" indent="-285750">
              <a:spcBef>
                <a:spcPts val="1200"/>
              </a:spcBef>
              <a:spcAft>
                <a:spcPts val="600"/>
              </a:spcAft>
              <a:buFont typeface="Arial" panose="020B0604020202020204" pitchFamily="34" charset="0"/>
              <a:buChar char="•"/>
            </a:pPr>
            <a:r>
              <a:rPr lang="fr-FR" sz="1800" dirty="0"/>
              <a:t>Une partie du travail nécessitera que les participants accèdent à la plate-forme Web de la carte de score à l'aide d'Internet et d'un ordinateur portable.</a:t>
            </a:r>
          </a:p>
          <a:p>
            <a:pPr marL="285750" indent="-285750">
              <a:spcBef>
                <a:spcPts val="1200"/>
              </a:spcBef>
              <a:spcAft>
                <a:spcPts val="600"/>
              </a:spcAft>
              <a:buFont typeface="Arial" panose="020B0604020202020204" pitchFamily="34" charset="0"/>
              <a:buChar char="•"/>
            </a:pPr>
            <a:r>
              <a:rPr lang="fr-FR" sz="1800" dirty="0"/>
              <a:t>La première partie de l'atelier se concentre sur l'enseignement de la théorie de l'utilisation de la carte de score</a:t>
            </a:r>
          </a:p>
          <a:p>
            <a:pPr marL="285750" indent="-285750">
              <a:spcBef>
                <a:spcPts val="1200"/>
              </a:spcBef>
              <a:spcAft>
                <a:spcPts val="600"/>
              </a:spcAft>
              <a:buFont typeface="Arial" panose="020B0604020202020204" pitchFamily="34" charset="0"/>
              <a:buChar char="•"/>
            </a:pPr>
            <a:r>
              <a:rPr lang="fr-FR" sz="1800" dirty="0"/>
              <a:t>La deuxième partie consiste en un travail de groupe technique pour analyser la carte de score et proposer des actions pour résoudre la sous-performance. Cela permettra aux participants d'appliquer ce qu'ils ont appris au cours de l'atelier</a:t>
            </a:r>
          </a:p>
        </p:txBody>
      </p:sp>
    </p:spTree>
    <p:extLst>
      <p:ext uri="{BB962C8B-B14F-4D97-AF65-F5344CB8AC3E}">
        <p14:creationId xmlns:p14="http://schemas.microsoft.com/office/powerpoint/2010/main" val="188700102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CE8E44-B100-46AD-9B38-548DE576A99A}"/>
              </a:ext>
            </a:extLst>
          </p:cNvPr>
          <p:cNvSpPr>
            <a:spLocks noGrp="1"/>
          </p:cNvSpPr>
          <p:nvPr>
            <p:ph type="title"/>
          </p:nvPr>
        </p:nvSpPr>
        <p:spPr>
          <a:xfrm>
            <a:off x="3501483" y="3068349"/>
            <a:ext cx="6654067" cy="615553"/>
          </a:xfrm>
        </p:spPr>
        <p:txBody>
          <a:bodyPr/>
          <a:lstStyle/>
          <a:p>
            <a:r>
              <a:rPr lang="en-US" sz="4000" dirty="0"/>
              <a:t>Jour 2</a:t>
            </a:r>
          </a:p>
        </p:txBody>
      </p:sp>
    </p:spTree>
    <p:extLst>
      <p:ext uri="{BB962C8B-B14F-4D97-AF65-F5344CB8AC3E}">
        <p14:creationId xmlns:p14="http://schemas.microsoft.com/office/powerpoint/2010/main" val="309493449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98161" y="4243090"/>
            <a:ext cx="6858728" cy="1930272"/>
          </a:xfrm>
        </p:spPr>
        <p:txBody>
          <a:bodyPr/>
          <a:lstStyle/>
          <a:p>
            <a:pPr algn="ctr"/>
            <a:r>
              <a:rPr lang="fr-FR" sz="3136" dirty="0">
                <a:solidFill>
                  <a:schemeClr val="tx1"/>
                </a:solidFill>
              </a:rPr>
              <a:t>Partager la carte de score</a:t>
            </a:r>
            <a:br>
              <a:rPr lang="fr-FR" sz="3136" dirty="0">
                <a:solidFill>
                  <a:schemeClr val="tx1"/>
                </a:solidFill>
              </a:rPr>
            </a:br>
            <a:br>
              <a:rPr lang="fr-FR" sz="3136" dirty="0">
                <a:solidFill>
                  <a:schemeClr val="tx1"/>
                </a:solidFill>
              </a:rPr>
            </a:br>
            <a:br>
              <a:rPr lang="fr-FR" sz="3136" dirty="0">
                <a:solidFill>
                  <a:schemeClr val="tx1"/>
                </a:solidFill>
              </a:rPr>
            </a:br>
            <a:endParaRPr lang="en-US" sz="3136" dirty="0">
              <a:solidFill>
                <a:schemeClr val="tx1"/>
              </a:solidFill>
            </a:endParaRPr>
          </a:p>
        </p:txBody>
      </p:sp>
      <p:sp>
        <p:nvSpPr>
          <p:cNvPr id="3" name="Subtitle 2"/>
          <p:cNvSpPr>
            <a:spLocks noGrp="1"/>
          </p:cNvSpPr>
          <p:nvPr>
            <p:ph type="subTitle" idx="1"/>
          </p:nvPr>
        </p:nvSpPr>
        <p:spPr>
          <a:xfrm>
            <a:off x="3671795" y="5378100"/>
            <a:ext cx="2355102" cy="338554"/>
          </a:xfrm>
        </p:spPr>
        <p:txBody>
          <a:bodyPr/>
          <a:lstStyle/>
          <a:p>
            <a:r>
              <a:rPr lang="en-US" dirty="0" err="1"/>
              <a:t>Juin</a:t>
            </a:r>
            <a:r>
              <a:rPr lang="en-US" dirty="0"/>
              <a:t> 2021</a:t>
            </a: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7" name="Picture 6">
            <a:extLst>
              <a:ext uri="{FF2B5EF4-FFF2-40B4-BE49-F238E27FC236}">
                <a16:creationId xmlns:a16="http://schemas.microsoft.com/office/drawing/2014/main" id="{89C9AF53-AE28-4582-AFA5-E60F720D12AA}"/>
              </a:ext>
            </a:extLst>
          </p:cNvPr>
          <p:cNvPicPr>
            <a:picLocks noChangeAspect="1"/>
          </p:cNvPicPr>
          <p:nvPr/>
        </p:nvPicPr>
        <p:blipFill>
          <a:blip r:embed="rId3"/>
          <a:stretch>
            <a:fillRect/>
          </a:stretch>
        </p:blipFill>
        <p:spPr>
          <a:xfrm>
            <a:off x="2821682" y="842043"/>
            <a:ext cx="3011685" cy="3036071"/>
          </a:xfrm>
          <a:prstGeom prst="rect">
            <a:avLst/>
          </a:prstGeom>
        </p:spPr>
      </p:pic>
    </p:spTree>
    <p:extLst>
      <p:ext uri="{BB962C8B-B14F-4D97-AF65-F5344CB8AC3E}">
        <p14:creationId xmlns:p14="http://schemas.microsoft.com/office/powerpoint/2010/main" val="426191847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0B48D4-38E0-45BE-ABF4-08BAC19FD4E8}"/>
              </a:ext>
            </a:extLst>
          </p:cNvPr>
          <p:cNvSpPr>
            <a:spLocks noGrp="1"/>
          </p:cNvSpPr>
          <p:nvPr>
            <p:ph type="title"/>
          </p:nvPr>
        </p:nvSpPr>
        <p:spPr>
          <a:xfrm>
            <a:off x="97972" y="230188"/>
            <a:ext cx="8166352" cy="877163"/>
          </a:xfrm>
        </p:spPr>
        <p:txBody>
          <a:bodyPr/>
          <a:lstStyle/>
          <a:p>
            <a:r>
              <a:rPr lang="fr-FR" dirty="0"/>
              <a:t>Partager votre carte de score avec les décideurs, membres du personnel de programme, membres de la communauté et les partenaires</a:t>
            </a:r>
            <a:endParaRPr lang="en-US" dirty="0"/>
          </a:p>
        </p:txBody>
      </p:sp>
      <p:sp>
        <p:nvSpPr>
          <p:cNvPr id="6" name="TextBox 5">
            <a:extLst>
              <a:ext uri="{FF2B5EF4-FFF2-40B4-BE49-F238E27FC236}">
                <a16:creationId xmlns:a16="http://schemas.microsoft.com/office/drawing/2014/main" id="{C39BDC17-56AB-4675-B453-312216EBADF8}"/>
              </a:ext>
            </a:extLst>
          </p:cNvPr>
          <p:cNvSpPr txBox="1"/>
          <p:nvPr/>
        </p:nvSpPr>
        <p:spPr>
          <a:xfrm>
            <a:off x="97972" y="5977027"/>
            <a:ext cx="4493622" cy="338554"/>
          </a:xfrm>
          <a:prstGeom prst="rect">
            <a:avLst/>
          </a:prstGeom>
          <a:noFill/>
        </p:spPr>
        <p:txBody>
          <a:bodyPr wrap="square">
            <a:spAutoFit/>
          </a:bodyPr>
          <a:lstStyle/>
          <a:p>
            <a:r>
              <a:rPr lang="en-US" dirty="0" err="1">
                <a:hlinkClick r:id="rId3">
                  <a:extLst>
                    <a:ext uri="{A12FA001-AC4F-418D-AE19-62706E023703}">
                      <ahyp:hlinkClr xmlns:ahyp="http://schemas.microsoft.com/office/drawing/2018/hyperlinkcolor" val="tx"/>
                    </a:ext>
                  </a:extLst>
                </a:hlinkClick>
              </a:rPr>
              <a:t>Télécharger</a:t>
            </a:r>
            <a:r>
              <a:rPr lang="en-US" dirty="0">
                <a:hlinkClick r:id="rId3">
                  <a:extLst>
                    <a:ext uri="{A12FA001-AC4F-418D-AE19-62706E023703}">
                      <ahyp:hlinkClr xmlns:ahyp="http://schemas.microsoft.com/office/drawing/2018/hyperlinkcolor" val="tx"/>
                    </a:ext>
                  </a:extLst>
                </a:hlinkClick>
              </a:rPr>
              <a:t> la video</a:t>
            </a:r>
            <a:endParaRPr lang="en-US" dirty="0"/>
          </a:p>
        </p:txBody>
      </p:sp>
      <p:pic>
        <p:nvPicPr>
          <p:cNvPr id="4" name="Online Media 3" title="Partager votre carte de score avec les décideurs">
            <a:hlinkClick r:id="" action="ppaction://media"/>
            <a:extLst>
              <a:ext uri="{FF2B5EF4-FFF2-40B4-BE49-F238E27FC236}">
                <a16:creationId xmlns:a16="http://schemas.microsoft.com/office/drawing/2014/main" id="{31BAD989-40A2-42A1-9219-D1FC840F64DC}"/>
              </a:ext>
            </a:extLst>
          </p:cNvPr>
          <p:cNvPicPr>
            <a:picLocks noRot="1" noChangeAspect="1"/>
          </p:cNvPicPr>
          <p:nvPr>
            <a:videoFile r:link="rId1"/>
          </p:nvPr>
        </p:nvPicPr>
        <p:blipFill>
          <a:blip r:embed="rId4"/>
          <a:stretch>
            <a:fillRect/>
          </a:stretch>
        </p:blipFill>
        <p:spPr>
          <a:xfrm>
            <a:off x="458579" y="1307939"/>
            <a:ext cx="7929566" cy="4669088"/>
          </a:xfrm>
          <a:prstGeom prst="rect">
            <a:avLst/>
          </a:prstGeom>
        </p:spPr>
      </p:pic>
    </p:spTree>
    <p:extLst>
      <p:ext uri="{BB962C8B-B14F-4D97-AF65-F5344CB8AC3E}">
        <p14:creationId xmlns:p14="http://schemas.microsoft.com/office/powerpoint/2010/main" val="39132890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81B545BD-CC38-4B25-AF2A-F926DFA8DAFC}"/>
              </a:ext>
            </a:extLst>
          </p:cNvPr>
          <p:cNvSpPr/>
          <p:nvPr/>
        </p:nvSpPr>
        <p:spPr>
          <a:xfrm>
            <a:off x="0" y="1442564"/>
            <a:ext cx="8961438" cy="893649"/>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430887"/>
          </a:xfrm>
        </p:spPr>
        <p:txBody>
          <a:bodyPr vert="horz" wrap="square" lIns="0" tIns="0" rIns="0" bIns="0" numCol="1" anchor="t" anchorCtr="0" compatLnSpc="1">
            <a:prstTxWarp prst="textNoShape">
              <a:avLst/>
            </a:prstTxWarp>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sz="2800" dirty="0"/>
              <a:t>Avantages du partage de la carte de score</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Pourquoi il est important de partager la carte de score</a:t>
            </a:r>
          </a:p>
        </p:txBody>
      </p:sp>
      <p:sp>
        <p:nvSpPr>
          <p:cNvPr id="17" name="Text Placeholder 5">
            <a:extLst>
              <a:ext uri="{FF2B5EF4-FFF2-40B4-BE49-F238E27FC236}">
                <a16:creationId xmlns:a16="http://schemas.microsoft.com/office/drawing/2014/main" id="{40A7CFFF-EA53-4C8E-90DA-1AC71A5D394A}"/>
              </a:ext>
            </a:extLst>
          </p:cNvPr>
          <p:cNvSpPr>
            <a:spLocks noGrp="1"/>
          </p:cNvSpPr>
          <p:nvPr>
            <p:ph type="body" sz="quarter" idx="10"/>
          </p:nvPr>
        </p:nvSpPr>
        <p:spPr>
          <a:xfrm>
            <a:off x="417866" y="1448515"/>
            <a:ext cx="8392537" cy="897875"/>
          </a:xfrm>
        </p:spPr>
        <p:txBody>
          <a:bodyPr/>
          <a:lstStyle/>
          <a:p>
            <a:pPr>
              <a:lnSpc>
                <a:spcPts val="2352"/>
              </a:lnSpc>
              <a:spcAft>
                <a:spcPts val="588"/>
              </a:spcAft>
            </a:pPr>
            <a:r>
              <a:rPr lang="fr-FR" sz="1764" dirty="0">
                <a:solidFill>
                  <a:schemeClr val="bg1"/>
                </a:solidFill>
              </a:rPr>
              <a:t>La carte de score informe les hauts dirigeants politiques et les intervenants techniques et leur permet de dynamiser l’action et de renforcer la redevabilité à tous les niveaux</a:t>
            </a:r>
          </a:p>
        </p:txBody>
      </p:sp>
      <p:graphicFrame>
        <p:nvGraphicFramePr>
          <p:cNvPr id="2" name="Table 2">
            <a:extLst>
              <a:ext uri="{FF2B5EF4-FFF2-40B4-BE49-F238E27FC236}">
                <a16:creationId xmlns:a16="http://schemas.microsoft.com/office/drawing/2014/main" id="{3DB485D8-592C-41AA-BF83-7DC43D28C4C2}"/>
              </a:ext>
            </a:extLst>
          </p:cNvPr>
          <p:cNvGraphicFramePr>
            <a:graphicFrameLocks noGrp="1"/>
          </p:cNvGraphicFramePr>
          <p:nvPr/>
        </p:nvGraphicFramePr>
        <p:xfrm>
          <a:off x="448072" y="2476510"/>
          <a:ext cx="8065294" cy="3802198"/>
        </p:xfrm>
        <a:graphic>
          <a:graphicData uri="http://schemas.openxmlformats.org/drawingml/2006/table">
            <a:tbl>
              <a:tblPr firstRow="1" bandRow="1">
                <a:tableStyleId>{F5AB1C69-6EDB-4FF4-983F-18BD219EF322}</a:tableStyleId>
              </a:tblPr>
              <a:tblGrid>
                <a:gridCol w="3190272">
                  <a:extLst>
                    <a:ext uri="{9D8B030D-6E8A-4147-A177-3AD203B41FA5}">
                      <a16:colId xmlns:a16="http://schemas.microsoft.com/office/drawing/2014/main" val="1626781027"/>
                    </a:ext>
                  </a:extLst>
                </a:gridCol>
                <a:gridCol w="4875022">
                  <a:extLst>
                    <a:ext uri="{9D8B030D-6E8A-4147-A177-3AD203B41FA5}">
                      <a16:colId xmlns:a16="http://schemas.microsoft.com/office/drawing/2014/main" val="3864351043"/>
                    </a:ext>
                  </a:extLst>
                </a:gridCol>
              </a:tblGrid>
              <a:tr h="363436">
                <a:tc>
                  <a:txBody>
                    <a:bodyPr/>
                    <a:lstStyle/>
                    <a:p>
                      <a:r>
                        <a:rPr lang="fr-FR" sz="1600" dirty="0">
                          <a:latin typeface="Arial" panose="020B0604020202020204" pitchFamily="34" charset="0"/>
                          <a:cs typeface="Arial" panose="020B0604020202020204" pitchFamily="34" charset="0"/>
                        </a:rPr>
                        <a:t>Audience</a:t>
                      </a:r>
                    </a:p>
                  </a:txBody>
                  <a:tcPr marL="89614" marR="89614" marT="44807" marB="44807" anchor="ctr"/>
                </a:tc>
                <a:tc>
                  <a:txBody>
                    <a:bodyPr/>
                    <a:lstStyle/>
                    <a:p>
                      <a:r>
                        <a:rPr lang="fr-FR" sz="1600" dirty="0">
                          <a:latin typeface="Arial" panose="020B0604020202020204" pitchFamily="34" charset="0"/>
                          <a:cs typeface="Arial" panose="020B0604020202020204" pitchFamily="34" charset="0"/>
                        </a:rPr>
                        <a:t>Avantages</a:t>
                      </a:r>
                    </a:p>
                  </a:txBody>
                  <a:tcPr marL="89614" marR="89614" marT="44807" marB="44807" anchor="ctr"/>
                </a:tc>
                <a:extLst>
                  <a:ext uri="{0D108BD9-81ED-4DB2-BD59-A6C34878D82A}">
                    <a16:rowId xmlns:a16="http://schemas.microsoft.com/office/drawing/2014/main" val="458275634"/>
                  </a:ext>
                </a:extLst>
              </a:tr>
              <a:tr h="1762416">
                <a:tc>
                  <a:txBody>
                    <a:bodyPr/>
                    <a:lstStyle/>
                    <a:p>
                      <a:r>
                        <a:rPr lang="fr-FR" sz="1600" b="1" dirty="0">
                          <a:solidFill>
                            <a:schemeClr val="bg2">
                              <a:lumMod val="10000"/>
                            </a:schemeClr>
                          </a:solidFill>
                          <a:latin typeface="Arial" panose="020B0604020202020204" pitchFamily="34" charset="0"/>
                          <a:cs typeface="Arial" panose="020B0604020202020204" pitchFamily="34" charset="0"/>
                        </a:rPr>
                        <a:t>Dirigeants politiques et ministériels</a:t>
                      </a:r>
                    </a:p>
                    <a:p>
                      <a:r>
                        <a:rPr lang="fr-FR" sz="1600" dirty="0">
                          <a:solidFill>
                            <a:schemeClr val="bg2">
                              <a:lumMod val="10000"/>
                            </a:schemeClr>
                          </a:solidFill>
                          <a:latin typeface="Arial" panose="020B0604020202020204" pitchFamily="34" charset="0"/>
                          <a:cs typeface="Arial" panose="020B0604020202020204" pitchFamily="34" charset="0"/>
                        </a:rPr>
                        <a:t>Par ex.: ministres de la santé, politiciens, haute direction des ministères concernés, administrateurs et personnel des programmes</a:t>
                      </a:r>
                    </a:p>
                  </a:txBody>
                  <a:tcPr marL="89614" marR="89614" marT="44807" marB="44807"/>
                </a:tc>
                <a:tc>
                  <a:txBody>
                    <a:bodyPr/>
                    <a:lstStyle/>
                    <a:p>
                      <a:r>
                        <a:rPr lang="fr-FR" sz="1600" dirty="0">
                          <a:solidFill>
                            <a:schemeClr val="bg2">
                              <a:lumMod val="10000"/>
                            </a:schemeClr>
                          </a:solidFill>
                          <a:latin typeface="Arial" panose="020B0604020202020204" pitchFamily="34" charset="0"/>
                          <a:cs typeface="Arial" panose="020B0604020202020204" pitchFamily="34" charset="0"/>
                        </a:rPr>
                        <a:t>La carte de score les informe des progrès réalisés par rapport aux priorités nationales et dans la résolution des goulots d’étranglement à l'origine de sous-performances.</a:t>
                      </a:r>
                    </a:p>
                    <a:p>
                      <a:endParaRPr lang="en-US" sz="1600" dirty="0">
                        <a:solidFill>
                          <a:schemeClr val="bg2">
                            <a:lumMod val="10000"/>
                          </a:schemeClr>
                        </a:solidFill>
                        <a:latin typeface="Arial" panose="020B0604020202020204" pitchFamily="34" charset="0"/>
                        <a:cs typeface="Arial" panose="020B0604020202020204" pitchFamily="34" charset="0"/>
                      </a:endParaRPr>
                    </a:p>
                  </a:txBody>
                  <a:tcPr marL="89614" marR="89614" marT="44807" marB="44807"/>
                </a:tc>
                <a:extLst>
                  <a:ext uri="{0D108BD9-81ED-4DB2-BD59-A6C34878D82A}">
                    <a16:rowId xmlns:a16="http://schemas.microsoft.com/office/drawing/2014/main" val="965587507"/>
                  </a:ext>
                </a:extLst>
              </a:tr>
              <a:tr h="806529">
                <a:tc>
                  <a:txBody>
                    <a:bodyPr/>
                    <a:lstStyle/>
                    <a:p>
                      <a:r>
                        <a:rPr lang="fr-FR" sz="1600" b="1" dirty="0">
                          <a:solidFill>
                            <a:schemeClr val="bg2">
                              <a:lumMod val="10000"/>
                            </a:schemeClr>
                          </a:solidFill>
                          <a:latin typeface="Arial" panose="020B0604020202020204" pitchFamily="34" charset="0"/>
                          <a:cs typeface="Arial" panose="020B0604020202020204" pitchFamily="34" charset="0"/>
                        </a:rPr>
                        <a:t>Dirigeants et membres des communautés</a:t>
                      </a:r>
                    </a:p>
                  </a:txBody>
                  <a:tcPr marL="89614" marR="89614" marT="44807" marB="44807"/>
                </a:tc>
                <a:tc>
                  <a:txBody>
                    <a:bodyPr/>
                    <a:lstStyle/>
                    <a:p>
                      <a:r>
                        <a:rPr lang="fr-FR" sz="1600" dirty="0">
                          <a:solidFill>
                            <a:schemeClr val="bg2">
                              <a:lumMod val="10000"/>
                            </a:schemeClr>
                          </a:solidFill>
                          <a:latin typeface="Arial" panose="020B0604020202020204" pitchFamily="34" charset="0"/>
                          <a:cs typeface="Arial" panose="020B0604020202020204" pitchFamily="34" charset="0"/>
                        </a:rPr>
                        <a:t>La carte de score les encourage à participer à la résolution des problèmes et à améliorer les performances des indicateurs.</a:t>
                      </a:r>
                    </a:p>
                  </a:txBody>
                  <a:tcPr marL="89614" marR="89614" marT="44807" marB="44807"/>
                </a:tc>
                <a:extLst>
                  <a:ext uri="{0D108BD9-81ED-4DB2-BD59-A6C34878D82A}">
                    <a16:rowId xmlns:a16="http://schemas.microsoft.com/office/drawing/2014/main" val="3283392515"/>
                  </a:ext>
                </a:extLst>
              </a:tr>
              <a:tr h="806529">
                <a:tc>
                  <a:txBody>
                    <a:bodyPr/>
                    <a:lstStyle/>
                    <a:p>
                      <a:r>
                        <a:rPr lang="fr-FR" sz="1600" b="1" dirty="0">
                          <a:solidFill>
                            <a:schemeClr val="bg2">
                              <a:lumMod val="10000"/>
                            </a:schemeClr>
                          </a:solidFill>
                          <a:latin typeface="Arial" panose="020B0604020202020204" pitchFamily="34" charset="0"/>
                          <a:cs typeface="Arial" panose="020B0604020202020204" pitchFamily="34" charset="0"/>
                        </a:rPr>
                        <a:t>Organisations partenaires</a:t>
                      </a:r>
                    </a:p>
                  </a:txBody>
                  <a:tcPr marL="89614" marR="89614" marT="44807" marB="44807"/>
                </a:tc>
                <a:tc>
                  <a:txBody>
                    <a:bodyPr/>
                    <a:lstStyle/>
                    <a:p>
                      <a:r>
                        <a:rPr lang="fr-FR" sz="1600" dirty="0">
                          <a:solidFill>
                            <a:schemeClr val="bg2">
                              <a:lumMod val="10000"/>
                            </a:schemeClr>
                          </a:solidFill>
                          <a:latin typeface="Arial" panose="020B0604020202020204" pitchFamily="34" charset="0"/>
                          <a:cs typeface="Arial" panose="020B0604020202020204" pitchFamily="34" charset="0"/>
                        </a:rPr>
                        <a:t>La carte de score les aide à identifier les indicateurs sous-performants sur les plans où ils pourraient aider les pays à améliorer leurs performances.</a:t>
                      </a:r>
                    </a:p>
                  </a:txBody>
                  <a:tcPr marL="89614" marR="89614" marT="44807" marB="44807"/>
                </a:tc>
                <a:extLst>
                  <a:ext uri="{0D108BD9-81ED-4DB2-BD59-A6C34878D82A}">
                    <a16:rowId xmlns:a16="http://schemas.microsoft.com/office/drawing/2014/main" val="735832889"/>
                  </a:ext>
                </a:extLst>
              </a:tr>
            </a:tbl>
          </a:graphicData>
        </a:graphic>
      </p:graphicFrame>
    </p:spTree>
    <p:custDataLst>
      <p:tags r:id="rId1"/>
    </p:custDataLst>
    <p:extLst>
      <p:ext uri="{BB962C8B-B14F-4D97-AF65-F5344CB8AC3E}">
        <p14:creationId xmlns:p14="http://schemas.microsoft.com/office/powerpoint/2010/main" val="280567850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492443"/>
          </a:xfrm>
        </p:spPr>
        <p:txBody>
          <a:bodyPr vert="horz" wrap="square" lIns="0" tIns="0" rIns="0" bIns="0" numCol="1" anchor="t" anchorCtr="0" compatLnSpc="1">
            <a:prstTxWarp prst="textNoShape">
              <a:avLst/>
            </a:prstTxWarp>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Partager l’analyse de la carte de score</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Comment partager la carte de score</a:t>
            </a:r>
          </a:p>
        </p:txBody>
      </p:sp>
      <p:sp>
        <p:nvSpPr>
          <p:cNvPr id="4" name="Text Placeholder 5">
            <a:extLst>
              <a:ext uri="{FF2B5EF4-FFF2-40B4-BE49-F238E27FC236}">
                <a16:creationId xmlns:a16="http://schemas.microsoft.com/office/drawing/2014/main" id="{1EF3395C-FCCB-4B2A-9C91-9BD40C0EE2DD}"/>
              </a:ext>
            </a:extLst>
          </p:cNvPr>
          <p:cNvSpPr txBox="1">
            <a:spLocks/>
          </p:cNvSpPr>
          <p:nvPr/>
        </p:nvSpPr>
        <p:spPr>
          <a:xfrm>
            <a:off x="448072" y="1427596"/>
            <a:ext cx="5230862" cy="2975366"/>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ts val="2352"/>
              </a:lnSpc>
              <a:spcAft>
                <a:spcPts val="588"/>
              </a:spcAft>
            </a:pPr>
            <a:r>
              <a:rPr lang="fr-FR" sz="1764" dirty="0">
                <a:solidFill>
                  <a:schemeClr val="bg2">
                    <a:lumMod val="10000"/>
                  </a:schemeClr>
                </a:solidFill>
              </a:rPr>
              <a:t>Avec la carte de score, partager une analyse qui mette en évidence :</a:t>
            </a:r>
          </a:p>
          <a:p>
            <a:pPr marL="336042" indent="-336042">
              <a:lnSpc>
                <a:spcPts val="2352"/>
              </a:lnSpc>
              <a:spcAft>
                <a:spcPts val="588"/>
              </a:spcAft>
              <a:buFont typeface="Arial" panose="020B0604020202020204" pitchFamily="34" charset="0"/>
              <a:buChar char="•"/>
            </a:pPr>
            <a:r>
              <a:rPr lang="fr-FR" sz="1764" dirty="0">
                <a:solidFill>
                  <a:schemeClr val="bg2">
                    <a:lumMod val="10000"/>
                  </a:schemeClr>
                </a:solidFill>
              </a:rPr>
              <a:t>les grandes priorités identifiées d’après les données de la carte de score. Par exemple, dans quel district faut-il introduire une intervention ?</a:t>
            </a:r>
          </a:p>
          <a:p>
            <a:pPr marL="336042" indent="-336042">
              <a:lnSpc>
                <a:spcPts val="2352"/>
              </a:lnSpc>
              <a:spcAft>
                <a:spcPts val="588"/>
              </a:spcAft>
              <a:buFont typeface="Arial" panose="020B0604020202020204" pitchFamily="34" charset="0"/>
              <a:buChar char="•"/>
            </a:pPr>
            <a:r>
              <a:rPr lang="fr-FR" sz="1764" dirty="0">
                <a:solidFill>
                  <a:schemeClr val="bg2">
                    <a:lumMod val="10000"/>
                  </a:schemeClr>
                </a:solidFill>
              </a:rPr>
              <a:t>les causes des indicateurs sous-performants. Pourquoi ce problème se pose-t-il ?</a:t>
            </a:r>
          </a:p>
          <a:p>
            <a:pPr marL="336042" indent="-336042">
              <a:lnSpc>
                <a:spcPts val="2352"/>
              </a:lnSpc>
              <a:spcAft>
                <a:spcPts val="588"/>
              </a:spcAft>
              <a:buFont typeface="Arial" panose="020B0604020202020204" pitchFamily="34" charset="0"/>
              <a:buChar char="•"/>
            </a:pPr>
            <a:r>
              <a:rPr lang="fr-FR" sz="1764" dirty="0">
                <a:solidFill>
                  <a:schemeClr val="bg2">
                    <a:lumMod val="10000"/>
                  </a:schemeClr>
                </a:solidFill>
              </a:rPr>
              <a:t>les actions proposées qui aideront à résoudre les sous-performances.</a:t>
            </a:r>
          </a:p>
        </p:txBody>
      </p:sp>
      <p:sp>
        <p:nvSpPr>
          <p:cNvPr id="3" name="Rectangle: Rounded Corners 2">
            <a:extLst>
              <a:ext uri="{FF2B5EF4-FFF2-40B4-BE49-F238E27FC236}">
                <a16:creationId xmlns:a16="http://schemas.microsoft.com/office/drawing/2014/main" id="{3E6438A3-E162-45F9-97BD-E7B3374737C5}"/>
              </a:ext>
            </a:extLst>
          </p:cNvPr>
          <p:cNvSpPr/>
          <p:nvPr/>
        </p:nvSpPr>
        <p:spPr>
          <a:xfrm>
            <a:off x="6021187" y="3195848"/>
            <a:ext cx="2492179" cy="1491948"/>
          </a:xfrm>
          <a:prstGeom prst="roundRect">
            <a:avLst>
              <a:gd name="adj" fmla="val 3075"/>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68" b="1" dirty="0">
              <a:solidFill>
                <a:schemeClr val="accent3"/>
              </a:solidFill>
              <a:latin typeface="Arial" panose="020B0604020202020204" pitchFamily="34" charset="0"/>
              <a:cs typeface="Arial" panose="020B0604020202020204" pitchFamily="34" charset="0"/>
            </a:endParaRPr>
          </a:p>
        </p:txBody>
      </p:sp>
      <p:grpSp>
        <p:nvGrpSpPr>
          <p:cNvPr id="7" name="Group 6">
            <a:extLst>
              <a:ext uri="{FF2B5EF4-FFF2-40B4-BE49-F238E27FC236}">
                <a16:creationId xmlns:a16="http://schemas.microsoft.com/office/drawing/2014/main" id="{4EE3FADC-7D0A-4DDD-BAD6-BF044B5348A7}"/>
              </a:ext>
            </a:extLst>
          </p:cNvPr>
          <p:cNvGrpSpPr/>
          <p:nvPr/>
        </p:nvGrpSpPr>
        <p:grpSpPr>
          <a:xfrm>
            <a:off x="6021187" y="1437762"/>
            <a:ext cx="2492179" cy="1491948"/>
            <a:chOff x="6143850" y="1459811"/>
            <a:chExt cx="2542950" cy="1522342"/>
          </a:xfrm>
        </p:grpSpPr>
        <p:sp>
          <p:nvSpPr>
            <p:cNvPr id="8" name="Rectangle: Rounded Corners 7">
              <a:extLst>
                <a:ext uri="{FF2B5EF4-FFF2-40B4-BE49-F238E27FC236}">
                  <a16:creationId xmlns:a16="http://schemas.microsoft.com/office/drawing/2014/main" id="{FF5B5B4E-41AF-443F-B29E-772592C04D8A}"/>
                </a:ext>
              </a:extLst>
            </p:cNvPr>
            <p:cNvSpPr/>
            <p:nvPr/>
          </p:nvSpPr>
          <p:spPr>
            <a:xfrm>
              <a:off x="6143850" y="1459811"/>
              <a:ext cx="2542950" cy="1522342"/>
            </a:xfrm>
            <a:prstGeom prst="roundRect">
              <a:avLst>
                <a:gd name="adj" fmla="val 3075"/>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68" b="1" dirty="0">
                <a:solidFill>
                  <a:schemeClr val="accent3"/>
                </a:solidFill>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BC14024C-13A5-4D43-913F-FFDDAF79808A}"/>
                </a:ext>
              </a:extLst>
            </p:cNvPr>
            <p:cNvPicPr>
              <a:picLocks noChangeAspect="1"/>
            </p:cNvPicPr>
            <p:nvPr/>
          </p:nvPicPr>
          <p:blipFill>
            <a:blip r:embed="rId3"/>
            <a:stretch>
              <a:fillRect/>
            </a:stretch>
          </p:blipFill>
          <p:spPr>
            <a:xfrm>
              <a:off x="6195525" y="1513100"/>
              <a:ext cx="2444622" cy="1418253"/>
            </a:xfrm>
            <a:prstGeom prst="rect">
              <a:avLst/>
            </a:prstGeom>
          </p:spPr>
        </p:pic>
        <p:sp>
          <p:nvSpPr>
            <p:cNvPr id="10" name="Oval 9">
              <a:extLst>
                <a:ext uri="{FF2B5EF4-FFF2-40B4-BE49-F238E27FC236}">
                  <a16:creationId xmlns:a16="http://schemas.microsoft.com/office/drawing/2014/main" id="{193B330E-0AB8-45DD-BADE-C236740D4035}"/>
                </a:ext>
              </a:extLst>
            </p:cNvPr>
            <p:cNvSpPr/>
            <p:nvPr/>
          </p:nvSpPr>
          <p:spPr>
            <a:xfrm>
              <a:off x="7415325" y="2547124"/>
              <a:ext cx="317241" cy="124409"/>
            </a:xfrm>
            <a:prstGeom prst="ellipse">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sp>
          <p:nvSpPr>
            <p:cNvPr id="11" name="Oval 10">
              <a:extLst>
                <a:ext uri="{FF2B5EF4-FFF2-40B4-BE49-F238E27FC236}">
                  <a16:creationId xmlns:a16="http://schemas.microsoft.com/office/drawing/2014/main" id="{E42367AD-6DC1-49AF-90D8-0DBDF95906F9}"/>
                </a:ext>
              </a:extLst>
            </p:cNvPr>
            <p:cNvSpPr/>
            <p:nvPr/>
          </p:nvSpPr>
          <p:spPr>
            <a:xfrm>
              <a:off x="8121335" y="2643541"/>
              <a:ext cx="317241" cy="124409"/>
            </a:xfrm>
            <a:prstGeom prst="ellipse">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sp>
          <p:nvSpPr>
            <p:cNvPr id="12" name="Oval 11">
              <a:extLst>
                <a:ext uri="{FF2B5EF4-FFF2-40B4-BE49-F238E27FC236}">
                  <a16:creationId xmlns:a16="http://schemas.microsoft.com/office/drawing/2014/main" id="{375ACF5E-CEF4-4C7E-B50C-87180619DB10}"/>
                </a:ext>
              </a:extLst>
            </p:cNvPr>
            <p:cNvSpPr/>
            <p:nvPr/>
          </p:nvSpPr>
          <p:spPr>
            <a:xfrm>
              <a:off x="6995454" y="2544013"/>
              <a:ext cx="317241" cy="124409"/>
            </a:xfrm>
            <a:prstGeom prst="ellipse">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grpSp>
      <p:pic>
        <p:nvPicPr>
          <p:cNvPr id="2" name="Picture 1">
            <a:extLst>
              <a:ext uri="{FF2B5EF4-FFF2-40B4-BE49-F238E27FC236}">
                <a16:creationId xmlns:a16="http://schemas.microsoft.com/office/drawing/2014/main" id="{E082A6FE-FA66-4E2E-9E76-2C5B88C67478}"/>
              </a:ext>
            </a:extLst>
          </p:cNvPr>
          <p:cNvPicPr>
            <a:picLocks noChangeAspect="1"/>
          </p:cNvPicPr>
          <p:nvPr/>
        </p:nvPicPr>
        <p:blipFill>
          <a:blip r:embed="rId4"/>
          <a:stretch>
            <a:fillRect/>
          </a:stretch>
        </p:blipFill>
        <p:spPr>
          <a:xfrm>
            <a:off x="6060408" y="3213381"/>
            <a:ext cx="2395814" cy="1438569"/>
          </a:xfrm>
          <a:prstGeom prst="rect">
            <a:avLst/>
          </a:prstGeom>
        </p:spPr>
      </p:pic>
    </p:spTree>
    <p:custDataLst>
      <p:tags r:id="rId1"/>
    </p:custDataLst>
    <p:extLst>
      <p:ext uri="{BB962C8B-B14F-4D97-AF65-F5344CB8AC3E}">
        <p14:creationId xmlns:p14="http://schemas.microsoft.com/office/powerpoint/2010/main" val="341271926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9936" y="687445"/>
            <a:ext cx="8410813" cy="787908"/>
          </a:xfrm>
        </p:spPr>
        <p:txBody>
          <a:bodyPr vert="horz" wrap="square" lIns="0" tIns="0" rIns="0" bIns="0" numCol="1" anchor="t" anchorCtr="0" compatLnSpc="1">
            <a:prstTxWarp prst="textNoShape">
              <a:avLst/>
            </a:prstTxWarp>
            <a:spAutoFit/>
          </a:bodyPr>
          <a:lstStyle>
            <a:lvl1pPr>
              <a:defRPr sz="3200" b="1" baseline="0">
                <a:solidFill>
                  <a:schemeClr val="tx2"/>
                </a:solidFill>
                <a:latin typeface="Arial" panose="020B0604020202020204" pitchFamily="34" charset="0"/>
                <a:cs typeface="Arial" panose="020B0604020202020204" pitchFamily="34" charset="0"/>
              </a:defRPr>
            </a:lvl1pPr>
          </a:lstStyle>
          <a:p>
            <a:pPr>
              <a:lnSpc>
                <a:spcPct val="80000"/>
              </a:lnSpc>
            </a:pPr>
            <a:r>
              <a:rPr lang="fr-FR" dirty="0"/>
              <a:t>Exporter depuis la plateforme Web de la carte de score</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338849"/>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Comment partager la carte de score</a:t>
            </a:r>
          </a:p>
        </p:txBody>
      </p:sp>
      <p:sp>
        <p:nvSpPr>
          <p:cNvPr id="2" name="Rectangle: Rounded Corners 1">
            <a:extLst>
              <a:ext uri="{FF2B5EF4-FFF2-40B4-BE49-F238E27FC236}">
                <a16:creationId xmlns:a16="http://schemas.microsoft.com/office/drawing/2014/main" id="{628374C3-9361-45D2-AAF9-37E8D550099F}"/>
              </a:ext>
            </a:extLst>
          </p:cNvPr>
          <p:cNvSpPr/>
          <p:nvPr/>
        </p:nvSpPr>
        <p:spPr>
          <a:xfrm>
            <a:off x="1730772" y="1518211"/>
            <a:ext cx="2402163" cy="4692059"/>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sp>
        <p:nvSpPr>
          <p:cNvPr id="4" name="Title 4">
            <a:extLst>
              <a:ext uri="{FF2B5EF4-FFF2-40B4-BE49-F238E27FC236}">
                <a16:creationId xmlns:a16="http://schemas.microsoft.com/office/drawing/2014/main" id="{A47E02FD-E8F9-42C1-99C6-6A9C95F47D7E}"/>
              </a:ext>
            </a:extLst>
          </p:cNvPr>
          <p:cNvSpPr txBox="1">
            <a:spLocks/>
          </p:cNvSpPr>
          <p:nvPr/>
        </p:nvSpPr>
        <p:spPr>
          <a:xfrm>
            <a:off x="1730772" y="1917653"/>
            <a:ext cx="2402164" cy="579005"/>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algn="ctr">
              <a:lnSpc>
                <a:spcPct val="80000"/>
              </a:lnSpc>
            </a:pPr>
            <a:r>
              <a:rPr lang="fr-FR" sz="1568" dirty="0">
                <a:solidFill>
                  <a:schemeClr val="accent3"/>
                </a:solidFill>
              </a:rPr>
              <a:t>Envoi de notification par e-mail à tous les comptes</a:t>
            </a:r>
          </a:p>
        </p:txBody>
      </p:sp>
      <p:sp>
        <p:nvSpPr>
          <p:cNvPr id="11" name="Rectangle: Rounded Corners 10">
            <a:extLst>
              <a:ext uri="{FF2B5EF4-FFF2-40B4-BE49-F238E27FC236}">
                <a16:creationId xmlns:a16="http://schemas.microsoft.com/office/drawing/2014/main" id="{436F688B-BF29-4436-9AB1-A111F0E764E3}"/>
              </a:ext>
            </a:extLst>
          </p:cNvPr>
          <p:cNvSpPr/>
          <p:nvPr/>
        </p:nvSpPr>
        <p:spPr>
          <a:xfrm>
            <a:off x="4714203" y="1518211"/>
            <a:ext cx="2402163" cy="4692059"/>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sp>
        <p:nvSpPr>
          <p:cNvPr id="14" name="Title 4">
            <a:extLst>
              <a:ext uri="{FF2B5EF4-FFF2-40B4-BE49-F238E27FC236}">
                <a16:creationId xmlns:a16="http://schemas.microsoft.com/office/drawing/2014/main" id="{79A3B389-F3C2-4D1F-9AF8-5A6C77CB1C2D}"/>
              </a:ext>
            </a:extLst>
          </p:cNvPr>
          <p:cNvSpPr txBox="1">
            <a:spLocks/>
          </p:cNvSpPr>
          <p:nvPr/>
        </p:nvSpPr>
        <p:spPr>
          <a:xfrm>
            <a:off x="4714199" y="1943833"/>
            <a:ext cx="2402163" cy="434349"/>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algn="ctr"/>
            <a:r>
              <a:rPr lang="fr-FR" sz="1568" dirty="0">
                <a:solidFill>
                  <a:schemeClr val="accent3"/>
                </a:solidFill>
              </a:rPr>
              <a:t>Téléchargement </a:t>
            </a:r>
            <a:br>
              <a:rPr lang="fr-FR" sz="1568" dirty="0">
                <a:solidFill>
                  <a:schemeClr val="accent3"/>
                </a:solidFill>
              </a:rPr>
            </a:br>
            <a:r>
              <a:rPr lang="fr-FR" sz="1568" dirty="0">
                <a:solidFill>
                  <a:schemeClr val="accent3"/>
                </a:solidFill>
              </a:rPr>
              <a:t>PDF</a:t>
            </a:r>
          </a:p>
        </p:txBody>
      </p:sp>
      <p:sp>
        <p:nvSpPr>
          <p:cNvPr id="49" name="Rectangle: Rounded Corners 48">
            <a:extLst>
              <a:ext uri="{FF2B5EF4-FFF2-40B4-BE49-F238E27FC236}">
                <a16:creationId xmlns:a16="http://schemas.microsoft.com/office/drawing/2014/main" id="{1791E101-02FF-47D0-B2C9-09DDEBADE14B}"/>
              </a:ext>
            </a:extLst>
          </p:cNvPr>
          <p:cNvSpPr/>
          <p:nvPr/>
        </p:nvSpPr>
        <p:spPr>
          <a:xfrm>
            <a:off x="5308977" y="1538452"/>
            <a:ext cx="1250183" cy="323417"/>
          </a:xfrm>
          <a:prstGeom prst="roundRect">
            <a:avLst>
              <a:gd name="adj" fmla="val 19766"/>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78" b="1" dirty="0">
                <a:latin typeface="Arial" panose="020B0604020202020204" pitchFamily="34" charset="0"/>
                <a:cs typeface="Arial" panose="020B0604020202020204" pitchFamily="34" charset="0"/>
              </a:rPr>
              <a:t>Tous utilisateurs</a:t>
            </a:r>
          </a:p>
        </p:txBody>
      </p:sp>
      <p:sp>
        <p:nvSpPr>
          <p:cNvPr id="51" name="Rectangle: Rounded Corners 50">
            <a:extLst>
              <a:ext uri="{FF2B5EF4-FFF2-40B4-BE49-F238E27FC236}">
                <a16:creationId xmlns:a16="http://schemas.microsoft.com/office/drawing/2014/main" id="{144136BA-813C-44B6-8590-1EF94FAB7C8B}"/>
              </a:ext>
            </a:extLst>
          </p:cNvPr>
          <p:cNvSpPr/>
          <p:nvPr/>
        </p:nvSpPr>
        <p:spPr>
          <a:xfrm>
            <a:off x="2077665" y="1538451"/>
            <a:ext cx="1795917" cy="328858"/>
          </a:xfrm>
          <a:prstGeom prst="roundRect">
            <a:avLst>
              <a:gd name="adj" fmla="val 19766"/>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78" b="1" dirty="0">
                <a:latin typeface="Arial" panose="020B0604020202020204" pitchFamily="34" charset="0"/>
                <a:cs typeface="Arial" panose="020B0604020202020204" pitchFamily="34" charset="0"/>
              </a:rPr>
              <a:t>Administrateurs seulement</a:t>
            </a:r>
          </a:p>
        </p:txBody>
      </p:sp>
      <p:sp>
        <p:nvSpPr>
          <p:cNvPr id="60" name="Text Placeholder 5">
            <a:extLst>
              <a:ext uri="{FF2B5EF4-FFF2-40B4-BE49-F238E27FC236}">
                <a16:creationId xmlns:a16="http://schemas.microsoft.com/office/drawing/2014/main" id="{A83E1A41-4288-42FA-AEF6-199A01B87D42}"/>
              </a:ext>
            </a:extLst>
          </p:cNvPr>
          <p:cNvSpPr txBox="1">
            <a:spLocks/>
          </p:cNvSpPr>
          <p:nvPr/>
        </p:nvSpPr>
        <p:spPr>
          <a:xfrm>
            <a:off x="1823349" y="4101718"/>
            <a:ext cx="2309586" cy="1829899"/>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196"/>
              </a:spcBef>
              <a:spcAft>
                <a:spcPts val="588"/>
              </a:spcAft>
            </a:pPr>
            <a:r>
              <a:rPr lang="fr-FR" sz="1176" dirty="0">
                <a:solidFill>
                  <a:schemeClr val="bg2">
                    <a:lumMod val="10000"/>
                  </a:schemeClr>
                </a:solidFill>
              </a:rPr>
              <a:t>Pour envoyer une notification par e-mail :</a:t>
            </a:r>
          </a:p>
          <a:p>
            <a:pPr marL="178912" indent="-178912">
              <a:lnSpc>
                <a:spcPct val="100000"/>
              </a:lnSpc>
              <a:spcBef>
                <a:spcPts val="196"/>
              </a:spcBef>
              <a:spcAft>
                <a:spcPts val="588"/>
              </a:spcAft>
              <a:buFont typeface="+mj-lt"/>
              <a:buAutoNum type="arabicPeriod"/>
            </a:pPr>
            <a:r>
              <a:rPr lang="fr-FR" sz="1176" dirty="0">
                <a:solidFill>
                  <a:schemeClr val="bg2">
                    <a:lumMod val="10000"/>
                  </a:schemeClr>
                </a:solidFill>
              </a:rPr>
              <a:t>Cliquer sur le bouton</a:t>
            </a:r>
            <a:br>
              <a:rPr lang="fr-FR" sz="1176" dirty="0">
                <a:solidFill>
                  <a:schemeClr val="bg2">
                    <a:lumMod val="10000"/>
                  </a:schemeClr>
                </a:solidFill>
              </a:rPr>
            </a:br>
            <a:r>
              <a:rPr lang="fr-FR" sz="1176" b="1" dirty="0">
                <a:solidFill>
                  <a:schemeClr val="accent3"/>
                </a:solidFill>
              </a:rPr>
              <a:t>Notifications </a:t>
            </a:r>
            <a:r>
              <a:rPr lang="fr-FR" sz="1176" dirty="0">
                <a:solidFill>
                  <a:schemeClr val="bg2">
                    <a:lumMod val="10000"/>
                  </a:schemeClr>
                </a:solidFill>
              </a:rPr>
              <a:t>de la </a:t>
            </a:r>
            <a:br>
              <a:rPr lang="fr-FR" sz="1176" dirty="0">
                <a:solidFill>
                  <a:schemeClr val="bg2">
                    <a:lumMod val="10000"/>
                  </a:schemeClr>
                </a:solidFill>
              </a:rPr>
            </a:br>
            <a:r>
              <a:rPr lang="fr-FR" sz="1176" dirty="0">
                <a:solidFill>
                  <a:schemeClr val="bg2">
                    <a:lumMod val="10000"/>
                  </a:schemeClr>
                </a:solidFill>
              </a:rPr>
              <a:t>plateforme Web de la </a:t>
            </a:r>
            <a:br>
              <a:rPr lang="fr-FR" sz="1176" dirty="0">
                <a:solidFill>
                  <a:schemeClr val="bg2">
                    <a:lumMod val="10000"/>
                  </a:schemeClr>
                </a:solidFill>
              </a:rPr>
            </a:br>
            <a:r>
              <a:rPr lang="fr-FR" sz="1176" dirty="0">
                <a:solidFill>
                  <a:schemeClr val="bg2">
                    <a:lumMod val="10000"/>
                  </a:schemeClr>
                </a:solidFill>
              </a:rPr>
              <a:t>carte de score</a:t>
            </a:r>
          </a:p>
          <a:p>
            <a:pPr marL="178912" indent="-178912">
              <a:lnSpc>
                <a:spcPct val="100000"/>
              </a:lnSpc>
              <a:spcBef>
                <a:spcPts val="196"/>
              </a:spcBef>
              <a:spcAft>
                <a:spcPts val="588"/>
              </a:spcAft>
              <a:buFont typeface="+mj-lt"/>
              <a:buAutoNum type="arabicPeriod"/>
            </a:pPr>
            <a:r>
              <a:rPr lang="fr-FR" sz="1176" dirty="0">
                <a:solidFill>
                  <a:schemeClr val="bg2">
                    <a:lumMod val="10000"/>
                  </a:schemeClr>
                </a:solidFill>
              </a:rPr>
              <a:t>Cliquer sur </a:t>
            </a:r>
            <a:r>
              <a:rPr lang="fr-FR" sz="1176" b="1" dirty="0">
                <a:solidFill>
                  <a:schemeClr val="accent3"/>
                </a:solidFill>
              </a:rPr>
              <a:t>Envoyer</a:t>
            </a:r>
            <a:br>
              <a:rPr lang="fr-FR" sz="1176" dirty="0">
                <a:solidFill>
                  <a:schemeClr val="bg2">
                    <a:lumMod val="10000"/>
                  </a:schemeClr>
                </a:solidFill>
              </a:rPr>
            </a:br>
            <a:r>
              <a:rPr lang="fr-FR" sz="1176" dirty="0">
                <a:solidFill>
                  <a:schemeClr val="bg2">
                    <a:lumMod val="10000"/>
                  </a:schemeClr>
                </a:solidFill>
              </a:rPr>
              <a:t>dans la fenêtre de</a:t>
            </a:r>
            <a:br>
              <a:rPr lang="fr-FR" sz="1176" dirty="0">
                <a:solidFill>
                  <a:schemeClr val="bg2">
                    <a:lumMod val="10000"/>
                  </a:schemeClr>
                </a:solidFill>
              </a:rPr>
            </a:br>
            <a:r>
              <a:rPr lang="fr-FR" sz="1176" dirty="0">
                <a:solidFill>
                  <a:schemeClr val="bg2">
                    <a:lumMod val="10000"/>
                  </a:schemeClr>
                </a:solidFill>
              </a:rPr>
              <a:t>notification générale</a:t>
            </a:r>
          </a:p>
        </p:txBody>
      </p:sp>
      <p:grpSp>
        <p:nvGrpSpPr>
          <p:cNvPr id="61" name="Group 60">
            <a:extLst>
              <a:ext uri="{FF2B5EF4-FFF2-40B4-BE49-F238E27FC236}">
                <a16:creationId xmlns:a16="http://schemas.microsoft.com/office/drawing/2014/main" id="{B10CD93C-1795-41F8-900E-A473A5AC5FFE}"/>
              </a:ext>
            </a:extLst>
          </p:cNvPr>
          <p:cNvGrpSpPr/>
          <p:nvPr/>
        </p:nvGrpSpPr>
        <p:grpSpPr>
          <a:xfrm>
            <a:off x="3724363" y="4653110"/>
            <a:ext cx="271181" cy="273068"/>
            <a:chOff x="3861502" y="32959"/>
            <a:chExt cx="360000" cy="362506"/>
          </a:xfrm>
        </p:grpSpPr>
        <p:sp>
          <p:nvSpPr>
            <p:cNvPr id="62" name="Rectangle: Rounded Corners 61">
              <a:extLst>
                <a:ext uri="{FF2B5EF4-FFF2-40B4-BE49-F238E27FC236}">
                  <a16:creationId xmlns:a16="http://schemas.microsoft.com/office/drawing/2014/main" id="{07BEE739-2109-4FB2-8C87-788622C43E41}"/>
                </a:ext>
              </a:extLst>
            </p:cNvPr>
            <p:cNvSpPr/>
            <p:nvPr/>
          </p:nvSpPr>
          <p:spPr>
            <a:xfrm>
              <a:off x="3861502" y="32959"/>
              <a:ext cx="360000" cy="360000"/>
            </a:xfrm>
            <a:prstGeom prst="roundRect">
              <a:avLst>
                <a:gd name="adj" fmla="val 20855"/>
              </a:avLst>
            </a:prstGeom>
            <a:solidFill>
              <a:schemeClr val="bg1">
                <a:lumMod val="95000"/>
              </a:schemeClr>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pic>
          <p:nvPicPr>
            <p:cNvPr id="63" name="Picture 62" descr="A close up of a logo&#10;&#10;Description automatically generated">
              <a:extLst>
                <a:ext uri="{FF2B5EF4-FFF2-40B4-BE49-F238E27FC236}">
                  <a16:creationId xmlns:a16="http://schemas.microsoft.com/office/drawing/2014/main" id="{8B8350EB-4862-4D92-8583-8B1CFEEE943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61502" y="35465"/>
              <a:ext cx="360000" cy="360000"/>
            </a:xfrm>
            <a:prstGeom prst="rect">
              <a:avLst/>
            </a:prstGeom>
          </p:spPr>
        </p:pic>
      </p:grpSp>
      <p:sp>
        <p:nvSpPr>
          <p:cNvPr id="64" name="Rectangle: Rounded Corners 63">
            <a:extLst>
              <a:ext uri="{FF2B5EF4-FFF2-40B4-BE49-F238E27FC236}">
                <a16:creationId xmlns:a16="http://schemas.microsoft.com/office/drawing/2014/main" id="{51DB8B21-7AA8-4171-8998-BBB52651555D}"/>
              </a:ext>
            </a:extLst>
          </p:cNvPr>
          <p:cNvSpPr/>
          <p:nvPr/>
        </p:nvSpPr>
        <p:spPr>
          <a:xfrm>
            <a:off x="3320980" y="5528177"/>
            <a:ext cx="811955" cy="273068"/>
          </a:xfrm>
          <a:prstGeom prst="roundRect">
            <a:avLst>
              <a:gd name="adj" fmla="val 20855"/>
            </a:avLst>
          </a:prstGeom>
          <a:solidFill>
            <a:srgbClr val="F96507"/>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76" b="1" dirty="0">
                <a:latin typeface="Arial" panose="020B0604020202020204" pitchFamily="34" charset="0"/>
                <a:cs typeface="Arial" panose="020B0604020202020204" pitchFamily="34" charset="0"/>
              </a:rPr>
              <a:t>Envoyer</a:t>
            </a:r>
          </a:p>
        </p:txBody>
      </p:sp>
      <p:sp>
        <p:nvSpPr>
          <p:cNvPr id="66" name="Text Placeholder 5">
            <a:extLst>
              <a:ext uri="{FF2B5EF4-FFF2-40B4-BE49-F238E27FC236}">
                <a16:creationId xmlns:a16="http://schemas.microsoft.com/office/drawing/2014/main" id="{90E4798A-AE5B-4347-A4EF-E041A8F1D591}"/>
              </a:ext>
            </a:extLst>
          </p:cNvPr>
          <p:cNvSpPr txBox="1">
            <a:spLocks/>
          </p:cNvSpPr>
          <p:nvPr/>
        </p:nvSpPr>
        <p:spPr>
          <a:xfrm>
            <a:off x="4806788" y="4101718"/>
            <a:ext cx="2217001" cy="1186418"/>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196"/>
              </a:spcBef>
              <a:spcAft>
                <a:spcPts val="588"/>
              </a:spcAft>
            </a:pPr>
            <a:r>
              <a:rPr lang="fr-FR" sz="1176" dirty="0">
                <a:solidFill>
                  <a:schemeClr val="bg2">
                    <a:lumMod val="10000"/>
                  </a:schemeClr>
                </a:solidFill>
              </a:rPr>
              <a:t>Pour télécharger la carte de score en PDF sur ordinateur :</a:t>
            </a:r>
          </a:p>
          <a:p>
            <a:pPr marL="178912" indent="-178912">
              <a:lnSpc>
                <a:spcPct val="100000"/>
              </a:lnSpc>
              <a:spcBef>
                <a:spcPts val="196"/>
              </a:spcBef>
              <a:spcAft>
                <a:spcPts val="588"/>
              </a:spcAft>
              <a:buFont typeface="+mj-lt"/>
              <a:buAutoNum type="arabicPeriod"/>
            </a:pPr>
            <a:r>
              <a:rPr lang="fr-FR" sz="1176" dirty="0">
                <a:solidFill>
                  <a:schemeClr val="bg2">
                    <a:lumMod val="10000"/>
                  </a:schemeClr>
                </a:solidFill>
              </a:rPr>
              <a:t>Cliquer sur le bouton</a:t>
            </a:r>
            <a:br>
              <a:rPr lang="fr-FR" sz="1176" dirty="0">
                <a:solidFill>
                  <a:schemeClr val="bg2">
                    <a:lumMod val="10000"/>
                  </a:schemeClr>
                </a:solidFill>
              </a:rPr>
            </a:br>
            <a:r>
              <a:rPr lang="fr-FR" sz="1176" b="1" dirty="0">
                <a:solidFill>
                  <a:schemeClr val="accent3"/>
                </a:solidFill>
              </a:rPr>
              <a:t>Exporter </a:t>
            </a:r>
            <a:r>
              <a:rPr lang="fr-FR" sz="1176" dirty="0">
                <a:solidFill>
                  <a:schemeClr val="bg2">
                    <a:lumMod val="10000"/>
                  </a:schemeClr>
                </a:solidFill>
              </a:rPr>
              <a:t>de la </a:t>
            </a:r>
            <a:br>
              <a:rPr lang="fr-FR" sz="1176" dirty="0">
                <a:solidFill>
                  <a:schemeClr val="bg2">
                    <a:lumMod val="10000"/>
                  </a:schemeClr>
                </a:solidFill>
              </a:rPr>
            </a:br>
            <a:r>
              <a:rPr lang="fr-FR" sz="1176" dirty="0">
                <a:solidFill>
                  <a:schemeClr val="bg2">
                    <a:lumMod val="10000"/>
                  </a:schemeClr>
                </a:solidFill>
              </a:rPr>
              <a:t>plateforme Web, depuis</a:t>
            </a:r>
            <a:br>
              <a:rPr lang="fr-FR" sz="1176" dirty="0">
                <a:solidFill>
                  <a:schemeClr val="bg2">
                    <a:lumMod val="10000"/>
                  </a:schemeClr>
                </a:solidFill>
              </a:rPr>
            </a:br>
            <a:r>
              <a:rPr lang="fr-FR" sz="1176" dirty="0">
                <a:solidFill>
                  <a:schemeClr val="bg2">
                    <a:lumMod val="10000"/>
                  </a:schemeClr>
                </a:solidFill>
              </a:rPr>
              <a:t>la barre de navigation</a:t>
            </a:r>
          </a:p>
        </p:txBody>
      </p:sp>
      <p:sp>
        <p:nvSpPr>
          <p:cNvPr id="55" name="Rectangle 54">
            <a:extLst>
              <a:ext uri="{FF2B5EF4-FFF2-40B4-BE49-F238E27FC236}">
                <a16:creationId xmlns:a16="http://schemas.microsoft.com/office/drawing/2014/main" id="{6C2F5601-BF61-413C-8DC6-BE7A10F8A394}"/>
              </a:ext>
            </a:extLst>
          </p:cNvPr>
          <p:cNvSpPr/>
          <p:nvPr/>
        </p:nvSpPr>
        <p:spPr>
          <a:xfrm>
            <a:off x="1823349" y="2476648"/>
            <a:ext cx="2217001" cy="146837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sp>
        <p:nvSpPr>
          <p:cNvPr id="68" name="Rectangle 67">
            <a:extLst>
              <a:ext uri="{FF2B5EF4-FFF2-40B4-BE49-F238E27FC236}">
                <a16:creationId xmlns:a16="http://schemas.microsoft.com/office/drawing/2014/main" id="{32CDBFE3-235C-463E-A6AD-B5CAA5A30533}"/>
              </a:ext>
            </a:extLst>
          </p:cNvPr>
          <p:cNvSpPr/>
          <p:nvPr/>
        </p:nvSpPr>
        <p:spPr>
          <a:xfrm>
            <a:off x="2838817" y="2433808"/>
            <a:ext cx="2217001" cy="151121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pic>
        <p:nvPicPr>
          <p:cNvPr id="74" name="Picture 6">
            <a:extLst>
              <a:ext uri="{FF2B5EF4-FFF2-40B4-BE49-F238E27FC236}">
                <a16:creationId xmlns:a16="http://schemas.microsoft.com/office/drawing/2014/main" id="{DEC4C12A-AE09-4149-AAAD-6DE15DFF8B0C}"/>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1890512" y="3104354"/>
            <a:ext cx="2083760" cy="793728"/>
          </a:xfrm>
          <a:prstGeom prst="rect">
            <a:avLst/>
          </a:prstGeom>
          <a:noFill/>
          <a:extLst>
            <a:ext uri="{909E8E84-426E-40DD-AFC4-6F175D3DCCD1}">
              <a14:hiddenFill xmlns:a14="http://schemas.microsoft.com/office/drawing/2010/main">
                <a:solidFill>
                  <a:srgbClr val="FFFFFF"/>
                </a:solidFill>
              </a14:hiddenFill>
            </a:ext>
          </a:extLst>
        </p:spPr>
      </p:pic>
      <p:sp>
        <p:nvSpPr>
          <p:cNvPr id="76" name="Rectangle 75">
            <a:extLst>
              <a:ext uri="{FF2B5EF4-FFF2-40B4-BE49-F238E27FC236}">
                <a16:creationId xmlns:a16="http://schemas.microsoft.com/office/drawing/2014/main" id="{A4003722-FB5B-460A-BE7F-6AA5CE29F9AD}"/>
              </a:ext>
            </a:extLst>
          </p:cNvPr>
          <p:cNvSpPr/>
          <p:nvPr/>
        </p:nvSpPr>
        <p:spPr>
          <a:xfrm>
            <a:off x="4806780" y="2433808"/>
            <a:ext cx="2217001" cy="151121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pic>
        <p:nvPicPr>
          <p:cNvPr id="78" name="Picture 77">
            <a:extLst>
              <a:ext uri="{FF2B5EF4-FFF2-40B4-BE49-F238E27FC236}">
                <a16:creationId xmlns:a16="http://schemas.microsoft.com/office/drawing/2014/main" id="{9B33AFED-8B6C-4A4D-B2F6-0CD649EEA126}"/>
              </a:ext>
            </a:extLst>
          </p:cNvPr>
          <p:cNvPicPr>
            <a:picLocks noChangeAspect="1"/>
          </p:cNvPicPr>
          <p:nvPr/>
        </p:nvPicPr>
        <p:blipFill>
          <a:blip r:embed="rId5"/>
          <a:stretch>
            <a:fillRect/>
          </a:stretch>
        </p:blipFill>
        <p:spPr>
          <a:xfrm>
            <a:off x="4989639" y="3025361"/>
            <a:ext cx="1851282" cy="296328"/>
          </a:xfrm>
          <a:prstGeom prst="rect">
            <a:avLst/>
          </a:prstGeom>
        </p:spPr>
      </p:pic>
      <p:sp>
        <p:nvSpPr>
          <p:cNvPr id="80" name="Oval 79">
            <a:extLst>
              <a:ext uri="{FF2B5EF4-FFF2-40B4-BE49-F238E27FC236}">
                <a16:creationId xmlns:a16="http://schemas.microsoft.com/office/drawing/2014/main" id="{4041ABB6-19DD-49AA-81C6-C1265CD8A7D6}"/>
              </a:ext>
            </a:extLst>
          </p:cNvPr>
          <p:cNvSpPr/>
          <p:nvPr/>
        </p:nvSpPr>
        <p:spPr>
          <a:xfrm>
            <a:off x="6469840" y="2987523"/>
            <a:ext cx="400156" cy="403781"/>
          </a:xfrm>
          <a:prstGeom prst="ellipse">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grpSp>
        <p:nvGrpSpPr>
          <p:cNvPr id="89" name="Group 88">
            <a:extLst>
              <a:ext uri="{FF2B5EF4-FFF2-40B4-BE49-F238E27FC236}">
                <a16:creationId xmlns:a16="http://schemas.microsoft.com/office/drawing/2014/main" id="{DA3A653E-B930-4D38-85B5-77E36036E3B5}"/>
              </a:ext>
            </a:extLst>
          </p:cNvPr>
          <p:cNvGrpSpPr/>
          <p:nvPr/>
        </p:nvGrpSpPr>
        <p:grpSpPr>
          <a:xfrm>
            <a:off x="6721485" y="4659403"/>
            <a:ext cx="271181" cy="269294"/>
            <a:chOff x="3069743" y="-995755"/>
            <a:chExt cx="276705" cy="276705"/>
          </a:xfrm>
        </p:grpSpPr>
        <p:sp>
          <p:nvSpPr>
            <p:cNvPr id="91" name="Rectangle: Rounded Corners 90">
              <a:extLst>
                <a:ext uri="{FF2B5EF4-FFF2-40B4-BE49-F238E27FC236}">
                  <a16:creationId xmlns:a16="http://schemas.microsoft.com/office/drawing/2014/main" id="{8F51C9B0-C9C8-4350-9AF0-497DEB9DFDB1}"/>
                </a:ext>
              </a:extLst>
            </p:cNvPr>
            <p:cNvSpPr/>
            <p:nvPr/>
          </p:nvSpPr>
          <p:spPr>
            <a:xfrm>
              <a:off x="3069743" y="-995755"/>
              <a:ext cx="276705" cy="276705"/>
            </a:xfrm>
            <a:prstGeom prst="roundRect">
              <a:avLst>
                <a:gd name="adj" fmla="val 20855"/>
              </a:avLst>
            </a:prstGeom>
            <a:solidFill>
              <a:schemeClr val="bg1">
                <a:lumMod val="95000"/>
              </a:schemeClr>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pic>
          <p:nvPicPr>
            <p:cNvPr id="87" name="Picture 86" descr="A sign in the dark&#10;&#10;Description automatically generated">
              <a:extLst>
                <a:ext uri="{FF2B5EF4-FFF2-40B4-BE49-F238E27FC236}">
                  <a16:creationId xmlns:a16="http://schemas.microsoft.com/office/drawing/2014/main" id="{F07C4323-04F5-4215-B17D-3E64E2606EC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080811" y="-990365"/>
              <a:ext cx="255600" cy="255600"/>
            </a:xfrm>
            <a:prstGeom prst="rect">
              <a:avLst/>
            </a:prstGeom>
          </p:spPr>
        </p:pic>
      </p:grpSp>
      <p:pic>
        <p:nvPicPr>
          <p:cNvPr id="3" name="Picture 2">
            <a:extLst>
              <a:ext uri="{FF2B5EF4-FFF2-40B4-BE49-F238E27FC236}">
                <a16:creationId xmlns:a16="http://schemas.microsoft.com/office/drawing/2014/main" id="{577C562E-EAC5-4693-8AF4-1977E17F0231}"/>
              </a:ext>
            </a:extLst>
          </p:cNvPr>
          <p:cNvPicPr>
            <a:picLocks noChangeAspect="1"/>
          </p:cNvPicPr>
          <p:nvPr/>
        </p:nvPicPr>
        <p:blipFill>
          <a:blip r:embed="rId7"/>
          <a:stretch>
            <a:fillRect/>
          </a:stretch>
        </p:blipFill>
        <p:spPr>
          <a:xfrm>
            <a:off x="2501326" y="2514339"/>
            <a:ext cx="819655" cy="574897"/>
          </a:xfrm>
          <a:prstGeom prst="rect">
            <a:avLst/>
          </a:prstGeom>
        </p:spPr>
      </p:pic>
      <p:sp>
        <p:nvSpPr>
          <p:cNvPr id="5" name="Oval 4">
            <a:extLst>
              <a:ext uri="{FF2B5EF4-FFF2-40B4-BE49-F238E27FC236}">
                <a16:creationId xmlns:a16="http://schemas.microsoft.com/office/drawing/2014/main" id="{D43907B8-A8B0-42BF-9D7C-C8757966D4C4}"/>
              </a:ext>
            </a:extLst>
          </p:cNvPr>
          <p:cNvSpPr/>
          <p:nvPr/>
        </p:nvSpPr>
        <p:spPr>
          <a:xfrm>
            <a:off x="2549584" y="2682680"/>
            <a:ext cx="400156" cy="403781"/>
          </a:xfrm>
          <a:prstGeom prst="ellipse">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17730740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492443"/>
          </a:xfrm>
        </p:spPr>
        <p:txBody>
          <a:bodyPr vert="horz" wrap="square" lIns="0" tIns="0" rIns="0" bIns="0" numCol="1" anchor="t" anchorCtr="0" compatLnSpc="1">
            <a:prstTxWarp prst="textNoShape">
              <a:avLst/>
            </a:prstTxWarp>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Idées de partage de la carte de score</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Comment partager la carte de score</a:t>
            </a:r>
          </a:p>
        </p:txBody>
      </p:sp>
      <p:sp>
        <p:nvSpPr>
          <p:cNvPr id="3" name="Rectangle: Rounded Corners 2">
            <a:extLst>
              <a:ext uri="{FF2B5EF4-FFF2-40B4-BE49-F238E27FC236}">
                <a16:creationId xmlns:a16="http://schemas.microsoft.com/office/drawing/2014/main" id="{92313BDA-AB67-41B4-9EEB-F72E72CD485B}"/>
              </a:ext>
            </a:extLst>
          </p:cNvPr>
          <p:cNvSpPr/>
          <p:nvPr/>
        </p:nvSpPr>
        <p:spPr>
          <a:xfrm>
            <a:off x="6290647" y="3895614"/>
            <a:ext cx="2222719" cy="2222437"/>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66" b="1" dirty="0">
                <a:solidFill>
                  <a:schemeClr val="accent3"/>
                </a:solidFill>
                <a:latin typeface="Arial" panose="020B0604020202020204" pitchFamily="34" charset="0"/>
                <a:cs typeface="Arial" panose="020B0604020202020204" pitchFamily="34" charset="0"/>
              </a:rPr>
              <a:t>Partager sur le </a:t>
            </a:r>
            <a:r>
              <a:rPr lang="fr-FR" sz="1666" b="1" dirty="0" err="1">
                <a:solidFill>
                  <a:schemeClr val="accent3"/>
                </a:solidFill>
                <a:latin typeface="Arial" panose="020B0604020202020204" pitchFamily="34" charset="0"/>
                <a:cs typeface="Arial" panose="020B0604020202020204" pitchFamily="34" charset="0"/>
              </a:rPr>
              <a:t>Knowledge</a:t>
            </a:r>
            <a:r>
              <a:rPr lang="fr-FR" sz="1666" b="1" dirty="0">
                <a:solidFill>
                  <a:schemeClr val="accent3"/>
                </a:solidFill>
                <a:latin typeface="Arial" panose="020B0604020202020204" pitchFamily="34" charset="0"/>
                <a:cs typeface="Arial" panose="020B0604020202020204" pitchFamily="34" charset="0"/>
              </a:rPr>
              <a:t> Hub, centre d'information complète sur la carte de score et les mécanismes de redevabilité</a:t>
            </a:r>
          </a:p>
        </p:txBody>
      </p:sp>
      <p:sp>
        <p:nvSpPr>
          <p:cNvPr id="5" name="Rectangle: Rounded Corners 4">
            <a:extLst>
              <a:ext uri="{FF2B5EF4-FFF2-40B4-BE49-F238E27FC236}">
                <a16:creationId xmlns:a16="http://schemas.microsoft.com/office/drawing/2014/main" id="{36D45A86-808B-49C8-BD7A-612215903A8B}"/>
              </a:ext>
            </a:extLst>
          </p:cNvPr>
          <p:cNvSpPr/>
          <p:nvPr/>
        </p:nvSpPr>
        <p:spPr>
          <a:xfrm>
            <a:off x="448072" y="1437762"/>
            <a:ext cx="2222719" cy="2222437"/>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66" b="1" dirty="0">
                <a:solidFill>
                  <a:schemeClr val="accent3"/>
                </a:solidFill>
                <a:latin typeface="Arial" panose="020B0604020202020204" pitchFamily="34" charset="0"/>
                <a:cs typeface="Arial" panose="020B0604020202020204" pitchFamily="34" charset="0"/>
              </a:rPr>
              <a:t>Présenter l’analyse de la carte de score lors de rencontres existantes et y distribuer des copies imprimées</a:t>
            </a:r>
          </a:p>
        </p:txBody>
      </p:sp>
      <p:sp>
        <p:nvSpPr>
          <p:cNvPr id="6" name="Rectangle: Rounded Corners 5">
            <a:extLst>
              <a:ext uri="{FF2B5EF4-FFF2-40B4-BE49-F238E27FC236}">
                <a16:creationId xmlns:a16="http://schemas.microsoft.com/office/drawing/2014/main" id="{C8AF4ECB-EB30-43B8-B3EB-49B06E314EE9}"/>
              </a:ext>
            </a:extLst>
          </p:cNvPr>
          <p:cNvSpPr/>
          <p:nvPr/>
        </p:nvSpPr>
        <p:spPr>
          <a:xfrm>
            <a:off x="3369360" y="1437762"/>
            <a:ext cx="2222719" cy="2222437"/>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66" b="1" dirty="0">
                <a:solidFill>
                  <a:schemeClr val="accent3"/>
                </a:solidFill>
                <a:latin typeface="Arial" panose="020B0604020202020204" pitchFamily="34" charset="0"/>
                <a:cs typeface="Arial" panose="020B0604020202020204" pitchFamily="34" charset="0"/>
              </a:rPr>
              <a:t>Télécharger la carte de score au format PDF et le partager avec vos collègues et partenaires par e-mail</a:t>
            </a:r>
          </a:p>
        </p:txBody>
      </p:sp>
      <p:sp>
        <p:nvSpPr>
          <p:cNvPr id="8" name="Rectangle: Rounded Corners 7">
            <a:extLst>
              <a:ext uri="{FF2B5EF4-FFF2-40B4-BE49-F238E27FC236}">
                <a16:creationId xmlns:a16="http://schemas.microsoft.com/office/drawing/2014/main" id="{11F826B5-7194-4047-BDCE-0BD9D8DCFFE8}"/>
              </a:ext>
            </a:extLst>
          </p:cNvPr>
          <p:cNvSpPr/>
          <p:nvPr/>
        </p:nvSpPr>
        <p:spPr>
          <a:xfrm>
            <a:off x="6290647" y="1437762"/>
            <a:ext cx="2222719" cy="2222437"/>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66" b="1" dirty="0">
                <a:solidFill>
                  <a:schemeClr val="accent3"/>
                </a:solidFill>
                <a:latin typeface="Arial" panose="020B0604020202020204" pitchFamily="34" charset="0"/>
                <a:cs typeface="Arial" panose="020B0604020202020204" pitchFamily="34" charset="0"/>
              </a:rPr>
              <a:t>Créer un groupe WhatsApp de partage et discussion de la carte de score</a:t>
            </a:r>
          </a:p>
        </p:txBody>
      </p:sp>
      <p:sp>
        <p:nvSpPr>
          <p:cNvPr id="12" name="Rectangle: Rounded Corners 11">
            <a:extLst>
              <a:ext uri="{FF2B5EF4-FFF2-40B4-BE49-F238E27FC236}">
                <a16:creationId xmlns:a16="http://schemas.microsoft.com/office/drawing/2014/main" id="{31EEC4F0-0E0F-428F-8A78-C4E8ED2B07E8}"/>
              </a:ext>
            </a:extLst>
          </p:cNvPr>
          <p:cNvSpPr/>
          <p:nvPr/>
        </p:nvSpPr>
        <p:spPr>
          <a:xfrm>
            <a:off x="448072" y="3895614"/>
            <a:ext cx="2222719" cy="2222437"/>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66" b="1" dirty="0">
                <a:solidFill>
                  <a:schemeClr val="accent3"/>
                </a:solidFill>
                <a:latin typeface="Arial" panose="020B0604020202020204" pitchFamily="34" charset="0"/>
                <a:cs typeface="Arial" panose="020B0604020202020204" pitchFamily="34" charset="0"/>
              </a:rPr>
              <a:t>Publier sur le site Web du ministère de la Santé ou sur un autre site public</a:t>
            </a:r>
          </a:p>
        </p:txBody>
      </p:sp>
      <p:sp>
        <p:nvSpPr>
          <p:cNvPr id="14" name="Rectangle: Rounded Corners 13">
            <a:extLst>
              <a:ext uri="{FF2B5EF4-FFF2-40B4-BE49-F238E27FC236}">
                <a16:creationId xmlns:a16="http://schemas.microsoft.com/office/drawing/2014/main" id="{D646D8A7-BBEE-47D4-B0D6-75B70503E698}"/>
              </a:ext>
            </a:extLst>
          </p:cNvPr>
          <p:cNvSpPr/>
          <p:nvPr/>
        </p:nvSpPr>
        <p:spPr>
          <a:xfrm>
            <a:off x="3369360" y="3895614"/>
            <a:ext cx="2222719" cy="2222437"/>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568" b="1" dirty="0">
                <a:solidFill>
                  <a:schemeClr val="accent3"/>
                </a:solidFill>
                <a:latin typeface="Arial" panose="020B0604020202020204" pitchFamily="34" charset="0"/>
                <a:cs typeface="Arial" panose="020B0604020202020204" pitchFamily="34" charset="0"/>
              </a:rPr>
              <a:t>Partager dans un bulletin d’information trimestriel sur la santé distribué à tous les intervenants y compris les partenaires</a:t>
            </a:r>
          </a:p>
        </p:txBody>
      </p:sp>
    </p:spTree>
    <p:custDataLst>
      <p:tags r:id="rId1"/>
    </p:custDataLst>
    <p:extLst>
      <p:ext uri="{BB962C8B-B14F-4D97-AF65-F5344CB8AC3E}">
        <p14:creationId xmlns:p14="http://schemas.microsoft.com/office/powerpoint/2010/main" val="323155951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98161" y="4243090"/>
            <a:ext cx="6858728" cy="2412840"/>
          </a:xfrm>
        </p:spPr>
        <p:txBody>
          <a:bodyPr/>
          <a:lstStyle/>
          <a:p>
            <a:pPr algn="ctr"/>
            <a:r>
              <a:rPr lang="fr-FR" sz="3136" dirty="0">
                <a:solidFill>
                  <a:schemeClr val="tx1"/>
                </a:solidFill>
              </a:rPr>
              <a:t>Utiliser la carte de score pour un engagement de haut niveau</a:t>
            </a:r>
            <a:br>
              <a:rPr lang="fr-FR" sz="3136" dirty="0">
                <a:solidFill>
                  <a:schemeClr val="tx1"/>
                </a:solidFill>
              </a:rPr>
            </a:br>
            <a:br>
              <a:rPr lang="fr-FR" sz="3136" dirty="0">
                <a:solidFill>
                  <a:schemeClr val="tx1"/>
                </a:solidFill>
              </a:rPr>
            </a:br>
            <a:br>
              <a:rPr lang="fr-FR" sz="3136" dirty="0">
                <a:solidFill>
                  <a:schemeClr val="tx1"/>
                </a:solidFill>
              </a:rPr>
            </a:br>
            <a:endParaRPr lang="en-US" sz="3136" dirty="0">
              <a:solidFill>
                <a:schemeClr val="tx1"/>
              </a:solidFill>
            </a:endParaRPr>
          </a:p>
        </p:txBody>
      </p:sp>
      <p:sp>
        <p:nvSpPr>
          <p:cNvPr id="3" name="Subtitle 2"/>
          <p:cNvSpPr>
            <a:spLocks noGrp="1"/>
          </p:cNvSpPr>
          <p:nvPr>
            <p:ph type="subTitle" idx="1"/>
          </p:nvPr>
        </p:nvSpPr>
        <p:spPr>
          <a:xfrm>
            <a:off x="3671795" y="5378100"/>
            <a:ext cx="2355102" cy="338554"/>
          </a:xfrm>
        </p:spPr>
        <p:txBody>
          <a:bodyPr/>
          <a:lstStyle/>
          <a:p>
            <a:r>
              <a:rPr lang="en-US" dirty="0" err="1"/>
              <a:t>Juin</a:t>
            </a:r>
            <a:r>
              <a:rPr lang="en-US" dirty="0"/>
              <a:t> 2021</a:t>
            </a: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7" name="Picture 6">
            <a:extLst>
              <a:ext uri="{FF2B5EF4-FFF2-40B4-BE49-F238E27FC236}">
                <a16:creationId xmlns:a16="http://schemas.microsoft.com/office/drawing/2014/main" id="{89C9AF53-AE28-4582-AFA5-E60F720D12AA}"/>
              </a:ext>
            </a:extLst>
          </p:cNvPr>
          <p:cNvPicPr>
            <a:picLocks noChangeAspect="1"/>
          </p:cNvPicPr>
          <p:nvPr/>
        </p:nvPicPr>
        <p:blipFill>
          <a:blip r:embed="rId3"/>
          <a:stretch>
            <a:fillRect/>
          </a:stretch>
        </p:blipFill>
        <p:spPr>
          <a:xfrm>
            <a:off x="2821682" y="842043"/>
            <a:ext cx="3011685" cy="3036071"/>
          </a:xfrm>
          <a:prstGeom prst="rect">
            <a:avLst/>
          </a:prstGeom>
        </p:spPr>
      </p:pic>
    </p:spTree>
    <p:extLst>
      <p:ext uri="{BB962C8B-B14F-4D97-AF65-F5344CB8AC3E}">
        <p14:creationId xmlns:p14="http://schemas.microsoft.com/office/powerpoint/2010/main" val="12583091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0B48D4-38E0-45BE-ABF4-08BAC19FD4E8}"/>
              </a:ext>
            </a:extLst>
          </p:cNvPr>
          <p:cNvSpPr>
            <a:spLocks noGrp="1"/>
          </p:cNvSpPr>
          <p:nvPr>
            <p:ph type="title"/>
          </p:nvPr>
        </p:nvSpPr>
        <p:spPr>
          <a:xfrm>
            <a:off x="120508" y="230188"/>
            <a:ext cx="7542562" cy="485429"/>
          </a:xfrm>
        </p:spPr>
        <p:txBody>
          <a:bodyPr/>
          <a:lstStyle/>
          <a:p>
            <a:r>
              <a:rPr lang="fr-FR" dirty="0"/>
              <a:t>Utiliser la carte de score pour un engagement de haut niveau </a:t>
            </a:r>
            <a:br>
              <a:rPr lang="fr-FR" dirty="0"/>
            </a:br>
            <a:br>
              <a:rPr lang="fr-FR" dirty="0"/>
            </a:br>
            <a:endParaRPr lang="en-US" dirty="0"/>
          </a:p>
        </p:txBody>
      </p:sp>
      <p:sp>
        <p:nvSpPr>
          <p:cNvPr id="6" name="TextBox 5">
            <a:extLst>
              <a:ext uri="{FF2B5EF4-FFF2-40B4-BE49-F238E27FC236}">
                <a16:creationId xmlns:a16="http://schemas.microsoft.com/office/drawing/2014/main" id="{C39BDC17-56AB-4675-B453-312216EBADF8}"/>
              </a:ext>
            </a:extLst>
          </p:cNvPr>
          <p:cNvSpPr txBox="1"/>
          <p:nvPr/>
        </p:nvSpPr>
        <p:spPr>
          <a:xfrm>
            <a:off x="97972" y="6382921"/>
            <a:ext cx="4493622" cy="338554"/>
          </a:xfrm>
          <a:prstGeom prst="rect">
            <a:avLst/>
          </a:prstGeom>
          <a:noFill/>
        </p:spPr>
        <p:txBody>
          <a:bodyPr wrap="square">
            <a:spAutoFit/>
          </a:bodyPr>
          <a:lstStyle/>
          <a:p>
            <a:r>
              <a:rPr lang="en-US" dirty="0" err="1">
                <a:hlinkClick r:id="rId3">
                  <a:extLst>
                    <a:ext uri="{A12FA001-AC4F-418D-AE19-62706E023703}">
                      <ahyp:hlinkClr xmlns:ahyp="http://schemas.microsoft.com/office/drawing/2018/hyperlinkcolor" val="tx"/>
                    </a:ext>
                  </a:extLst>
                </a:hlinkClick>
              </a:rPr>
              <a:t>Télécharger</a:t>
            </a:r>
            <a:r>
              <a:rPr lang="en-US" dirty="0">
                <a:hlinkClick r:id="rId3">
                  <a:extLst>
                    <a:ext uri="{A12FA001-AC4F-418D-AE19-62706E023703}">
                      <ahyp:hlinkClr xmlns:ahyp="http://schemas.microsoft.com/office/drawing/2018/hyperlinkcolor" val="tx"/>
                    </a:ext>
                  </a:extLst>
                </a:hlinkClick>
              </a:rPr>
              <a:t> la video</a:t>
            </a:r>
            <a:endParaRPr lang="en-US" dirty="0"/>
          </a:p>
        </p:txBody>
      </p:sp>
      <p:pic>
        <p:nvPicPr>
          <p:cNvPr id="4" name="Online Media 3" title="Utiliser la carte de score pour un engagement de haut niveau">
            <a:hlinkClick r:id="" action="ppaction://media"/>
            <a:extLst>
              <a:ext uri="{FF2B5EF4-FFF2-40B4-BE49-F238E27FC236}">
                <a16:creationId xmlns:a16="http://schemas.microsoft.com/office/drawing/2014/main" id="{19B371C2-E4E6-46DA-B8F7-98A1F0FE2526}"/>
              </a:ext>
            </a:extLst>
          </p:cNvPr>
          <p:cNvPicPr>
            <a:picLocks noRot="1" noChangeAspect="1"/>
          </p:cNvPicPr>
          <p:nvPr>
            <a:videoFile r:link="rId1"/>
          </p:nvPr>
        </p:nvPicPr>
        <p:blipFill>
          <a:blip r:embed="rId4"/>
          <a:stretch>
            <a:fillRect/>
          </a:stretch>
        </p:blipFill>
        <p:spPr>
          <a:xfrm>
            <a:off x="612396" y="715617"/>
            <a:ext cx="7163120" cy="5516528"/>
          </a:xfrm>
          <a:prstGeom prst="rect">
            <a:avLst/>
          </a:prstGeom>
        </p:spPr>
      </p:pic>
    </p:spTree>
    <p:extLst>
      <p:ext uri="{BB962C8B-B14F-4D97-AF65-F5344CB8AC3E}">
        <p14:creationId xmlns:p14="http://schemas.microsoft.com/office/powerpoint/2010/main" val="17884490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513366" cy="492443"/>
          </a:xfrm>
        </p:spPr>
        <p:txBody>
          <a:bodyPr vert="horz" wrap="square" lIns="0" tIns="0" rIns="0" bIns="0" numCol="1" anchor="t" anchorCtr="0" compatLnSpc="1">
            <a:prstTxWarp prst="textNoShape">
              <a:avLst/>
            </a:prstTxWarp>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Comment les </a:t>
            </a:r>
            <a:r>
              <a:rPr lang="fr-FR" dirty="0" err="1"/>
              <a:t>decideurs</a:t>
            </a:r>
            <a:r>
              <a:rPr lang="fr-FR" dirty="0"/>
              <a:t> utilisent l’outil</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Qui peut participer</a:t>
            </a:r>
          </a:p>
        </p:txBody>
      </p:sp>
      <p:sp>
        <p:nvSpPr>
          <p:cNvPr id="20" name="Text Placeholder 5">
            <a:extLst>
              <a:ext uri="{FF2B5EF4-FFF2-40B4-BE49-F238E27FC236}">
                <a16:creationId xmlns:a16="http://schemas.microsoft.com/office/drawing/2014/main" id="{C5BD2D4C-CEE4-6F46-BDFF-5028AC462AD2}"/>
              </a:ext>
            </a:extLst>
          </p:cNvPr>
          <p:cNvSpPr txBox="1">
            <a:spLocks/>
          </p:cNvSpPr>
          <p:nvPr/>
        </p:nvSpPr>
        <p:spPr>
          <a:xfrm>
            <a:off x="451003" y="1805695"/>
            <a:ext cx="8058583" cy="3076644"/>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0035" indent="-280035">
              <a:lnSpc>
                <a:spcPct val="100000"/>
              </a:lnSpc>
              <a:spcBef>
                <a:spcPts val="196"/>
              </a:spcBef>
              <a:spcAft>
                <a:spcPts val="1568"/>
              </a:spcAft>
              <a:buFont typeface="Arial" panose="020B0604020202020204" pitchFamily="34" charset="0"/>
              <a:buChar char="•"/>
            </a:pPr>
            <a:r>
              <a:rPr lang="fr-FR" sz="1764" dirty="0">
                <a:solidFill>
                  <a:schemeClr val="bg2">
                    <a:lumMod val="10000"/>
                  </a:schemeClr>
                </a:solidFill>
              </a:rPr>
              <a:t>Tenus au courant des progrès, insuffisances et meilleures pratiques</a:t>
            </a:r>
          </a:p>
          <a:p>
            <a:pPr marL="280035" indent="-280035">
              <a:lnSpc>
                <a:spcPct val="100000"/>
              </a:lnSpc>
              <a:spcBef>
                <a:spcPts val="196"/>
              </a:spcBef>
              <a:spcAft>
                <a:spcPts val="1568"/>
              </a:spcAft>
              <a:buFont typeface="Arial" panose="020B0604020202020204" pitchFamily="34" charset="0"/>
              <a:buChar char="•"/>
            </a:pPr>
            <a:r>
              <a:rPr lang="fr-FR" sz="1764" dirty="0">
                <a:solidFill>
                  <a:schemeClr val="bg2">
                    <a:lumMod val="10000"/>
                  </a:schemeClr>
                </a:solidFill>
              </a:rPr>
              <a:t>Usent de leur influence politique et de leurs ressources pour soutenir les programmes sanitaires qui importent le plus</a:t>
            </a:r>
          </a:p>
          <a:p>
            <a:pPr marL="280035" indent="-280035">
              <a:lnSpc>
                <a:spcPct val="100000"/>
              </a:lnSpc>
              <a:spcBef>
                <a:spcPts val="196"/>
              </a:spcBef>
              <a:spcAft>
                <a:spcPts val="1568"/>
              </a:spcAft>
              <a:buFont typeface="Arial" panose="020B0604020202020204" pitchFamily="34" charset="0"/>
              <a:buChar char="•"/>
            </a:pPr>
            <a:r>
              <a:rPr lang="fr-FR" sz="1764" dirty="0">
                <a:solidFill>
                  <a:schemeClr val="bg2">
                    <a:lumMod val="10000"/>
                  </a:schemeClr>
                </a:solidFill>
              </a:rPr>
              <a:t>Tenus responsables des performances devant hauts dirigeants et pairs </a:t>
            </a:r>
          </a:p>
          <a:p>
            <a:pPr marL="280035" indent="-280035">
              <a:lnSpc>
                <a:spcPct val="100000"/>
              </a:lnSpc>
              <a:spcBef>
                <a:spcPts val="196"/>
              </a:spcBef>
              <a:spcAft>
                <a:spcPts val="1568"/>
              </a:spcAft>
              <a:buFont typeface="Arial" panose="020B0604020202020204" pitchFamily="34" charset="0"/>
              <a:buChar char="•"/>
            </a:pPr>
            <a:r>
              <a:rPr lang="fr-FR" sz="1764" dirty="0">
                <a:solidFill>
                  <a:schemeClr val="bg2">
                    <a:lumMod val="10000"/>
                  </a:schemeClr>
                </a:solidFill>
              </a:rPr>
              <a:t>Les dirigeants locaux communautaires peuvent utiliser la carte de score pour informer le public sur la qualité des services de santé et mobiliser l’action communautaire pour résoudre les sous-performances</a:t>
            </a:r>
          </a:p>
          <a:p>
            <a:pPr marL="280035" indent="-280035">
              <a:lnSpc>
                <a:spcPct val="100000"/>
              </a:lnSpc>
              <a:spcBef>
                <a:spcPts val="196"/>
              </a:spcBef>
              <a:spcAft>
                <a:spcPts val="1568"/>
              </a:spcAft>
              <a:buFont typeface="Arial" panose="020B0604020202020204" pitchFamily="34" charset="0"/>
              <a:buChar char="•"/>
            </a:pPr>
            <a:endParaRPr lang="en-US" sz="1764" dirty="0">
              <a:solidFill>
                <a:schemeClr val="bg2">
                  <a:lumMod val="10000"/>
                </a:schemeClr>
              </a:solidFill>
            </a:endParaRPr>
          </a:p>
        </p:txBody>
      </p:sp>
    </p:spTree>
    <p:extLst>
      <p:ext uri="{BB962C8B-B14F-4D97-AF65-F5344CB8AC3E}">
        <p14:creationId xmlns:p14="http://schemas.microsoft.com/office/powerpoint/2010/main" val="37131195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5956EC-997B-42D1-BD46-8879EB2C874F}"/>
              </a:ext>
            </a:extLst>
          </p:cNvPr>
          <p:cNvSpPr>
            <a:spLocks noGrp="1"/>
          </p:cNvSpPr>
          <p:nvPr>
            <p:ph type="title"/>
          </p:nvPr>
        </p:nvSpPr>
        <p:spPr>
          <a:xfrm>
            <a:off x="902835" y="325657"/>
            <a:ext cx="6654067" cy="292388"/>
          </a:xfrm>
        </p:spPr>
        <p:txBody>
          <a:bodyPr/>
          <a:lstStyle/>
          <a:p>
            <a:r>
              <a:rPr lang="en-US" dirty="0" err="1"/>
              <a:t>Méthodologie</a:t>
            </a:r>
            <a:r>
              <a:rPr lang="en-US" dirty="0"/>
              <a:t>:</a:t>
            </a:r>
          </a:p>
        </p:txBody>
      </p:sp>
      <p:sp>
        <p:nvSpPr>
          <p:cNvPr id="4" name="TextBox 3">
            <a:extLst>
              <a:ext uri="{FF2B5EF4-FFF2-40B4-BE49-F238E27FC236}">
                <a16:creationId xmlns:a16="http://schemas.microsoft.com/office/drawing/2014/main" id="{F7EB6A86-B512-4E5C-8A99-D4AC261C7689}"/>
              </a:ext>
            </a:extLst>
          </p:cNvPr>
          <p:cNvSpPr txBox="1"/>
          <p:nvPr/>
        </p:nvSpPr>
        <p:spPr>
          <a:xfrm>
            <a:off x="574765" y="871568"/>
            <a:ext cx="7968344" cy="3277820"/>
          </a:xfrm>
          <a:prstGeom prst="rect">
            <a:avLst/>
          </a:prstGeom>
          <a:noFill/>
        </p:spPr>
        <p:txBody>
          <a:bodyPr wrap="square">
            <a:spAutoFit/>
          </a:bodyPr>
          <a:lstStyle/>
          <a:p>
            <a:pPr marL="285750" indent="-285750">
              <a:spcBef>
                <a:spcPts val="1200"/>
              </a:spcBef>
              <a:spcAft>
                <a:spcPts val="600"/>
              </a:spcAft>
              <a:buFont typeface="Arial" panose="020B0604020202020204" pitchFamily="34" charset="0"/>
              <a:buChar char="•"/>
            </a:pPr>
            <a:r>
              <a:rPr lang="fr-FR" sz="1800" dirty="0"/>
              <a:t>Pour cette formation de formateurs, nous (ALMA) montrerons toutes les vidéos et les diapositives que vous utiliserez pour animer votre propre formation.</a:t>
            </a:r>
          </a:p>
          <a:p>
            <a:pPr marL="285750" indent="-285750">
              <a:spcBef>
                <a:spcPts val="1200"/>
              </a:spcBef>
              <a:spcAft>
                <a:spcPts val="600"/>
              </a:spcAft>
              <a:buFont typeface="Arial" panose="020B0604020202020204" pitchFamily="34" charset="0"/>
              <a:buChar char="•"/>
            </a:pPr>
            <a:r>
              <a:rPr lang="fr-FR" sz="1800" dirty="0"/>
              <a:t>Pour cette formation de formateurs, nous montrerons toutes les vidéos et les diapositives que vous utiliserez pour animer votre propre formation.</a:t>
            </a:r>
          </a:p>
          <a:p>
            <a:pPr marL="285750" indent="-285750">
              <a:spcBef>
                <a:spcPts val="1200"/>
              </a:spcBef>
              <a:spcAft>
                <a:spcPts val="600"/>
              </a:spcAft>
              <a:buFont typeface="Arial" panose="020B0604020202020204" pitchFamily="34" charset="0"/>
              <a:buChar char="•"/>
            </a:pPr>
            <a:r>
              <a:rPr lang="fr-FR" sz="1800" dirty="0"/>
              <a:t>Au début de la plupart des sessions, vous montrerez une vidéo. Ensuite, vous présenterez quelques diapositives avec les points clés de la vidéo.</a:t>
            </a:r>
          </a:p>
          <a:p>
            <a:pPr marL="285750" indent="-285750">
              <a:spcBef>
                <a:spcPts val="1200"/>
              </a:spcBef>
              <a:spcAft>
                <a:spcPts val="600"/>
              </a:spcAft>
              <a:buFont typeface="Arial" panose="020B0604020202020204" pitchFamily="34" charset="0"/>
              <a:buChar char="•"/>
            </a:pPr>
            <a:r>
              <a:rPr lang="fr-FR" sz="1800" dirty="0"/>
              <a:t>Vous devriez étudier ce PPT et les vidéos plusieurs fois pour vous préparer à former les autres.</a:t>
            </a:r>
          </a:p>
        </p:txBody>
      </p:sp>
    </p:spTree>
    <p:extLst>
      <p:ext uri="{BB962C8B-B14F-4D97-AF65-F5344CB8AC3E}">
        <p14:creationId xmlns:p14="http://schemas.microsoft.com/office/powerpoint/2010/main" val="218617923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492443"/>
          </a:xfrm>
        </p:spPr>
        <p:txBody>
          <a:bodyPr vert="horz" wrap="square" lIns="0" tIns="0" rIns="0" bIns="0" numCol="1" anchor="t" anchorCtr="0" compatLnSpc="1">
            <a:prstTxWarp prst="textNoShape">
              <a:avLst/>
            </a:prstTxWarp>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Que peuvent faire les dirigeants ? </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Qui peut participer</a:t>
            </a:r>
          </a:p>
        </p:txBody>
      </p:sp>
      <p:sp>
        <p:nvSpPr>
          <p:cNvPr id="13" name="Text Placeholder 5">
            <a:extLst>
              <a:ext uri="{FF2B5EF4-FFF2-40B4-BE49-F238E27FC236}">
                <a16:creationId xmlns:a16="http://schemas.microsoft.com/office/drawing/2014/main" id="{619118C5-8A7C-674A-B212-C2B047E4F490}"/>
              </a:ext>
            </a:extLst>
          </p:cNvPr>
          <p:cNvSpPr txBox="1">
            <a:spLocks/>
          </p:cNvSpPr>
          <p:nvPr/>
        </p:nvSpPr>
        <p:spPr>
          <a:xfrm>
            <a:off x="451003" y="1642758"/>
            <a:ext cx="8204932" cy="4388742"/>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0035" indent="-280035">
              <a:lnSpc>
                <a:spcPct val="100000"/>
              </a:lnSpc>
              <a:spcBef>
                <a:spcPts val="196"/>
              </a:spcBef>
              <a:spcAft>
                <a:spcPts val="1568"/>
              </a:spcAft>
              <a:buFont typeface="Arial" panose="020B0604020202020204" pitchFamily="34" charset="0"/>
              <a:buChar char="•"/>
            </a:pPr>
            <a:r>
              <a:rPr lang="fr-FR" sz="1764" dirty="0">
                <a:solidFill>
                  <a:schemeClr val="bg2">
                    <a:lumMod val="10000"/>
                  </a:schemeClr>
                </a:solidFill>
              </a:rPr>
              <a:t>Accéder au site Web de la carte de score ou à l’application mobile pour se tenir au courant des performances du pays ou d'une région sous-nationale</a:t>
            </a:r>
          </a:p>
          <a:p>
            <a:pPr marL="280035" indent="-280035">
              <a:lnSpc>
                <a:spcPct val="100000"/>
              </a:lnSpc>
              <a:spcBef>
                <a:spcPts val="196"/>
              </a:spcBef>
              <a:spcAft>
                <a:spcPts val="1568"/>
              </a:spcAft>
              <a:buFont typeface="Arial" panose="020B0604020202020204" pitchFamily="34" charset="0"/>
              <a:buChar char="•"/>
            </a:pPr>
            <a:r>
              <a:rPr lang="fr-FR" sz="1764" dirty="0">
                <a:solidFill>
                  <a:schemeClr val="bg2">
                    <a:lumMod val="10000"/>
                  </a:schemeClr>
                </a:solidFill>
              </a:rPr>
              <a:t>Exiger une action immédiate si certains indicateurs le demandent</a:t>
            </a:r>
          </a:p>
          <a:p>
            <a:pPr marL="280035" indent="-280035">
              <a:lnSpc>
                <a:spcPct val="100000"/>
              </a:lnSpc>
              <a:spcBef>
                <a:spcPts val="196"/>
              </a:spcBef>
              <a:spcAft>
                <a:spcPts val="1568"/>
              </a:spcAft>
              <a:buFont typeface="Arial" panose="020B0604020202020204" pitchFamily="34" charset="0"/>
              <a:buChar char="•"/>
            </a:pPr>
            <a:r>
              <a:rPr lang="fr-FR" sz="1764" dirty="0">
                <a:solidFill>
                  <a:schemeClr val="bg2">
                    <a:lumMod val="10000"/>
                  </a:schemeClr>
                </a:solidFill>
              </a:rPr>
              <a:t>Suivre l’exécution de l’action et, au besoin, mobiliser une assistance nécessaire</a:t>
            </a:r>
          </a:p>
          <a:p>
            <a:pPr marL="280035" indent="-280035">
              <a:lnSpc>
                <a:spcPct val="100000"/>
              </a:lnSpc>
              <a:spcBef>
                <a:spcPts val="196"/>
              </a:spcBef>
              <a:spcAft>
                <a:spcPts val="1568"/>
              </a:spcAft>
              <a:buFont typeface="Arial" panose="020B0604020202020204" pitchFamily="34" charset="0"/>
              <a:buChar char="•"/>
            </a:pPr>
            <a:r>
              <a:rPr lang="fr-FR" sz="1764" dirty="0">
                <a:solidFill>
                  <a:schemeClr val="bg2">
                    <a:lumMod val="10000"/>
                  </a:schemeClr>
                </a:solidFill>
              </a:rPr>
              <a:t>Mandater les responsables sous-nationaux de la santé pour définir chaque trimestre des actions sur la base des données de la carte de score et encourager leur saisie dans le suivi d’action </a:t>
            </a:r>
          </a:p>
          <a:p>
            <a:pPr marL="280035" indent="-280035">
              <a:lnSpc>
                <a:spcPct val="100000"/>
              </a:lnSpc>
              <a:spcBef>
                <a:spcPts val="196"/>
              </a:spcBef>
              <a:spcAft>
                <a:spcPts val="1568"/>
              </a:spcAft>
              <a:buFont typeface="Arial" panose="020B0604020202020204" pitchFamily="34" charset="0"/>
              <a:buChar char="•"/>
            </a:pPr>
            <a:r>
              <a:rPr lang="fr-FR" sz="1764" dirty="0">
                <a:solidFill>
                  <a:schemeClr val="bg2">
                    <a:lumMod val="10000"/>
                  </a:schemeClr>
                </a:solidFill>
              </a:rPr>
              <a:t>Utiliser la carte de score au soutien du financement des interventions, de la budgétisation et de l’allocation de ressources à la santé, ainsi que de l’utilisation des fonds conformément au plan stratégique</a:t>
            </a:r>
          </a:p>
          <a:p>
            <a:pPr marL="280035" indent="-280035">
              <a:lnSpc>
                <a:spcPct val="100000"/>
              </a:lnSpc>
              <a:spcBef>
                <a:spcPts val="196"/>
              </a:spcBef>
              <a:spcAft>
                <a:spcPts val="1568"/>
              </a:spcAft>
              <a:buFont typeface="Arial" panose="020B0604020202020204" pitchFamily="34" charset="0"/>
              <a:buChar char="•"/>
            </a:pPr>
            <a:r>
              <a:rPr lang="fr-FR" sz="1764" dirty="0">
                <a:solidFill>
                  <a:schemeClr val="bg2">
                    <a:lumMod val="10000"/>
                  </a:schemeClr>
                </a:solidFill>
              </a:rPr>
              <a:t>Diffuser la carte de score à l’adresse d’autres intervenants importants et encourager sa discussion à l’occasion de leurs réunions de direction existantes</a:t>
            </a:r>
          </a:p>
        </p:txBody>
      </p:sp>
    </p:spTree>
    <p:extLst>
      <p:ext uri="{BB962C8B-B14F-4D97-AF65-F5344CB8AC3E}">
        <p14:creationId xmlns:p14="http://schemas.microsoft.com/office/powerpoint/2010/main" val="325146316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984885"/>
          </a:xfrm>
        </p:spPr>
        <p:txBody>
          <a:bodyPr vert="horz" wrap="square" lIns="0" tIns="0" rIns="0" bIns="0" numCol="1" anchor="t" anchorCtr="0" compatLnSpc="1">
            <a:prstTxWarp prst="textNoShape">
              <a:avLst/>
            </a:prstTxWarp>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 Feuille d’explication des indicateurs » et outils de plaidoyer </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Quels outils</a:t>
            </a:r>
          </a:p>
        </p:txBody>
      </p:sp>
      <p:sp>
        <p:nvSpPr>
          <p:cNvPr id="13" name="Text Placeholder 5">
            <a:extLst>
              <a:ext uri="{FF2B5EF4-FFF2-40B4-BE49-F238E27FC236}">
                <a16:creationId xmlns:a16="http://schemas.microsoft.com/office/drawing/2014/main" id="{619118C5-8A7C-674A-B212-C2B047E4F490}"/>
              </a:ext>
            </a:extLst>
          </p:cNvPr>
          <p:cNvSpPr txBox="1">
            <a:spLocks/>
          </p:cNvSpPr>
          <p:nvPr/>
        </p:nvSpPr>
        <p:spPr>
          <a:xfrm>
            <a:off x="451003" y="1805695"/>
            <a:ext cx="8194748" cy="1598648"/>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196"/>
              </a:spcBef>
              <a:spcAft>
                <a:spcPts val="392"/>
              </a:spcAft>
            </a:pPr>
            <a:r>
              <a:rPr lang="fr-FR" sz="1568" dirty="0">
                <a:solidFill>
                  <a:schemeClr val="bg2">
                    <a:lumMod val="10000"/>
                  </a:schemeClr>
                </a:solidFill>
              </a:rPr>
              <a:t>Des outils d’accompagnement de la carte de score peuvent être utiles pour guider les dirigeants dans leur lecture et leur interprétation.</a:t>
            </a:r>
          </a:p>
          <a:p>
            <a:pPr marL="280035" indent="-280035">
              <a:lnSpc>
                <a:spcPct val="100000"/>
              </a:lnSpc>
              <a:spcBef>
                <a:spcPts val="196"/>
              </a:spcBef>
              <a:spcAft>
                <a:spcPts val="392"/>
              </a:spcAft>
              <a:buFont typeface="Arial" panose="020B0604020202020204" pitchFamily="34" charset="0"/>
              <a:buChar char="•"/>
            </a:pPr>
            <a:r>
              <a:rPr lang="fr-FR" sz="1568" dirty="0">
                <a:solidFill>
                  <a:schemeClr val="bg2">
                    <a:lumMod val="10000"/>
                  </a:schemeClr>
                </a:solidFill>
              </a:rPr>
              <a:t>Un feuillet explicatif peut être conçu pour expliquer les </a:t>
            </a:r>
            <a:r>
              <a:rPr lang="fr-FR" sz="1568" b="1" dirty="0">
                <a:solidFill>
                  <a:schemeClr val="accent3"/>
                </a:solidFill>
              </a:rPr>
              <a:t>indicateurs techniques</a:t>
            </a:r>
            <a:r>
              <a:rPr lang="fr-FR" sz="1568" dirty="0">
                <a:solidFill>
                  <a:schemeClr val="bg2">
                    <a:lumMod val="10000"/>
                  </a:schemeClr>
                </a:solidFill>
              </a:rPr>
              <a:t> et faciliter la compréhension de la carte de score (exemples ci-dessous).</a:t>
            </a:r>
          </a:p>
          <a:p>
            <a:pPr marL="280035" indent="-280035">
              <a:lnSpc>
                <a:spcPct val="100000"/>
              </a:lnSpc>
              <a:spcBef>
                <a:spcPts val="196"/>
              </a:spcBef>
              <a:spcAft>
                <a:spcPts val="392"/>
              </a:spcAft>
              <a:buFont typeface="Arial" panose="020B0604020202020204" pitchFamily="34" charset="0"/>
              <a:buChar char="•"/>
            </a:pPr>
            <a:r>
              <a:rPr lang="fr-FR" sz="1568" dirty="0">
                <a:solidFill>
                  <a:schemeClr val="bg2">
                    <a:lumMod val="10000"/>
                  </a:schemeClr>
                </a:solidFill>
              </a:rPr>
              <a:t>Une présentation récapitulative peut aussi être rédigée chaque trimestre pour </a:t>
            </a:r>
            <a:r>
              <a:rPr lang="fr-FR" sz="1568" b="1" dirty="0">
                <a:solidFill>
                  <a:schemeClr val="accent3"/>
                </a:solidFill>
              </a:rPr>
              <a:t>mettre l’accent sur les problèmes de performance et sur les goulots d’étranglement</a:t>
            </a:r>
            <a:r>
              <a:rPr lang="fr-FR" sz="1568" b="1" dirty="0"/>
              <a:t>.</a:t>
            </a:r>
          </a:p>
        </p:txBody>
      </p:sp>
      <p:pic>
        <p:nvPicPr>
          <p:cNvPr id="2" name="Picture 1">
            <a:extLst>
              <a:ext uri="{FF2B5EF4-FFF2-40B4-BE49-F238E27FC236}">
                <a16:creationId xmlns:a16="http://schemas.microsoft.com/office/drawing/2014/main" id="{E111C233-C82D-2745-9E66-D8B925A88BA3}"/>
              </a:ext>
            </a:extLst>
          </p:cNvPr>
          <p:cNvPicPr>
            <a:picLocks noChangeAspect="1"/>
          </p:cNvPicPr>
          <p:nvPr/>
        </p:nvPicPr>
        <p:blipFill>
          <a:blip r:embed="rId2"/>
          <a:stretch>
            <a:fillRect/>
          </a:stretch>
        </p:blipFill>
        <p:spPr>
          <a:xfrm>
            <a:off x="597430" y="3703674"/>
            <a:ext cx="3627249" cy="2319867"/>
          </a:xfrm>
          <a:prstGeom prst="rect">
            <a:avLst/>
          </a:prstGeom>
        </p:spPr>
      </p:pic>
      <p:sp>
        <p:nvSpPr>
          <p:cNvPr id="3" name="TextBox 2">
            <a:extLst>
              <a:ext uri="{FF2B5EF4-FFF2-40B4-BE49-F238E27FC236}">
                <a16:creationId xmlns:a16="http://schemas.microsoft.com/office/drawing/2014/main" id="{646C97CE-29DD-604A-BB11-D1FC0A0D852D}"/>
              </a:ext>
            </a:extLst>
          </p:cNvPr>
          <p:cNvSpPr txBox="1"/>
          <p:nvPr/>
        </p:nvSpPr>
        <p:spPr>
          <a:xfrm>
            <a:off x="3307197" y="6141834"/>
            <a:ext cx="2869795" cy="180979"/>
          </a:xfrm>
          <a:prstGeom prst="rect">
            <a:avLst/>
          </a:prstGeom>
        </p:spPr>
        <p:txBody>
          <a:bodyPr vert="horz" wrap="square" lIns="0" tIns="0" rIns="0" bIns="0" rtlCol="0">
            <a:spAutoFit/>
          </a:bodyPr>
          <a:lstStyle/>
          <a:p>
            <a:pPr algn="ctr"/>
            <a:r>
              <a:rPr lang="fr-FR" sz="1176" i="1" dirty="0">
                <a:latin typeface="Arial" panose="020B0604020202020204" pitchFamily="34" charset="0"/>
                <a:cs typeface="Arial" panose="020B0604020202020204" pitchFamily="34" charset="0"/>
              </a:rPr>
              <a:t>Exemples de feuillet explicatif</a:t>
            </a:r>
          </a:p>
        </p:txBody>
      </p:sp>
      <p:pic>
        <p:nvPicPr>
          <p:cNvPr id="4" name="Picture 3">
            <a:extLst>
              <a:ext uri="{FF2B5EF4-FFF2-40B4-BE49-F238E27FC236}">
                <a16:creationId xmlns:a16="http://schemas.microsoft.com/office/drawing/2014/main" id="{AC65A900-3977-D546-A47E-C9953E3EDF12}"/>
              </a:ext>
            </a:extLst>
          </p:cNvPr>
          <p:cNvPicPr>
            <a:picLocks noChangeAspect="1"/>
          </p:cNvPicPr>
          <p:nvPr/>
        </p:nvPicPr>
        <p:blipFill>
          <a:blip r:embed="rId3"/>
          <a:stretch>
            <a:fillRect/>
          </a:stretch>
        </p:blipFill>
        <p:spPr>
          <a:xfrm>
            <a:off x="4611071" y="3703674"/>
            <a:ext cx="3458887" cy="2319867"/>
          </a:xfrm>
          <a:prstGeom prst="rect">
            <a:avLst/>
          </a:prstGeom>
        </p:spPr>
      </p:pic>
    </p:spTree>
    <p:extLst>
      <p:ext uri="{BB962C8B-B14F-4D97-AF65-F5344CB8AC3E}">
        <p14:creationId xmlns:p14="http://schemas.microsoft.com/office/powerpoint/2010/main" val="180657738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984885"/>
          </a:xfrm>
        </p:spPr>
        <p:txBody>
          <a:bodyPr vert="horz" wrap="square" lIns="0" tIns="0" rIns="0" bIns="0" numCol="1" anchor="t" anchorCtr="0" compatLnSpc="1">
            <a:prstTxWarp prst="textNoShape">
              <a:avLst/>
            </a:prstTxWarp>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Que peuvent faire les gestionnaires de la carte de score ? </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Quels outils</a:t>
            </a:r>
          </a:p>
        </p:txBody>
      </p:sp>
      <p:sp>
        <p:nvSpPr>
          <p:cNvPr id="13" name="Text Placeholder 5">
            <a:extLst>
              <a:ext uri="{FF2B5EF4-FFF2-40B4-BE49-F238E27FC236}">
                <a16:creationId xmlns:a16="http://schemas.microsoft.com/office/drawing/2014/main" id="{619118C5-8A7C-674A-B212-C2B047E4F490}"/>
              </a:ext>
            </a:extLst>
          </p:cNvPr>
          <p:cNvSpPr txBox="1">
            <a:spLocks/>
          </p:cNvSpPr>
          <p:nvPr/>
        </p:nvSpPr>
        <p:spPr>
          <a:xfrm>
            <a:off x="451003" y="1805694"/>
            <a:ext cx="8058583" cy="4554639"/>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196"/>
              </a:spcBef>
              <a:spcAft>
                <a:spcPts val="1568"/>
              </a:spcAft>
            </a:pPr>
            <a:r>
              <a:rPr lang="fr-FR" sz="1764" b="1" dirty="0">
                <a:solidFill>
                  <a:schemeClr val="accent3"/>
                </a:solidFill>
              </a:rPr>
              <a:t>Diffusion de la carte de score : </a:t>
            </a:r>
            <a:r>
              <a:rPr lang="fr-FR" sz="1764" dirty="0">
                <a:solidFill>
                  <a:schemeClr val="bg2">
                    <a:lumMod val="10000"/>
                  </a:schemeClr>
                </a:solidFill>
              </a:rPr>
              <a:t>Imprimer la carte de score chaque trimestre et en envoyer un exemplaire aux bureaux de dirigeants, accompagné d'une lettre des priorités et actions principales du trimestre, l’envoyer en PDF par e-mail aux dirigeants, créer un groupe WhatsApp des intervenants clés et y publier la carte de score</a:t>
            </a:r>
          </a:p>
          <a:p>
            <a:pPr>
              <a:lnSpc>
                <a:spcPct val="100000"/>
              </a:lnSpc>
              <a:spcBef>
                <a:spcPts val="196"/>
              </a:spcBef>
              <a:spcAft>
                <a:spcPts val="1568"/>
              </a:spcAft>
            </a:pPr>
            <a:r>
              <a:rPr lang="fr-FR" sz="1764" b="1" dirty="0">
                <a:solidFill>
                  <a:schemeClr val="accent3"/>
                </a:solidFill>
              </a:rPr>
              <a:t>Action et redevabilité : </a:t>
            </a:r>
            <a:r>
              <a:rPr lang="fr-FR" sz="1764" dirty="0">
                <a:solidFill>
                  <a:schemeClr val="bg2">
                    <a:lumMod val="10000"/>
                  </a:schemeClr>
                </a:solidFill>
              </a:rPr>
              <a:t>Présenter l’analyse de la carte de score et les actions proposées à l’occasion des rencontres de haut niveau</a:t>
            </a:r>
            <a:r>
              <a:rPr lang="fr-FR" sz="1764" b="1" dirty="0">
                <a:solidFill>
                  <a:schemeClr val="bg2">
                    <a:lumMod val="10000"/>
                  </a:schemeClr>
                </a:solidFill>
              </a:rPr>
              <a:t>, </a:t>
            </a:r>
            <a:r>
              <a:rPr lang="fr-FR" sz="1764" dirty="0">
                <a:solidFill>
                  <a:schemeClr val="bg2">
                    <a:lumMod val="10000"/>
                  </a:schemeClr>
                </a:solidFill>
              </a:rPr>
              <a:t>transmettre aux dirigeants les actions et le budget requis pour leur mise en œuvre</a:t>
            </a:r>
            <a:r>
              <a:rPr lang="fr-FR" sz="1764" b="1" dirty="0">
                <a:solidFill>
                  <a:schemeClr val="bg2">
                    <a:lumMod val="10000"/>
                  </a:schemeClr>
                </a:solidFill>
              </a:rPr>
              <a:t>, </a:t>
            </a:r>
            <a:r>
              <a:rPr lang="fr-FR" sz="1764" dirty="0">
                <a:solidFill>
                  <a:schemeClr val="bg2">
                    <a:lumMod val="10000"/>
                  </a:schemeClr>
                </a:solidFill>
              </a:rPr>
              <a:t>encourager les dirigeants à suivre la mise en œuvre des actions vitales</a:t>
            </a:r>
          </a:p>
          <a:p>
            <a:pPr>
              <a:lnSpc>
                <a:spcPct val="100000"/>
              </a:lnSpc>
              <a:spcBef>
                <a:spcPts val="196"/>
              </a:spcBef>
              <a:spcAft>
                <a:spcPts val="1568"/>
              </a:spcAft>
            </a:pPr>
            <a:r>
              <a:rPr lang="fr-FR" sz="1764" b="1" dirty="0">
                <a:solidFill>
                  <a:schemeClr val="accent3"/>
                </a:solidFill>
              </a:rPr>
              <a:t>Formation à l’app mobile et à la plateforme de la carte de score : </a:t>
            </a:r>
            <a:r>
              <a:rPr lang="fr-FR" sz="1764" dirty="0">
                <a:solidFill>
                  <a:schemeClr val="bg2">
                    <a:lumMod val="10000"/>
                  </a:schemeClr>
                </a:solidFill>
              </a:rPr>
              <a:t>Orienter le plus d'intervenants possible et ajouter leurs comptes à la plateforme, aider les dirigeants à télécharger l’app mobile et à l’utiliser </a:t>
            </a:r>
          </a:p>
          <a:p>
            <a:pPr>
              <a:lnSpc>
                <a:spcPct val="100000"/>
              </a:lnSpc>
              <a:spcBef>
                <a:spcPts val="196"/>
              </a:spcBef>
              <a:spcAft>
                <a:spcPts val="392"/>
              </a:spcAft>
            </a:pPr>
            <a:endParaRPr lang="en-US" sz="1764" dirty="0">
              <a:solidFill>
                <a:schemeClr val="bg2">
                  <a:lumMod val="10000"/>
                </a:schemeClr>
              </a:solidFill>
            </a:endParaRPr>
          </a:p>
          <a:p>
            <a:pPr marL="280035" indent="-280035">
              <a:lnSpc>
                <a:spcPct val="100000"/>
              </a:lnSpc>
              <a:spcBef>
                <a:spcPts val="196"/>
              </a:spcBef>
              <a:spcAft>
                <a:spcPts val="392"/>
              </a:spcAft>
              <a:buFont typeface="Arial" panose="020B0604020202020204" pitchFamily="34" charset="0"/>
              <a:buChar char="•"/>
            </a:pPr>
            <a:endParaRPr lang="en-US" sz="1764" dirty="0">
              <a:solidFill>
                <a:schemeClr val="bg2">
                  <a:lumMod val="10000"/>
                </a:schemeClr>
              </a:solidFill>
            </a:endParaRPr>
          </a:p>
        </p:txBody>
      </p:sp>
    </p:spTree>
    <p:extLst>
      <p:ext uri="{BB962C8B-B14F-4D97-AF65-F5344CB8AC3E}">
        <p14:creationId xmlns:p14="http://schemas.microsoft.com/office/powerpoint/2010/main" val="401915623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98161" y="4073813"/>
            <a:ext cx="6858728" cy="2412840"/>
          </a:xfrm>
        </p:spPr>
        <p:txBody>
          <a:bodyPr/>
          <a:lstStyle/>
          <a:p>
            <a:pPr algn="ctr"/>
            <a:r>
              <a:rPr lang="fr-FR" sz="3136" dirty="0" err="1">
                <a:solidFill>
                  <a:schemeClr val="tx1"/>
                </a:solidFill>
              </a:rPr>
              <a:t>Platforme</a:t>
            </a:r>
            <a:r>
              <a:rPr lang="fr-FR" sz="3136" dirty="0">
                <a:solidFill>
                  <a:schemeClr val="tx1"/>
                </a:solidFill>
              </a:rPr>
              <a:t> Web: </a:t>
            </a:r>
            <a:r>
              <a:rPr lang="fr-FR" sz="3136" dirty="0" err="1">
                <a:solidFill>
                  <a:schemeClr val="tx1"/>
                </a:solidFill>
              </a:rPr>
              <a:t>Exercise</a:t>
            </a:r>
            <a:r>
              <a:rPr lang="fr-FR" sz="3136" dirty="0">
                <a:solidFill>
                  <a:schemeClr val="tx1"/>
                </a:solidFill>
              </a:rPr>
              <a:t> de compréhension </a:t>
            </a:r>
            <a:br>
              <a:rPr lang="fr-FR" sz="3136" dirty="0">
                <a:solidFill>
                  <a:schemeClr val="tx1"/>
                </a:solidFill>
              </a:rPr>
            </a:br>
            <a:br>
              <a:rPr lang="fr-FR" sz="3136" dirty="0">
                <a:solidFill>
                  <a:schemeClr val="tx1"/>
                </a:solidFill>
              </a:rPr>
            </a:br>
            <a:br>
              <a:rPr lang="fr-FR" sz="3136" dirty="0">
                <a:solidFill>
                  <a:schemeClr val="tx1"/>
                </a:solidFill>
              </a:rPr>
            </a:br>
            <a:endParaRPr lang="en-US" sz="3136" dirty="0">
              <a:solidFill>
                <a:schemeClr val="tx1"/>
              </a:solidFill>
            </a:endParaRPr>
          </a:p>
        </p:txBody>
      </p:sp>
      <p:sp>
        <p:nvSpPr>
          <p:cNvPr id="3" name="Subtitle 2"/>
          <p:cNvSpPr>
            <a:spLocks noGrp="1"/>
          </p:cNvSpPr>
          <p:nvPr>
            <p:ph type="subTitle" idx="1"/>
          </p:nvPr>
        </p:nvSpPr>
        <p:spPr>
          <a:xfrm>
            <a:off x="3454774" y="5294663"/>
            <a:ext cx="2355102" cy="338554"/>
          </a:xfrm>
        </p:spPr>
        <p:txBody>
          <a:bodyPr/>
          <a:lstStyle/>
          <a:p>
            <a:r>
              <a:rPr lang="en-US" dirty="0" err="1"/>
              <a:t>Juin</a:t>
            </a:r>
            <a:r>
              <a:rPr lang="en-US" dirty="0"/>
              <a:t> 2021</a:t>
            </a: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7" name="Picture 6">
            <a:extLst>
              <a:ext uri="{FF2B5EF4-FFF2-40B4-BE49-F238E27FC236}">
                <a16:creationId xmlns:a16="http://schemas.microsoft.com/office/drawing/2014/main" id="{3100521C-D06D-400B-B0D4-315EC948B32E}"/>
              </a:ext>
            </a:extLst>
          </p:cNvPr>
          <p:cNvPicPr>
            <a:picLocks noChangeAspect="1"/>
          </p:cNvPicPr>
          <p:nvPr/>
        </p:nvPicPr>
        <p:blipFill>
          <a:blip r:embed="rId3"/>
          <a:stretch>
            <a:fillRect/>
          </a:stretch>
        </p:blipFill>
        <p:spPr>
          <a:xfrm>
            <a:off x="2798191" y="769225"/>
            <a:ext cx="3011685" cy="3036071"/>
          </a:xfrm>
          <a:prstGeom prst="rect">
            <a:avLst/>
          </a:prstGeom>
        </p:spPr>
      </p:pic>
    </p:spTree>
    <p:extLst>
      <p:ext uri="{BB962C8B-B14F-4D97-AF65-F5344CB8AC3E}">
        <p14:creationId xmlns:p14="http://schemas.microsoft.com/office/powerpoint/2010/main" val="171863688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50561" y="606530"/>
            <a:ext cx="6858728" cy="1950021"/>
          </a:xfrm>
        </p:spPr>
        <p:txBody>
          <a:bodyPr/>
          <a:lstStyle/>
          <a:p>
            <a:br>
              <a:rPr lang="fr-FR" sz="1600" dirty="0">
                <a:solidFill>
                  <a:schemeClr val="tx1"/>
                </a:solidFill>
              </a:rPr>
            </a:br>
            <a:br>
              <a:rPr lang="en-US" sz="1600" dirty="0">
                <a:solidFill>
                  <a:schemeClr val="tx1"/>
                </a:solidFill>
              </a:rPr>
            </a:br>
            <a:br>
              <a:rPr lang="fr-FR" sz="1600" dirty="0">
                <a:solidFill>
                  <a:schemeClr val="tx1"/>
                </a:solidFill>
              </a:rPr>
            </a:br>
            <a:br>
              <a:rPr lang="fr-FR" sz="1600" dirty="0">
                <a:solidFill>
                  <a:schemeClr val="tx1"/>
                </a:solidFill>
              </a:rPr>
            </a:br>
            <a:br>
              <a:rPr lang="fr-FR" sz="3136" dirty="0">
                <a:solidFill>
                  <a:schemeClr val="tx1"/>
                </a:solidFill>
              </a:rPr>
            </a:br>
            <a:endParaRPr lang="en-US" sz="3136" dirty="0">
              <a:solidFill>
                <a:schemeClr val="tx1"/>
              </a:solidFill>
            </a:endParaRP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sp>
        <p:nvSpPr>
          <p:cNvPr id="6" name="TextBox 5">
            <a:extLst>
              <a:ext uri="{FF2B5EF4-FFF2-40B4-BE49-F238E27FC236}">
                <a16:creationId xmlns:a16="http://schemas.microsoft.com/office/drawing/2014/main" id="{749FEF17-5E64-4C9B-ACC6-66ADF2D7E064}"/>
              </a:ext>
            </a:extLst>
          </p:cNvPr>
          <p:cNvSpPr txBox="1"/>
          <p:nvPr/>
        </p:nvSpPr>
        <p:spPr>
          <a:xfrm>
            <a:off x="480514" y="501028"/>
            <a:ext cx="7694022" cy="5386090"/>
          </a:xfrm>
          <a:prstGeom prst="rect">
            <a:avLst/>
          </a:prstGeom>
          <a:noFill/>
        </p:spPr>
        <p:txBody>
          <a:bodyPr wrap="square">
            <a:spAutoFit/>
          </a:bodyPr>
          <a:lstStyle/>
          <a:p>
            <a:pPr marL="285750" indent="-285750">
              <a:spcBef>
                <a:spcPts val="1200"/>
              </a:spcBef>
              <a:spcAft>
                <a:spcPts val="1200"/>
              </a:spcAft>
              <a:buFont typeface="Arial" panose="020B0604020202020204" pitchFamily="34" charset="0"/>
              <a:buChar char="•"/>
            </a:pPr>
            <a:r>
              <a:rPr lang="fr-FR" sz="1800" dirty="0">
                <a:solidFill>
                  <a:schemeClr val="tx1"/>
                </a:solidFill>
              </a:rPr>
              <a:t>Ouvrir le fonctionnalité de Suivi d’Action</a:t>
            </a:r>
          </a:p>
          <a:p>
            <a:pPr marL="285750" indent="-285750">
              <a:spcBef>
                <a:spcPts val="1200"/>
              </a:spcBef>
              <a:spcAft>
                <a:spcPts val="1200"/>
              </a:spcAft>
              <a:buFont typeface="Arial" panose="020B0604020202020204" pitchFamily="34" charset="0"/>
              <a:buChar char="•"/>
            </a:pPr>
            <a:r>
              <a:rPr lang="fr-FR" sz="1800" dirty="0">
                <a:solidFill>
                  <a:schemeClr val="tx1"/>
                </a:solidFill>
              </a:rPr>
              <a:t>Aller a la Carte de Score </a:t>
            </a:r>
            <a:endParaRPr lang="fr-FR" sz="1800" dirty="0"/>
          </a:p>
          <a:p>
            <a:pPr marL="285750" indent="-285750">
              <a:spcBef>
                <a:spcPts val="1200"/>
              </a:spcBef>
              <a:spcAft>
                <a:spcPts val="1200"/>
              </a:spcAft>
              <a:buFont typeface="Arial" panose="020B0604020202020204" pitchFamily="34" charset="0"/>
              <a:buChar char="•"/>
            </a:pPr>
            <a:r>
              <a:rPr lang="fr-FR" sz="1800" dirty="0">
                <a:solidFill>
                  <a:schemeClr val="tx1"/>
                </a:solidFill>
              </a:rPr>
              <a:t>Sélectionner la carte de score de T4/2019 puis sélectionner T4/2020 </a:t>
            </a:r>
            <a:endParaRPr lang="fr-FR" sz="1800" dirty="0"/>
          </a:p>
          <a:p>
            <a:pPr marL="285750" indent="-285750">
              <a:spcBef>
                <a:spcPts val="1200"/>
              </a:spcBef>
              <a:spcAft>
                <a:spcPts val="1200"/>
              </a:spcAft>
              <a:buFont typeface="Arial" panose="020B0604020202020204" pitchFamily="34" charset="0"/>
              <a:buChar char="•"/>
            </a:pPr>
            <a:r>
              <a:rPr lang="fr-FR" sz="1800" dirty="0">
                <a:solidFill>
                  <a:schemeClr val="tx1"/>
                </a:solidFill>
              </a:rPr>
              <a:t>Isoler la carte de score pour un District</a:t>
            </a:r>
          </a:p>
          <a:p>
            <a:pPr marL="285750" indent="-285750">
              <a:spcBef>
                <a:spcPts val="1200"/>
              </a:spcBef>
              <a:spcAft>
                <a:spcPts val="1200"/>
              </a:spcAft>
              <a:buFont typeface="Arial" panose="020B0604020202020204" pitchFamily="34" charset="0"/>
              <a:buChar char="•"/>
            </a:pPr>
            <a:r>
              <a:rPr lang="fr-FR" sz="1800" dirty="0">
                <a:solidFill>
                  <a:schemeClr val="tx1"/>
                </a:solidFill>
              </a:rPr>
              <a:t>Télécharger un PDF d’une carte de score régional qui montre aussi un district. </a:t>
            </a:r>
            <a:endParaRPr lang="fr-FR" sz="1800" dirty="0"/>
          </a:p>
          <a:p>
            <a:pPr marL="285750" indent="-285750">
              <a:spcBef>
                <a:spcPts val="1200"/>
              </a:spcBef>
              <a:spcAft>
                <a:spcPts val="1200"/>
              </a:spcAft>
              <a:buFont typeface="Arial" panose="020B0604020202020204" pitchFamily="34" charset="0"/>
              <a:buChar char="•"/>
            </a:pPr>
            <a:r>
              <a:rPr lang="fr-FR" sz="1800" dirty="0">
                <a:solidFill>
                  <a:schemeClr val="tx1"/>
                </a:solidFill>
              </a:rPr>
              <a:t>Créer une ligne graphique qui compare le </a:t>
            </a:r>
            <a:r>
              <a:rPr lang="fr-FR" sz="2000" dirty="0">
                <a:solidFill>
                  <a:srgbClr val="FF0000"/>
                </a:solidFill>
                <a:latin typeface="-apple-system"/>
              </a:rPr>
              <a:t>Ratio des décès maternels dans les formations sanitaires </a:t>
            </a:r>
            <a:r>
              <a:rPr lang="fr-FR" sz="1800" dirty="0">
                <a:solidFill>
                  <a:schemeClr val="tx1"/>
                </a:solidFill>
              </a:rPr>
              <a:t>pour une province et 3 districts pour T4 2019 – </a:t>
            </a:r>
            <a:r>
              <a:rPr lang="fr-FR" sz="1800" dirty="0"/>
              <a:t>T4</a:t>
            </a:r>
            <a:r>
              <a:rPr lang="fr-FR" sz="1800" dirty="0">
                <a:solidFill>
                  <a:schemeClr val="tx1"/>
                </a:solidFill>
              </a:rPr>
              <a:t> 2020</a:t>
            </a:r>
            <a:endParaRPr lang="fr-FR" sz="1800" dirty="0"/>
          </a:p>
          <a:p>
            <a:pPr marL="285750" indent="-285750">
              <a:spcBef>
                <a:spcPts val="1200"/>
              </a:spcBef>
              <a:spcAft>
                <a:spcPts val="1200"/>
              </a:spcAft>
              <a:buFont typeface="Arial" panose="020B0604020202020204" pitchFamily="34" charset="0"/>
              <a:buChar char="•"/>
            </a:pPr>
            <a:r>
              <a:rPr lang="fr-FR" sz="1800" dirty="0">
                <a:solidFill>
                  <a:schemeClr val="tx1"/>
                </a:solidFill>
              </a:rPr>
              <a:t>Créer une ligne graphique qui compare la performance de </a:t>
            </a:r>
            <a:r>
              <a:rPr lang="fr-FR" sz="2000" dirty="0">
                <a:solidFill>
                  <a:srgbClr val="FF0000"/>
                </a:solidFill>
                <a:latin typeface="-apple-system"/>
              </a:rPr>
              <a:t>Ratio des décès maternels dans les formations sanitaires</a:t>
            </a:r>
            <a:r>
              <a:rPr lang="fr-FR" sz="2000" b="0" i="0" dirty="0">
                <a:solidFill>
                  <a:srgbClr val="FF0000"/>
                </a:solidFill>
                <a:effectLst/>
                <a:latin typeface="-apple-system"/>
              </a:rPr>
              <a:t> </a:t>
            </a:r>
            <a:r>
              <a:rPr lang="fr-FR" sz="1800" dirty="0">
                <a:solidFill>
                  <a:schemeClr val="tx1"/>
                </a:solidFill>
              </a:rPr>
              <a:t>6 districts puis générer un PDF du graphique pour T4 2019 – </a:t>
            </a:r>
            <a:r>
              <a:rPr lang="fr-FR" sz="1800" dirty="0"/>
              <a:t>T4</a:t>
            </a:r>
            <a:r>
              <a:rPr lang="fr-FR" sz="1800" dirty="0">
                <a:solidFill>
                  <a:schemeClr val="tx1"/>
                </a:solidFill>
              </a:rPr>
              <a:t> 2020 </a:t>
            </a:r>
            <a:endParaRPr lang="en-US" sz="1800" dirty="0"/>
          </a:p>
        </p:txBody>
      </p:sp>
    </p:spTree>
    <p:extLst>
      <p:ext uri="{BB962C8B-B14F-4D97-AF65-F5344CB8AC3E}">
        <p14:creationId xmlns:p14="http://schemas.microsoft.com/office/powerpoint/2010/main" val="108094276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sp>
        <p:nvSpPr>
          <p:cNvPr id="6" name="TextBox 5">
            <a:extLst>
              <a:ext uri="{FF2B5EF4-FFF2-40B4-BE49-F238E27FC236}">
                <a16:creationId xmlns:a16="http://schemas.microsoft.com/office/drawing/2014/main" id="{61E49BB0-FA26-4899-8571-64B599953963}"/>
              </a:ext>
            </a:extLst>
          </p:cNvPr>
          <p:cNvSpPr txBox="1"/>
          <p:nvPr/>
        </p:nvSpPr>
        <p:spPr>
          <a:xfrm>
            <a:off x="405007" y="1113402"/>
            <a:ext cx="8149835" cy="4522472"/>
          </a:xfrm>
          <a:prstGeom prst="rect">
            <a:avLst/>
          </a:prstGeom>
        </p:spPr>
        <p:txBody>
          <a:bodyPr vert="horz" wrap="square" lIns="89614" tIns="44807" rIns="89614" bIns="44807" rtlCol="0">
            <a:spAutoFit/>
          </a:bodyPr>
          <a:lstStyle/>
          <a:p>
            <a:pPr marL="461963" indent="-461963">
              <a:buFont typeface="+mj-lt"/>
              <a:buAutoNum type="arabicPeriod"/>
            </a:pPr>
            <a:endParaRPr lang="en-US" sz="1800" dirty="0"/>
          </a:p>
          <a:p>
            <a:pPr marL="461963" indent="-461963">
              <a:buFont typeface="+mj-lt"/>
              <a:buAutoNum type="arabicPeriod"/>
            </a:pPr>
            <a:r>
              <a:rPr lang="fr-FR" sz="1800" dirty="0"/>
              <a:t>Générer un rapport de la vue sous nationale montrant la performance de T4 2019 – T4 2020 d’un District. Télécharger le PDF du rapport </a:t>
            </a:r>
          </a:p>
          <a:p>
            <a:pPr marL="461963" indent="-461963">
              <a:buFont typeface="+mj-lt"/>
              <a:buAutoNum type="arabicPeriod"/>
            </a:pPr>
            <a:endParaRPr lang="fr-FR" sz="1800" dirty="0"/>
          </a:p>
          <a:p>
            <a:pPr marL="461963" indent="-461963">
              <a:buFont typeface="+mj-lt"/>
              <a:buAutoNum type="arabicPeriod"/>
            </a:pPr>
            <a:r>
              <a:rPr lang="fr-FR" sz="1800" dirty="0"/>
              <a:t>Générer un rapport utilisant la vue d’indicateur montrant la performance de l’indicateur « </a:t>
            </a:r>
            <a:r>
              <a:rPr lang="en-US" dirty="0"/>
              <a:t> </a:t>
            </a:r>
            <a:r>
              <a:rPr lang="en-US" sz="1800" dirty="0" err="1">
                <a:solidFill>
                  <a:srgbClr val="FF0000"/>
                </a:solidFill>
              </a:rPr>
              <a:t>Taux</a:t>
            </a:r>
            <a:r>
              <a:rPr lang="en-US" sz="1800" dirty="0">
                <a:solidFill>
                  <a:srgbClr val="FF0000"/>
                </a:solidFill>
              </a:rPr>
              <a:t> de CPN4</a:t>
            </a:r>
            <a:r>
              <a:rPr lang="en-US" dirty="0"/>
              <a:t>  </a:t>
            </a:r>
            <a:r>
              <a:rPr lang="fr-FR" sz="1800" dirty="0">
                <a:solidFill>
                  <a:srgbClr val="FF0000"/>
                </a:solidFill>
              </a:rPr>
              <a:t> </a:t>
            </a:r>
            <a:r>
              <a:rPr lang="fr-FR" sz="1800" dirty="0"/>
              <a:t>» pour T4 2019 – T4 2020</a:t>
            </a:r>
          </a:p>
          <a:p>
            <a:pPr marL="461963" indent="-461963">
              <a:buFont typeface="+mj-lt"/>
              <a:buAutoNum type="arabicPeriod"/>
            </a:pPr>
            <a:endParaRPr lang="en-US" sz="1800" dirty="0"/>
          </a:p>
          <a:p>
            <a:pPr marL="461963" indent="-461963">
              <a:buFont typeface="+mj-lt"/>
              <a:buAutoNum type="arabicPeriod"/>
            </a:pPr>
            <a:r>
              <a:rPr lang="fr-FR" sz="1800" dirty="0"/>
              <a:t>Aller au suivi d’action. Ajouter une action dans le suivi d’action </a:t>
            </a:r>
          </a:p>
          <a:p>
            <a:pPr marL="461963" indent="-461963">
              <a:buFont typeface="+mj-lt"/>
              <a:buAutoNum type="arabicPeriod"/>
            </a:pPr>
            <a:endParaRPr lang="fr-FR" sz="1800" dirty="0"/>
          </a:p>
          <a:p>
            <a:pPr marL="461963" indent="-461963">
              <a:buFont typeface="+mj-lt"/>
              <a:buAutoNum type="arabicPeriod"/>
            </a:pPr>
            <a:r>
              <a:rPr lang="fr-FR" sz="1800" dirty="0"/>
              <a:t>Ensuite mettez a jour l’ état de l’action a “action accomplie” et écrivez une explication d’ état.</a:t>
            </a:r>
          </a:p>
          <a:p>
            <a:pPr marL="461963" indent="-461963">
              <a:buFont typeface="+mj-lt"/>
              <a:buAutoNum type="arabicPeriod"/>
            </a:pPr>
            <a:endParaRPr lang="fr-FR" sz="1800" dirty="0"/>
          </a:p>
          <a:p>
            <a:pPr marL="461963" indent="-461963">
              <a:buFont typeface="+mj-lt"/>
              <a:buAutoNum type="arabicPeriod"/>
            </a:pPr>
            <a:r>
              <a:rPr lang="fr-FR" sz="1800" dirty="0"/>
              <a:t>Télécharger un fichier Excel du suivi d’action </a:t>
            </a:r>
          </a:p>
          <a:p>
            <a:pPr marL="461963" indent="-461963">
              <a:buFont typeface="+mj-lt"/>
              <a:buAutoNum type="arabicPeriod"/>
            </a:pPr>
            <a:endParaRPr lang="fr-FR" sz="1800" dirty="0"/>
          </a:p>
          <a:p>
            <a:pPr marL="461963" indent="-461963">
              <a:buFont typeface="+mj-lt"/>
              <a:buAutoNum type="arabicPeriod"/>
            </a:pPr>
            <a:r>
              <a:rPr lang="fr-FR" sz="1800" dirty="0"/>
              <a:t>Ajouter un commentaire a l’action </a:t>
            </a:r>
          </a:p>
          <a:p>
            <a:endParaRPr lang="en-US" sz="1800" dirty="0"/>
          </a:p>
        </p:txBody>
      </p:sp>
      <p:sp>
        <p:nvSpPr>
          <p:cNvPr id="2" name="TextBox 1">
            <a:extLst>
              <a:ext uri="{FF2B5EF4-FFF2-40B4-BE49-F238E27FC236}">
                <a16:creationId xmlns:a16="http://schemas.microsoft.com/office/drawing/2014/main" id="{7E087E61-A255-445F-9B64-5A56BF5A156F}"/>
              </a:ext>
            </a:extLst>
          </p:cNvPr>
          <p:cNvSpPr txBox="1"/>
          <p:nvPr/>
        </p:nvSpPr>
        <p:spPr>
          <a:xfrm>
            <a:off x="685799" y="467763"/>
            <a:ext cx="6917635" cy="338554"/>
          </a:xfrm>
          <a:prstGeom prst="rect">
            <a:avLst/>
          </a:prstGeom>
          <a:noFill/>
        </p:spPr>
        <p:txBody>
          <a:bodyPr wrap="square" rtlCol="0">
            <a:spAutoFit/>
          </a:bodyPr>
          <a:lstStyle/>
          <a:p>
            <a:r>
              <a:rPr lang="en-US" dirty="0" err="1"/>
              <a:t>Exercice</a:t>
            </a:r>
            <a:r>
              <a:rPr lang="en-US" dirty="0"/>
              <a:t> </a:t>
            </a:r>
            <a:r>
              <a:rPr lang="en-US" dirty="0" err="1"/>
              <a:t>vue</a:t>
            </a:r>
            <a:r>
              <a:rPr lang="en-US" dirty="0"/>
              <a:t> sous </a:t>
            </a:r>
            <a:r>
              <a:rPr lang="en-US" dirty="0" err="1"/>
              <a:t>nationale</a:t>
            </a:r>
            <a:r>
              <a:rPr lang="en-US" dirty="0"/>
              <a:t>, </a:t>
            </a:r>
            <a:r>
              <a:rPr lang="en-US" dirty="0" err="1"/>
              <a:t>vue</a:t>
            </a:r>
            <a:r>
              <a:rPr lang="en-US" dirty="0"/>
              <a:t> </a:t>
            </a:r>
            <a:r>
              <a:rPr lang="en-US" dirty="0" err="1"/>
              <a:t>d’indicateur</a:t>
            </a:r>
            <a:r>
              <a:rPr lang="en-US" dirty="0"/>
              <a:t> et  </a:t>
            </a:r>
            <a:r>
              <a:rPr lang="en-US" dirty="0" err="1"/>
              <a:t>suivi</a:t>
            </a:r>
            <a:r>
              <a:rPr lang="en-US" dirty="0"/>
              <a:t> </a:t>
            </a:r>
            <a:r>
              <a:rPr lang="en-US" dirty="0" err="1"/>
              <a:t>d’action</a:t>
            </a:r>
            <a:r>
              <a:rPr lang="en-US" dirty="0"/>
              <a:t> </a:t>
            </a:r>
            <a:endParaRPr lang="fr-FR" dirty="0"/>
          </a:p>
        </p:txBody>
      </p:sp>
    </p:spTree>
    <p:extLst>
      <p:ext uri="{BB962C8B-B14F-4D97-AF65-F5344CB8AC3E}">
        <p14:creationId xmlns:p14="http://schemas.microsoft.com/office/powerpoint/2010/main" val="240591792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81568" y="4158337"/>
            <a:ext cx="6858728" cy="2412840"/>
          </a:xfrm>
        </p:spPr>
        <p:txBody>
          <a:bodyPr/>
          <a:lstStyle/>
          <a:p>
            <a:pPr algn="ctr"/>
            <a:r>
              <a:rPr lang="fr-FR" sz="3136" dirty="0">
                <a:solidFill>
                  <a:schemeClr val="tx1"/>
                </a:solidFill>
              </a:rPr>
              <a:t>Comment créer une présentation d’analyse et proposée actions</a:t>
            </a:r>
            <a:br>
              <a:rPr lang="fr-FR" sz="3136" dirty="0">
                <a:solidFill>
                  <a:schemeClr val="tx1"/>
                </a:solidFill>
              </a:rPr>
            </a:br>
            <a:br>
              <a:rPr lang="fr-FR" sz="3136" dirty="0">
                <a:solidFill>
                  <a:schemeClr val="tx1"/>
                </a:solidFill>
              </a:rPr>
            </a:br>
            <a:br>
              <a:rPr lang="fr-FR" sz="3136" dirty="0">
                <a:solidFill>
                  <a:schemeClr val="tx1"/>
                </a:solidFill>
              </a:rPr>
            </a:br>
            <a:endParaRPr lang="en-US" sz="3136" dirty="0">
              <a:solidFill>
                <a:schemeClr val="tx1"/>
              </a:solidFill>
            </a:endParaRPr>
          </a:p>
        </p:txBody>
      </p:sp>
      <p:sp>
        <p:nvSpPr>
          <p:cNvPr id="3" name="Subtitle 2"/>
          <p:cNvSpPr>
            <a:spLocks noGrp="1"/>
          </p:cNvSpPr>
          <p:nvPr>
            <p:ph type="subTitle" idx="1"/>
          </p:nvPr>
        </p:nvSpPr>
        <p:spPr>
          <a:xfrm>
            <a:off x="3789952" y="5809440"/>
            <a:ext cx="2355102" cy="338554"/>
          </a:xfrm>
        </p:spPr>
        <p:txBody>
          <a:bodyPr/>
          <a:lstStyle/>
          <a:p>
            <a:r>
              <a:rPr lang="en-US" dirty="0" err="1"/>
              <a:t>Juin</a:t>
            </a:r>
            <a:r>
              <a:rPr lang="en-US" dirty="0"/>
              <a:t> 2021</a:t>
            </a: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10" name="Picture 9">
            <a:extLst>
              <a:ext uri="{FF2B5EF4-FFF2-40B4-BE49-F238E27FC236}">
                <a16:creationId xmlns:a16="http://schemas.microsoft.com/office/drawing/2014/main" id="{049084AE-0439-48C0-A317-94C4C1DE84CE}"/>
              </a:ext>
            </a:extLst>
          </p:cNvPr>
          <p:cNvPicPr>
            <a:picLocks noChangeAspect="1"/>
          </p:cNvPicPr>
          <p:nvPr/>
        </p:nvPicPr>
        <p:blipFill>
          <a:blip r:embed="rId3"/>
          <a:stretch>
            <a:fillRect/>
          </a:stretch>
        </p:blipFill>
        <p:spPr>
          <a:xfrm>
            <a:off x="2798191" y="769225"/>
            <a:ext cx="3011685" cy="3036071"/>
          </a:xfrm>
          <a:prstGeom prst="rect">
            <a:avLst/>
          </a:prstGeom>
        </p:spPr>
      </p:pic>
    </p:spTree>
    <p:extLst>
      <p:ext uri="{BB962C8B-B14F-4D97-AF65-F5344CB8AC3E}">
        <p14:creationId xmlns:p14="http://schemas.microsoft.com/office/powerpoint/2010/main" val="42587483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2EDE029-B956-442C-8A86-AB399C498B50}"/>
              </a:ext>
            </a:extLst>
          </p:cNvPr>
          <p:cNvSpPr txBox="1"/>
          <p:nvPr/>
        </p:nvSpPr>
        <p:spPr>
          <a:xfrm>
            <a:off x="321259" y="761005"/>
            <a:ext cx="8149835" cy="7569460"/>
          </a:xfrm>
          <a:prstGeom prst="rect">
            <a:avLst/>
          </a:prstGeom>
        </p:spPr>
        <p:txBody>
          <a:bodyPr vert="horz" wrap="square" lIns="89614" tIns="44807" rIns="89614" bIns="44807" rtlCol="0">
            <a:spAutoFit/>
          </a:bodyPr>
          <a:lstStyle/>
          <a:p>
            <a:r>
              <a:rPr lang="fr-FR" sz="1800" dirty="0"/>
              <a:t>Diapo 1: Insérer une capture d’ écran de la carte de score dans le PPT et </a:t>
            </a:r>
            <a:r>
              <a:rPr lang="fr-FR" sz="1800" u="sng" dirty="0"/>
              <a:t>encercler aux moins 3 priorités dans la carte de score. </a:t>
            </a:r>
            <a:r>
              <a:rPr lang="fr-FR" sz="1800" dirty="0"/>
              <a:t>Donnez la priorité à les régions avec des rouges, des flèches vers le bas, et en examinant les tendances sur plusieurs trimestres.</a:t>
            </a:r>
          </a:p>
          <a:p>
            <a:endParaRPr lang="fr-FR" sz="1700" dirty="0"/>
          </a:p>
          <a:p>
            <a:r>
              <a:rPr lang="fr-FR" sz="1700" dirty="0"/>
              <a:t>Pour Chaque Priorité: </a:t>
            </a:r>
          </a:p>
          <a:p>
            <a:pPr marL="342900" indent="-342900">
              <a:buFont typeface="+mj-lt"/>
              <a:buAutoNum type="arabicPeriod"/>
            </a:pPr>
            <a:endParaRPr lang="fr-FR" sz="1700" dirty="0"/>
          </a:p>
          <a:p>
            <a:pPr marL="342900" indent="-342900">
              <a:buFont typeface="+mj-lt"/>
              <a:buAutoNum type="arabicPeriod"/>
            </a:pPr>
            <a:r>
              <a:rPr lang="fr-FR" sz="1700" dirty="0"/>
              <a:t>Générer un rapport utilisant la fonction ‘vue d’indicateur’ pour montrer la performance pour chaque priorité pour T1/2020 – T1/2021. Insérer les graphiques dans le PPT. (3 diapos)</a:t>
            </a:r>
          </a:p>
          <a:p>
            <a:pPr marL="342900" indent="-342900">
              <a:buFont typeface="+mj-lt"/>
              <a:buAutoNum type="arabicPeriod"/>
            </a:pPr>
            <a:endParaRPr lang="fr-FR" sz="1700" dirty="0"/>
          </a:p>
          <a:p>
            <a:pPr marL="342900" indent="-342900">
              <a:buFont typeface="+mj-lt"/>
              <a:buAutoNum type="arabicPeriod"/>
            </a:pPr>
            <a:r>
              <a:rPr lang="fr-FR" sz="1700" dirty="0"/>
              <a:t>Générer une graphique linéaire pour chaque indicateur qui compare la performance de 6 districts ou AR ou CDS. Utiliser les périodes T4/2019 et T1/2021. Insérer dans le PPT. (3 diapos)</a:t>
            </a:r>
          </a:p>
          <a:p>
            <a:pPr marL="342900" indent="-342900">
              <a:buFont typeface="+mj-lt"/>
              <a:buAutoNum type="arabicPeriod"/>
            </a:pPr>
            <a:endParaRPr lang="fr-FR" sz="1700" dirty="0"/>
          </a:p>
          <a:p>
            <a:pPr marL="342900" indent="-342900">
              <a:buFont typeface="+mj-lt"/>
              <a:buAutoNum type="arabicPeriod"/>
            </a:pPr>
            <a:r>
              <a:rPr lang="fr-FR" sz="1700" dirty="0"/>
              <a:t>Créer une tableau avec trois colonnes (Prioritaire/Causes Potentielles/ Actions). Pour chaque priorité, écrivez une liste de 1-3 causes potentielles et sélectionner une action pour chaque un. (1-2 diapos)</a:t>
            </a:r>
          </a:p>
          <a:p>
            <a:pPr marL="342900" indent="-342900">
              <a:buFont typeface="+mj-lt"/>
              <a:buAutoNum type="arabicPeriod"/>
            </a:pPr>
            <a:endParaRPr lang="fr-FR" sz="1700" dirty="0"/>
          </a:p>
          <a:p>
            <a:pPr marL="342900" indent="-342900">
              <a:buFont typeface="+mj-lt"/>
              <a:buAutoNum type="arabicPeriod"/>
            </a:pPr>
            <a:r>
              <a:rPr lang="fr-FR" sz="1700" dirty="0"/>
              <a:t>Mettre trois actions dans l’outil suivi des actions et insérer une capture d’écran dans le PPT. (1 diapo)</a:t>
            </a:r>
          </a:p>
          <a:p>
            <a:br>
              <a:rPr lang="fr-FR" sz="1800" dirty="0"/>
            </a:br>
            <a:endParaRPr lang="fr-FR" sz="1800" u="sng" dirty="0"/>
          </a:p>
          <a:p>
            <a:pPr marL="224028" indent="-224028">
              <a:buFont typeface="+mj-lt"/>
              <a:buAutoNum type="arabicPeriod"/>
            </a:pPr>
            <a:endParaRPr lang="en-US" sz="1800" dirty="0"/>
          </a:p>
          <a:p>
            <a:pPr marL="224028" indent="-224028">
              <a:buFont typeface="+mj-lt"/>
              <a:buAutoNum type="arabicPeriod"/>
            </a:pPr>
            <a:endParaRPr lang="en-US" sz="1800" dirty="0"/>
          </a:p>
          <a:p>
            <a:pPr marL="224028" indent="-224028">
              <a:buFont typeface="+mj-lt"/>
              <a:buAutoNum type="arabicPeriod"/>
            </a:pPr>
            <a:endParaRPr lang="en-US" sz="1800" dirty="0"/>
          </a:p>
          <a:p>
            <a:pPr marL="224028" indent="-224028">
              <a:buFont typeface="+mj-lt"/>
              <a:buAutoNum type="arabicPeriod"/>
            </a:pPr>
            <a:endParaRPr lang="en-US" sz="1800" dirty="0"/>
          </a:p>
        </p:txBody>
      </p:sp>
      <p:sp>
        <p:nvSpPr>
          <p:cNvPr id="7" name="TextBox 6">
            <a:extLst>
              <a:ext uri="{FF2B5EF4-FFF2-40B4-BE49-F238E27FC236}">
                <a16:creationId xmlns:a16="http://schemas.microsoft.com/office/drawing/2014/main" id="{CA534CA5-66E8-497C-B4E5-1B5ED32ACA07}"/>
              </a:ext>
            </a:extLst>
          </p:cNvPr>
          <p:cNvSpPr txBox="1"/>
          <p:nvPr/>
        </p:nvSpPr>
        <p:spPr>
          <a:xfrm>
            <a:off x="321259" y="73679"/>
            <a:ext cx="7708520" cy="693731"/>
          </a:xfrm>
          <a:prstGeom prst="rect">
            <a:avLst/>
          </a:prstGeom>
        </p:spPr>
        <p:txBody>
          <a:bodyPr vert="horz" wrap="square" lIns="89614" tIns="44807" rIns="89614" bIns="44807" rtlCol="0">
            <a:spAutoFit/>
          </a:bodyPr>
          <a:lstStyle/>
          <a:p>
            <a:r>
              <a:rPr lang="fr-FR" sz="1960" b="1" dirty="0"/>
              <a:t>Exercice: comment développer une présentation PPT sur l'analyse de la carte de score et proposition des actions</a:t>
            </a:r>
          </a:p>
        </p:txBody>
      </p:sp>
    </p:spTree>
    <p:extLst>
      <p:ext uri="{BB962C8B-B14F-4D97-AF65-F5344CB8AC3E}">
        <p14:creationId xmlns:p14="http://schemas.microsoft.com/office/powerpoint/2010/main" val="256805605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C43FC5-F32F-4AE9-BDD0-D0D4EBE5D528}"/>
              </a:ext>
            </a:extLst>
          </p:cNvPr>
          <p:cNvSpPr txBox="1"/>
          <p:nvPr/>
        </p:nvSpPr>
        <p:spPr>
          <a:xfrm>
            <a:off x="60951" y="2701405"/>
            <a:ext cx="5111550" cy="3570208"/>
          </a:xfrm>
          <a:prstGeom prst="rect">
            <a:avLst/>
          </a:prstGeom>
          <a:noFill/>
        </p:spPr>
        <p:txBody>
          <a:bodyPr wrap="square" rtlCol="0">
            <a:spAutoFit/>
          </a:bodyPr>
          <a:lstStyle/>
          <a:p>
            <a:pPr marL="342900" indent="-342900">
              <a:spcBef>
                <a:spcPts val="600"/>
              </a:spcBef>
              <a:spcAft>
                <a:spcPts val="600"/>
              </a:spcAft>
              <a:buAutoNum type="arabicParenR"/>
            </a:pPr>
            <a:r>
              <a:rPr lang="fr-FR" dirty="0"/>
              <a:t>Rechercher « </a:t>
            </a:r>
            <a:r>
              <a:rPr lang="fr-FR" sz="1600" b="1" dirty="0"/>
              <a:t>Outil Capture  » </a:t>
            </a:r>
            <a:r>
              <a:rPr lang="fr-FR" sz="1600" dirty="0"/>
              <a:t>ou « </a:t>
            </a:r>
            <a:r>
              <a:rPr lang="fr-FR" dirty="0" err="1"/>
              <a:t>Snipping</a:t>
            </a:r>
            <a:r>
              <a:rPr lang="fr-FR" dirty="0"/>
              <a:t> Tool » dans votre ordinateur.</a:t>
            </a:r>
          </a:p>
          <a:p>
            <a:pPr marL="342900" indent="-342900">
              <a:spcBef>
                <a:spcPts val="600"/>
              </a:spcBef>
              <a:spcAft>
                <a:spcPts val="600"/>
              </a:spcAft>
              <a:buAutoNum type="arabicParenR"/>
            </a:pPr>
            <a:r>
              <a:rPr lang="fr-FR" dirty="0"/>
              <a:t>Sélectionner et ouvrir l’outil ‘</a:t>
            </a:r>
            <a:r>
              <a:rPr lang="fr-FR" dirty="0" err="1"/>
              <a:t>Snipping</a:t>
            </a:r>
            <a:r>
              <a:rPr lang="fr-FR" dirty="0"/>
              <a:t> Tool’.</a:t>
            </a:r>
          </a:p>
          <a:p>
            <a:pPr marL="342900" indent="-342900">
              <a:spcBef>
                <a:spcPts val="600"/>
              </a:spcBef>
              <a:spcAft>
                <a:spcPts val="600"/>
              </a:spcAft>
              <a:buAutoNum type="arabicParenR"/>
            </a:pPr>
            <a:r>
              <a:rPr lang="fr-FR" dirty="0"/>
              <a:t>Mettez en fond d’</a:t>
            </a:r>
            <a:r>
              <a:rPr lang="fr-FR" dirty="0" err="1"/>
              <a:t>ecran</a:t>
            </a:r>
            <a:r>
              <a:rPr lang="fr-FR" dirty="0"/>
              <a:t> la page ou image dont vous aimeriez faire une capture d’</a:t>
            </a:r>
            <a:r>
              <a:rPr lang="fr-FR" dirty="0" err="1"/>
              <a:t>ecran</a:t>
            </a:r>
            <a:r>
              <a:rPr lang="fr-FR" dirty="0"/>
              <a:t>.</a:t>
            </a:r>
          </a:p>
          <a:p>
            <a:pPr marL="342900" indent="-342900">
              <a:spcBef>
                <a:spcPts val="600"/>
              </a:spcBef>
              <a:spcAft>
                <a:spcPts val="600"/>
              </a:spcAft>
              <a:buAutoNum type="arabicParenR"/>
            </a:pPr>
            <a:r>
              <a:rPr lang="fr-FR" dirty="0"/>
              <a:t>Cliquer sur ‘Nouveau’ ou « New » en </a:t>
            </a:r>
            <a:r>
              <a:rPr lang="fr-FR" dirty="0" err="1"/>
              <a:t>anlais</a:t>
            </a:r>
            <a:r>
              <a:rPr lang="fr-FR" dirty="0"/>
              <a:t> dans l’outil.</a:t>
            </a:r>
          </a:p>
          <a:p>
            <a:pPr marL="342900" indent="-342900">
              <a:spcBef>
                <a:spcPts val="600"/>
              </a:spcBef>
              <a:spcAft>
                <a:spcPts val="600"/>
              </a:spcAft>
              <a:buAutoNum type="arabicParenR"/>
            </a:pPr>
            <a:r>
              <a:rPr lang="fr-FR" dirty="0"/>
              <a:t>Utiliser le curseur pour sélectionner ce dont vous voulez faire une capture.</a:t>
            </a:r>
          </a:p>
          <a:p>
            <a:pPr marL="342900" indent="-342900">
              <a:spcBef>
                <a:spcPts val="600"/>
              </a:spcBef>
              <a:spcAft>
                <a:spcPts val="600"/>
              </a:spcAft>
              <a:buAutoNum type="arabicParenR"/>
            </a:pPr>
            <a:r>
              <a:rPr lang="fr-FR" dirty="0"/>
              <a:t>Copiez et coller l’image dans les documents approprier. </a:t>
            </a:r>
          </a:p>
        </p:txBody>
      </p:sp>
      <p:grpSp>
        <p:nvGrpSpPr>
          <p:cNvPr id="14" name="Group 13">
            <a:extLst>
              <a:ext uri="{FF2B5EF4-FFF2-40B4-BE49-F238E27FC236}">
                <a16:creationId xmlns:a16="http://schemas.microsoft.com/office/drawing/2014/main" id="{BF3452A1-1214-41B2-8BA0-C99CC64CF295}"/>
              </a:ext>
            </a:extLst>
          </p:cNvPr>
          <p:cNvGrpSpPr/>
          <p:nvPr/>
        </p:nvGrpSpPr>
        <p:grpSpPr>
          <a:xfrm>
            <a:off x="321015" y="1005614"/>
            <a:ext cx="7280788" cy="1009128"/>
            <a:chOff x="744096" y="1289181"/>
            <a:chExt cx="7280788" cy="1009128"/>
          </a:xfrm>
        </p:grpSpPr>
        <p:pic>
          <p:nvPicPr>
            <p:cNvPr id="10" name="Picture 2">
              <a:extLst>
                <a:ext uri="{FF2B5EF4-FFF2-40B4-BE49-F238E27FC236}">
                  <a16:creationId xmlns:a16="http://schemas.microsoft.com/office/drawing/2014/main" id="{48AAF831-0492-4A21-97A8-A517DB3E876B}"/>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716000" y="1411593"/>
              <a:ext cx="784651" cy="784651"/>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B95A306B-7B2B-47FE-8164-E0BE22C6C34B}"/>
                </a:ext>
              </a:extLst>
            </p:cNvPr>
            <p:cNvSpPr txBox="1"/>
            <p:nvPr/>
          </p:nvSpPr>
          <p:spPr>
            <a:xfrm>
              <a:off x="744096" y="1511530"/>
              <a:ext cx="7280788" cy="584775"/>
            </a:xfrm>
            <a:prstGeom prst="rect">
              <a:avLst/>
            </a:prstGeom>
            <a:noFill/>
          </p:spPr>
          <p:txBody>
            <a:bodyPr wrap="square" anchor="ctr">
              <a:spAutoFit/>
            </a:bodyPr>
            <a:lstStyle/>
            <a:p>
              <a:r>
                <a:rPr lang="fr-FR" b="1" dirty="0"/>
                <a:t>Capture d’</a:t>
              </a:r>
              <a:r>
                <a:rPr lang="fr-FR" b="1" dirty="0" err="1"/>
                <a:t>ecran</a:t>
              </a:r>
              <a:r>
                <a:rPr lang="fr-FR" b="1" dirty="0"/>
                <a:t>: </a:t>
              </a:r>
              <a:r>
                <a:rPr lang="en-US" b="1" dirty="0"/>
                <a:t>                      </a:t>
              </a:r>
              <a:r>
                <a:rPr lang="en-US" sz="3200" b="1" dirty="0"/>
                <a:t>+              +                         </a:t>
              </a:r>
              <a:endParaRPr lang="en-US" b="1" dirty="0"/>
            </a:p>
          </p:txBody>
        </p:sp>
        <p:pic>
          <p:nvPicPr>
            <p:cNvPr id="12" name="Picture 4">
              <a:extLst>
                <a:ext uri="{FF2B5EF4-FFF2-40B4-BE49-F238E27FC236}">
                  <a16:creationId xmlns:a16="http://schemas.microsoft.com/office/drawing/2014/main" id="{0975210B-4A36-430C-A0B1-D868C55BD5C4}"/>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8125" r="12014"/>
            <a:stretch/>
          </p:blipFill>
          <p:spPr bwMode="auto">
            <a:xfrm>
              <a:off x="4155751" y="1309527"/>
              <a:ext cx="1316803" cy="988782"/>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a:extLst>
                <a:ext uri="{FF2B5EF4-FFF2-40B4-BE49-F238E27FC236}">
                  <a16:creationId xmlns:a16="http://schemas.microsoft.com/office/drawing/2014/main" id="{B3AE31E0-588F-4EC9-8ACD-9A63C1EDCDA4}"/>
                </a:ext>
              </a:extLst>
            </p:cNvPr>
            <p:cNvGrpSpPr/>
            <p:nvPr/>
          </p:nvGrpSpPr>
          <p:grpSpPr>
            <a:xfrm>
              <a:off x="5964072" y="1289181"/>
              <a:ext cx="1363360" cy="907063"/>
              <a:chOff x="2720826" y="1455738"/>
              <a:chExt cx="3704265" cy="3057067"/>
            </a:xfrm>
          </p:grpSpPr>
          <p:pic>
            <p:nvPicPr>
              <p:cNvPr id="2054" name="Picture 6">
                <a:extLst>
                  <a:ext uri="{FF2B5EF4-FFF2-40B4-BE49-F238E27FC236}">
                    <a16:creationId xmlns:a16="http://schemas.microsoft.com/office/drawing/2014/main" id="{FC06B4B6-2011-485D-AF39-B10C0481BABF}"/>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9219"/>
              <a:stretch/>
            </p:blipFill>
            <p:spPr bwMode="auto">
              <a:xfrm>
                <a:off x="2720826" y="1455738"/>
                <a:ext cx="3704265" cy="3057067"/>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667A07BC-922B-4847-A57B-EA73C666F820}"/>
                  </a:ext>
                </a:extLst>
              </p:cNvPr>
              <p:cNvSpPr txBox="1"/>
              <p:nvPr/>
            </p:nvSpPr>
            <p:spPr>
              <a:xfrm>
                <a:off x="3329393" y="2175710"/>
                <a:ext cx="1248771" cy="1555946"/>
              </a:xfrm>
              <a:prstGeom prst="rect">
                <a:avLst/>
              </a:prstGeom>
              <a:solidFill>
                <a:schemeClr val="tx1">
                  <a:lumMod val="95000"/>
                  <a:lumOff val="5000"/>
                </a:schemeClr>
              </a:solidFill>
              <a:ln>
                <a:solidFill>
                  <a:schemeClr val="tx1">
                    <a:lumMod val="95000"/>
                    <a:lumOff val="5000"/>
                  </a:schemeClr>
                </a:solidFill>
              </a:ln>
            </p:spPr>
            <p:txBody>
              <a:bodyPr wrap="square" rtlCol="0">
                <a:spAutoFit/>
              </a:bodyPr>
              <a:lstStyle/>
              <a:p>
                <a:r>
                  <a:rPr lang="en-US" sz="2400" dirty="0">
                    <a:solidFill>
                      <a:schemeClr val="bg1"/>
                    </a:solidFill>
                  </a:rPr>
                  <a:t>S</a:t>
                </a:r>
              </a:p>
            </p:txBody>
          </p:sp>
        </p:grpSp>
      </p:grpSp>
      <p:sp>
        <p:nvSpPr>
          <p:cNvPr id="17" name="TextBox 16">
            <a:extLst>
              <a:ext uri="{FF2B5EF4-FFF2-40B4-BE49-F238E27FC236}">
                <a16:creationId xmlns:a16="http://schemas.microsoft.com/office/drawing/2014/main" id="{BC78A931-CC00-4CA9-B714-0DDF74A978C0}"/>
              </a:ext>
            </a:extLst>
          </p:cNvPr>
          <p:cNvSpPr txBox="1"/>
          <p:nvPr/>
        </p:nvSpPr>
        <p:spPr>
          <a:xfrm>
            <a:off x="388165" y="276053"/>
            <a:ext cx="6936134" cy="646331"/>
          </a:xfrm>
          <a:prstGeom prst="rect">
            <a:avLst/>
          </a:prstGeom>
          <a:noFill/>
        </p:spPr>
        <p:txBody>
          <a:bodyPr wrap="square">
            <a:spAutoFit/>
          </a:bodyPr>
          <a:lstStyle/>
          <a:p>
            <a:r>
              <a:rPr lang="fr-FR" sz="1800" b="1" dirty="0"/>
              <a:t>pour insérer une image de la carte de score, les tableaux et les graphiques dans une présentation PPT </a:t>
            </a:r>
            <a:r>
              <a:rPr lang="fr-FR" sz="1800" b="1" dirty="0" err="1"/>
              <a:t>utilizer</a:t>
            </a:r>
            <a:r>
              <a:rPr lang="fr-FR" sz="1800" b="1" dirty="0"/>
              <a:t>…</a:t>
            </a:r>
          </a:p>
        </p:txBody>
      </p:sp>
      <p:sp>
        <p:nvSpPr>
          <p:cNvPr id="19" name="TextBox 18">
            <a:extLst>
              <a:ext uri="{FF2B5EF4-FFF2-40B4-BE49-F238E27FC236}">
                <a16:creationId xmlns:a16="http://schemas.microsoft.com/office/drawing/2014/main" id="{6C3B722E-6640-43E6-ABC9-9AF8F649DC8E}"/>
              </a:ext>
            </a:extLst>
          </p:cNvPr>
          <p:cNvSpPr txBox="1"/>
          <p:nvPr/>
        </p:nvSpPr>
        <p:spPr>
          <a:xfrm>
            <a:off x="388165" y="2210859"/>
            <a:ext cx="6936134" cy="369332"/>
          </a:xfrm>
          <a:prstGeom prst="rect">
            <a:avLst/>
          </a:prstGeom>
          <a:noFill/>
        </p:spPr>
        <p:txBody>
          <a:bodyPr wrap="square">
            <a:spAutoFit/>
          </a:bodyPr>
          <a:lstStyle/>
          <a:p>
            <a:r>
              <a:rPr lang="fr-FR" sz="1800" b="1" dirty="0"/>
              <a:t>Ou utilisez « </a:t>
            </a:r>
            <a:r>
              <a:rPr lang="fr-FR" sz="1800" b="1" dirty="0" err="1"/>
              <a:t>snipping</a:t>
            </a:r>
            <a:r>
              <a:rPr lang="fr-FR" sz="1800" b="1" dirty="0"/>
              <a:t> </a:t>
            </a:r>
            <a:r>
              <a:rPr lang="fr-FR" sz="1800" b="1" dirty="0" err="1"/>
              <a:t>tool</a:t>
            </a:r>
            <a:r>
              <a:rPr lang="fr-FR" sz="1800" b="1" dirty="0"/>
              <a:t> » « Outil Capture »</a:t>
            </a:r>
          </a:p>
        </p:txBody>
      </p:sp>
      <p:sp>
        <p:nvSpPr>
          <p:cNvPr id="21" name="TextBox 20">
            <a:extLst>
              <a:ext uri="{FF2B5EF4-FFF2-40B4-BE49-F238E27FC236}">
                <a16:creationId xmlns:a16="http://schemas.microsoft.com/office/drawing/2014/main" id="{4FB83204-EED4-44D3-9F0A-1E4E25E294F5}"/>
              </a:ext>
            </a:extLst>
          </p:cNvPr>
          <p:cNvSpPr txBox="1"/>
          <p:nvPr/>
        </p:nvSpPr>
        <p:spPr>
          <a:xfrm>
            <a:off x="7215254" y="1227963"/>
            <a:ext cx="1607022" cy="830997"/>
          </a:xfrm>
          <a:prstGeom prst="rect">
            <a:avLst/>
          </a:prstGeom>
          <a:noFill/>
        </p:spPr>
        <p:txBody>
          <a:bodyPr wrap="square">
            <a:spAutoFit/>
          </a:bodyPr>
          <a:lstStyle/>
          <a:p>
            <a:pPr algn="ctr"/>
            <a:r>
              <a:rPr lang="en-US" dirty="0" err="1"/>
              <a:t>puis</a:t>
            </a:r>
            <a:r>
              <a:rPr lang="en-US" dirty="0"/>
              <a:t> </a:t>
            </a:r>
            <a:r>
              <a:rPr lang="en-US" dirty="0" err="1"/>
              <a:t>copiez</a:t>
            </a:r>
            <a:r>
              <a:rPr lang="en-US" dirty="0"/>
              <a:t> et </a:t>
            </a:r>
            <a:r>
              <a:rPr lang="en-US" dirty="0" err="1"/>
              <a:t>collez</a:t>
            </a:r>
            <a:r>
              <a:rPr lang="en-US" dirty="0"/>
              <a:t> dans PPT</a:t>
            </a:r>
          </a:p>
        </p:txBody>
      </p:sp>
      <p:sp>
        <p:nvSpPr>
          <p:cNvPr id="16" name="Arrow: Up 15">
            <a:extLst>
              <a:ext uri="{FF2B5EF4-FFF2-40B4-BE49-F238E27FC236}">
                <a16:creationId xmlns:a16="http://schemas.microsoft.com/office/drawing/2014/main" id="{5E7A0F42-8EFC-4878-85CC-6B7E35257626}"/>
              </a:ext>
            </a:extLst>
          </p:cNvPr>
          <p:cNvSpPr/>
          <p:nvPr/>
        </p:nvSpPr>
        <p:spPr>
          <a:xfrm rot="5400000">
            <a:off x="6901962" y="1433015"/>
            <a:ext cx="313292" cy="211540"/>
          </a:xfrm>
          <a:prstGeom prst="upArrow">
            <a:avLst/>
          </a:prstGeom>
          <a:solidFill>
            <a:schemeClr val="tx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pic>
        <p:nvPicPr>
          <p:cNvPr id="24" name="Picture 8" descr="Interface de capture © Futura-Techno">
            <a:extLst>
              <a:ext uri="{FF2B5EF4-FFF2-40B4-BE49-F238E27FC236}">
                <a16:creationId xmlns:a16="http://schemas.microsoft.com/office/drawing/2014/main" id="{D5FCF7DD-B2E7-4057-8BE4-C2C06AD4025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1024"/>
          <a:stretch/>
        </p:blipFill>
        <p:spPr bwMode="auto">
          <a:xfrm>
            <a:off x="5274860" y="3209830"/>
            <a:ext cx="3686578" cy="1762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057793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0F13BCC9-D26C-48EB-BB89-C68A55B8BC19}"/>
              </a:ext>
            </a:extLst>
          </p:cNvPr>
          <p:cNvSpPr>
            <a:spLocks noGrp="1"/>
          </p:cNvSpPr>
          <p:nvPr>
            <p:ph type="ctrTitle"/>
          </p:nvPr>
        </p:nvSpPr>
        <p:spPr>
          <a:xfrm>
            <a:off x="1120180" y="1071836"/>
            <a:ext cx="6721078" cy="694187"/>
          </a:xfrm>
        </p:spPr>
        <p:txBody>
          <a:bodyPr/>
          <a:lstStyle/>
          <a:p>
            <a:r>
              <a:rPr lang="fr-FR" dirty="0"/>
              <a:t>EXAMPLE</a:t>
            </a:r>
            <a:endParaRPr lang="en-BI" dirty="0"/>
          </a:p>
        </p:txBody>
      </p:sp>
      <p:pic>
        <p:nvPicPr>
          <p:cNvPr id="3" name="Picture 2">
            <a:extLst>
              <a:ext uri="{FF2B5EF4-FFF2-40B4-BE49-F238E27FC236}">
                <a16:creationId xmlns:a16="http://schemas.microsoft.com/office/drawing/2014/main" id="{9D410402-2D00-488A-A319-187D5CE60309}"/>
              </a:ext>
            </a:extLst>
          </p:cNvPr>
          <p:cNvPicPr>
            <a:picLocks noChangeAspect="1"/>
          </p:cNvPicPr>
          <p:nvPr/>
        </p:nvPicPr>
        <p:blipFill>
          <a:blip r:embed="rId2"/>
          <a:stretch>
            <a:fillRect/>
          </a:stretch>
        </p:blipFill>
        <p:spPr>
          <a:xfrm>
            <a:off x="3373886" y="1766024"/>
            <a:ext cx="2213667" cy="2231591"/>
          </a:xfrm>
          <a:prstGeom prst="rect">
            <a:avLst/>
          </a:prstGeom>
        </p:spPr>
      </p:pic>
      <p:sp>
        <p:nvSpPr>
          <p:cNvPr id="6" name="TextBox 5">
            <a:extLst>
              <a:ext uri="{FF2B5EF4-FFF2-40B4-BE49-F238E27FC236}">
                <a16:creationId xmlns:a16="http://schemas.microsoft.com/office/drawing/2014/main" id="{0131E7A7-526D-4373-9977-101B0F224E0D}"/>
              </a:ext>
            </a:extLst>
          </p:cNvPr>
          <p:cNvSpPr txBox="1"/>
          <p:nvPr/>
        </p:nvSpPr>
        <p:spPr>
          <a:xfrm>
            <a:off x="1654132" y="4313706"/>
            <a:ext cx="5653174" cy="1042401"/>
          </a:xfrm>
          <a:prstGeom prst="rect">
            <a:avLst/>
          </a:prstGeom>
          <a:noFill/>
        </p:spPr>
        <p:txBody>
          <a:bodyPr wrap="square">
            <a:spAutoFit/>
          </a:bodyPr>
          <a:lstStyle/>
          <a:p>
            <a:pPr algn="ctr"/>
            <a:r>
              <a:rPr lang="fr-FR" sz="2058" dirty="0"/>
              <a:t>Analyse et actions proposées </a:t>
            </a:r>
          </a:p>
          <a:p>
            <a:pPr algn="ctr"/>
            <a:r>
              <a:rPr lang="fr-FR" sz="2058" dirty="0"/>
              <a:t>Carte de Score (T1 2021) </a:t>
            </a:r>
          </a:p>
          <a:p>
            <a:pPr algn="ctr"/>
            <a:r>
              <a:rPr lang="fr-FR" sz="2058" dirty="0"/>
              <a:t>pour SRMNIA</a:t>
            </a:r>
            <a:endParaRPr lang="en-US" sz="2058" dirty="0"/>
          </a:p>
        </p:txBody>
      </p:sp>
    </p:spTree>
    <p:extLst>
      <p:ext uri="{BB962C8B-B14F-4D97-AF65-F5344CB8AC3E}">
        <p14:creationId xmlns:p14="http://schemas.microsoft.com/office/powerpoint/2010/main" val="23521699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148989" y="3900190"/>
            <a:ext cx="6858728" cy="1930272"/>
          </a:xfrm>
        </p:spPr>
        <p:txBody>
          <a:bodyPr/>
          <a:lstStyle/>
          <a:p>
            <a:pPr algn="ctr"/>
            <a:r>
              <a:rPr lang="fr-FR" sz="3136" dirty="0">
                <a:solidFill>
                  <a:schemeClr val="tx1"/>
                </a:solidFill>
              </a:rPr>
              <a:t>Aperçu de l’outil de gestion </a:t>
            </a:r>
            <a:br>
              <a:rPr lang="fr-FR" sz="3136" dirty="0">
                <a:solidFill>
                  <a:schemeClr val="tx1"/>
                </a:solidFill>
              </a:rPr>
            </a:br>
            <a:r>
              <a:rPr lang="fr-FR" sz="3136" dirty="0">
                <a:solidFill>
                  <a:schemeClr val="tx1"/>
                </a:solidFill>
              </a:rPr>
              <a:t>carte de score </a:t>
            </a:r>
            <a:br>
              <a:rPr lang="fr-FR" sz="3136" dirty="0">
                <a:solidFill>
                  <a:schemeClr val="tx1"/>
                </a:solidFill>
              </a:rPr>
            </a:br>
            <a:br>
              <a:rPr lang="fr-FR" sz="3136" dirty="0">
                <a:solidFill>
                  <a:schemeClr val="tx1"/>
                </a:solidFill>
              </a:rPr>
            </a:br>
            <a:endParaRPr lang="en-US" sz="3136" dirty="0">
              <a:solidFill>
                <a:schemeClr val="tx1"/>
              </a:solidFill>
            </a:endParaRPr>
          </a:p>
        </p:txBody>
      </p:sp>
      <p:sp>
        <p:nvSpPr>
          <p:cNvPr id="3" name="Subtitle 2"/>
          <p:cNvSpPr>
            <a:spLocks noGrp="1"/>
          </p:cNvSpPr>
          <p:nvPr>
            <p:ph type="subTitle" idx="1"/>
          </p:nvPr>
        </p:nvSpPr>
        <p:spPr>
          <a:xfrm>
            <a:off x="3824242" y="5182963"/>
            <a:ext cx="2355102" cy="338554"/>
          </a:xfrm>
        </p:spPr>
        <p:txBody>
          <a:bodyPr/>
          <a:lstStyle/>
          <a:p>
            <a:r>
              <a:rPr lang="en-US" dirty="0" err="1"/>
              <a:t>Juin</a:t>
            </a:r>
            <a:r>
              <a:rPr lang="en-US" dirty="0"/>
              <a:t> 2021</a:t>
            </a: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7" name="Picture 6">
            <a:extLst>
              <a:ext uri="{FF2B5EF4-FFF2-40B4-BE49-F238E27FC236}">
                <a16:creationId xmlns:a16="http://schemas.microsoft.com/office/drawing/2014/main" id="{BD3EC41E-2E01-4968-9C5E-48C4A7D40588}"/>
              </a:ext>
            </a:extLst>
          </p:cNvPr>
          <p:cNvPicPr>
            <a:picLocks noChangeAspect="1"/>
          </p:cNvPicPr>
          <p:nvPr/>
        </p:nvPicPr>
        <p:blipFill>
          <a:blip r:embed="rId3"/>
          <a:stretch>
            <a:fillRect/>
          </a:stretch>
        </p:blipFill>
        <p:spPr>
          <a:xfrm>
            <a:off x="3072511" y="477067"/>
            <a:ext cx="3011685" cy="3036071"/>
          </a:xfrm>
          <a:prstGeom prst="rect">
            <a:avLst/>
          </a:prstGeom>
        </p:spPr>
      </p:pic>
    </p:spTree>
    <p:extLst>
      <p:ext uri="{BB962C8B-B14F-4D97-AF65-F5344CB8AC3E}">
        <p14:creationId xmlns:p14="http://schemas.microsoft.com/office/powerpoint/2010/main" val="238042395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3" name="Group 62">
            <a:extLst>
              <a:ext uri="{FF2B5EF4-FFF2-40B4-BE49-F238E27FC236}">
                <a16:creationId xmlns:a16="http://schemas.microsoft.com/office/drawing/2014/main" id="{A406EAAC-311B-44D9-A33D-D8056DC08FAD}"/>
              </a:ext>
            </a:extLst>
          </p:cNvPr>
          <p:cNvGrpSpPr/>
          <p:nvPr/>
        </p:nvGrpSpPr>
        <p:grpSpPr>
          <a:xfrm>
            <a:off x="1" y="747714"/>
            <a:ext cx="8961437" cy="4605336"/>
            <a:chOff x="-1" y="0"/>
            <a:chExt cx="12191999" cy="4276724"/>
          </a:xfrm>
        </p:grpSpPr>
        <p:pic>
          <p:nvPicPr>
            <p:cNvPr id="3" name="Picture 2">
              <a:extLst>
                <a:ext uri="{FF2B5EF4-FFF2-40B4-BE49-F238E27FC236}">
                  <a16:creationId xmlns:a16="http://schemas.microsoft.com/office/drawing/2014/main" id="{31D7CC6D-E0BA-4888-A57C-BCBB8F95787E}"/>
                </a:ext>
              </a:extLst>
            </p:cNvPr>
            <p:cNvPicPr>
              <a:picLocks noChangeAspect="1"/>
            </p:cNvPicPr>
            <p:nvPr/>
          </p:nvPicPr>
          <p:blipFill>
            <a:blip r:embed="rId2"/>
            <a:stretch>
              <a:fillRect/>
            </a:stretch>
          </p:blipFill>
          <p:spPr>
            <a:xfrm>
              <a:off x="-1" y="0"/>
              <a:ext cx="12191999" cy="4276724"/>
            </a:xfrm>
            <a:prstGeom prst="rect">
              <a:avLst/>
            </a:prstGeom>
          </p:spPr>
        </p:pic>
        <p:pic>
          <p:nvPicPr>
            <p:cNvPr id="54" name="Picture 53">
              <a:extLst>
                <a:ext uri="{FF2B5EF4-FFF2-40B4-BE49-F238E27FC236}">
                  <a16:creationId xmlns:a16="http://schemas.microsoft.com/office/drawing/2014/main" id="{62EC1307-140D-46F2-9BCB-DEF3155A4B95}"/>
                </a:ext>
              </a:extLst>
            </p:cNvPr>
            <p:cNvPicPr>
              <a:picLocks noChangeAspect="1"/>
            </p:cNvPicPr>
            <p:nvPr/>
          </p:nvPicPr>
          <p:blipFill>
            <a:blip r:embed="rId3"/>
            <a:stretch>
              <a:fillRect/>
            </a:stretch>
          </p:blipFill>
          <p:spPr>
            <a:xfrm>
              <a:off x="1772409" y="1124375"/>
              <a:ext cx="585267" cy="335309"/>
            </a:xfrm>
            <a:prstGeom prst="rect">
              <a:avLst/>
            </a:prstGeom>
          </p:spPr>
        </p:pic>
        <p:pic>
          <p:nvPicPr>
            <p:cNvPr id="56" name="Picture 55">
              <a:extLst>
                <a:ext uri="{FF2B5EF4-FFF2-40B4-BE49-F238E27FC236}">
                  <a16:creationId xmlns:a16="http://schemas.microsoft.com/office/drawing/2014/main" id="{6353F17B-608D-4C80-BA81-5C8A7552CD09}"/>
                </a:ext>
              </a:extLst>
            </p:cNvPr>
            <p:cNvPicPr>
              <a:picLocks noChangeAspect="1"/>
            </p:cNvPicPr>
            <p:nvPr/>
          </p:nvPicPr>
          <p:blipFill>
            <a:blip r:embed="rId4"/>
            <a:stretch>
              <a:fillRect/>
            </a:stretch>
          </p:blipFill>
          <p:spPr>
            <a:xfrm>
              <a:off x="3276199" y="1710908"/>
              <a:ext cx="579170" cy="335309"/>
            </a:xfrm>
            <a:prstGeom prst="rect">
              <a:avLst/>
            </a:prstGeom>
          </p:spPr>
        </p:pic>
        <p:pic>
          <p:nvPicPr>
            <p:cNvPr id="60" name="Picture 59">
              <a:extLst>
                <a:ext uri="{FF2B5EF4-FFF2-40B4-BE49-F238E27FC236}">
                  <a16:creationId xmlns:a16="http://schemas.microsoft.com/office/drawing/2014/main" id="{86FED6EF-C27F-49D9-8F00-8824CDD8838B}"/>
                </a:ext>
              </a:extLst>
            </p:cNvPr>
            <p:cNvPicPr>
              <a:picLocks noChangeAspect="1"/>
            </p:cNvPicPr>
            <p:nvPr/>
          </p:nvPicPr>
          <p:blipFill>
            <a:blip r:embed="rId3"/>
            <a:stretch>
              <a:fillRect/>
            </a:stretch>
          </p:blipFill>
          <p:spPr>
            <a:xfrm>
              <a:off x="9158243" y="1865909"/>
              <a:ext cx="585266" cy="299008"/>
            </a:xfrm>
            <a:prstGeom prst="rect">
              <a:avLst/>
            </a:prstGeom>
          </p:spPr>
        </p:pic>
        <p:pic>
          <p:nvPicPr>
            <p:cNvPr id="62" name="Picture 61">
              <a:extLst>
                <a:ext uri="{FF2B5EF4-FFF2-40B4-BE49-F238E27FC236}">
                  <a16:creationId xmlns:a16="http://schemas.microsoft.com/office/drawing/2014/main" id="{DE60647C-5E70-421E-BFD9-1B314E929D5B}"/>
                </a:ext>
              </a:extLst>
            </p:cNvPr>
            <p:cNvPicPr>
              <a:picLocks noChangeAspect="1"/>
            </p:cNvPicPr>
            <p:nvPr/>
          </p:nvPicPr>
          <p:blipFill>
            <a:blip r:embed="rId3"/>
            <a:stretch>
              <a:fillRect/>
            </a:stretch>
          </p:blipFill>
          <p:spPr>
            <a:xfrm>
              <a:off x="10216723" y="2616740"/>
              <a:ext cx="585266" cy="299008"/>
            </a:xfrm>
            <a:prstGeom prst="rect">
              <a:avLst/>
            </a:prstGeom>
          </p:spPr>
        </p:pic>
      </p:grpSp>
      <p:pic>
        <p:nvPicPr>
          <p:cNvPr id="14" name="Picture 13">
            <a:extLst>
              <a:ext uri="{FF2B5EF4-FFF2-40B4-BE49-F238E27FC236}">
                <a16:creationId xmlns:a16="http://schemas.microsoft.com/office/drawing/2014/main" id="{440A15B0-547C-47C9-A320-9C97BB04C780}"/>
              </a:ext>
            </a:extLst>
          </p:cNvPr>
          <p:cNvPicPr>
            <a:picLocks noChangeAspect="1"/>
          </p:cNvPicPr>
          <p:nvPr/>
        </p:nvPicPr>
        <p:blipFill>
          <a:blip r:embed="rId4"/>
          <a:stretch>
            <a:fillRect/>
          </a:stretch>
        </p:blipFill>
        <p:spPr>
          <a:xfrm>
            <a:off x="3562378" y="2498939"/>
            <a:ext cx="425705" cy="234066"/>
          </a:xfrm>
          <a:prstGeom prst="rect">
            <a:avLst/>
          </a:prstGeom>
        </p:spPr>
      </p:pic>
      <p:pic>
        <p:nvPicPr>
          <p:cNvPr id="15" name="Picture 14">
            <a:extLst>
              <a:ext uri="{FF2B5EF4-FFF2-40B4-BE49-F238E27FC236}">
                <a16:creationId xmlns:a16="http://schemas.microsoft.com/office/drawing/2014/main" id="{F8BCCF90-DC9C-4587-BAED-3085F8104517}"/>
              </a:ext>
            </a:extLst>
          </p:cNvPr>
          <p:cNvPicPr>
            <a:picLocks noChangeAspect="1"/>
          </p:cNvPicPr>
          <p:nvPr/>
        </p:nvPicPr>
        <p:blipFill>
          <a:blip r:embed="rId4"/>
          <a:stretch>
            <a:fillRect/>
          </a:stretch>
        </p:blipFill>
        <p:spPr>
          <a:xfrm>
            <a:off x="5186207" y="4639597"/>
            <a:ext cx="425705" cy="310734"/>
          </a:xfrm>
          <a:prstGeom prst="rect">
            <a:avLst/>
          </a:prstGeom>
        </p:spPr>
      </p:pic>
      <p:pic>
        <p:nvPicPr>
          <p:cNvPr id="16" name="Picture 15">
            <a:extLst>
              <a:ext uri="{FF2B5EF4-FFF2-40B4-BE49-F238E27FC236}">
                <a16:creationId xmlns:a16="http://schemas.microsoft.com/office/drawing/2014/main" id="{ACDF0CCE-83F8-493B-82BE-DC84150DCC16}"/>
              </a:ext>
            </a:extLst>
          </p:cNvPr>
          <p:cNvPicPr>
            <a:picLocks noChangeAspect="1"/>
          </p:cNvPicPr>
          <p:nvPr/>
        </p:nvPicPr>
        <p:blipFill>
          <a:blip r:embed="rId4"/>
          <a:stretch>
            <a:fillRect/>
          </a:stretch>
        </p:blipFill>
        <p:spPr>
          <a:xfrm>
            <a:off x="5186209" y="4081511"/>
            <a:ext cx="425705" cy="310734"/>
          </a:xfrm>
          <a:prstGeom prst="rect">
            <a:avLst/>
          </a:prstGeom>
        </p:spPr>
      </p:pic>
      <p:pic>
        <p:nvPicPr>
          <p:cNvPr id="17" name="Picture 16">
            <a:extLst>
              <a:ext uri="{FF2B5EF4-FFF2-40B4-BE49-F238E27FC236}">
                <a16:creationId xmlns:a16="http://schemas.microsoft.com/office/drawing/2014/main" id="{69732232-E6F4-4FD9-B0B6-5A43A8A21303}"/>
              </a:ext>
            </a:extLst>
          </p:cNvPr>
          <p:cNvPicPr>
            <a:picLocks noChangeAspect="1"/>
          </p:cNvPicPr>
          <p:nvPr/>
        </p:nvPicPr>
        <p:blipFill>
          <a:blip r:embed="rId4"/>
          <a:stretch>
            <a:fillRect/>
          </a:stretch>
        </p:blipFill>
        <p:spPr>
          <a:xfrm>
            <a:off x="5186206" y="3571141"/>
            <a:ext cx="425705" cy="310734"/>
          </a:xfrm>
          <a:prstGeom prst="rect">
            <a:avLst/>
          </a:prstGeom>
        </p:spPr>
      </p:pic>
      <p:sp>
        <p:nvSpPr>
          <p:cNvPr id="2" name="Oval 1">
            <a:extLst>
              <a:ext uri="{FF2B5EF4-FFF2-40B4-BE49-F238E27FC236}">
                <a16:creationId xmlns:a16="http://schemas.microsoft.com/office/drawing/2014/main" id="{85B79C9C-1619-44D7-8CE2-6556B1C73A36}"/>
              </a:ext>
            </a:extLst>
          </p:cNvPr>
          <p:cNvSpPr/>
          <p:nvPr/>
        </p:nvSpPr>
        <p:spPr>
          <a:xfrm>
            <a:off x="8058150" y="2195513"/>
            <a:ext cx="938213" cy="797902"/>
          </a:xfrm>
          <a:prstGeom prst="ellipse">
            <a:avLst/>
          </a:prstGeom>
          <a:noFill/>
          <a:ln w="38100">
            <a:solidFill>
              <a:schemeClr val="accent5">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222853441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B06F41F-6D02-4E12-9A0B-FF68BF5CEF56}"/>
              </a:ext>
            </a:extLst>
          </p:cNvPr>
          <p:cNvPicPr>
            <a:picLocks noChangeAspect="1"/>
          </p:cNvPicPr>
          <p:nvPr/>
        </p:nvPicPr>
        <p:blipFill>
          <a:blip r:embed="rId2"/>
          <a:stretch>
            <a:fillRect/>
          </a:stretch>
        </p:blipFill>
        <p:spPr>
          <a:xfrm>
            <a:off x="0" y="758039"/>
            <a:ext cx="8961438" cy="3795697"/>
          </a:xfrm>
          <a:prstGeom prst="rect">
            <a:avLst/>
          </a:prstGeom>
        </p:spPr>
      </p:pic>
      <p:sp>
        <p:nvSpPr>
          <p:cNvPr id="7" name="Rectangle 6">
            <a:extLst>
              <a:ext uri="{FF2B5EF4-FFF2-40B4-BE49-F238E27FC236}">
                <a16:creationId xmlns:a16="http://schemas.microsoft.com/office/drawing/2014/main" id="{968EEA3B-D042-437E-8245-D4EC6C07E16A}"/>
              </a:ext>
            </a:extLst>
          </p:cNvPr>
          <p:cNvSpPr/>
          <p:nvPr/>
        </p:nvSpPr>
        <p:spPr>
          <a:xfrm>
            <a:off x="0" y="2209799"/>
            <a:ext cx="8961438" cy="233362"/>
          </a:xfrm>
          <a:prstGeom prst="rect">
            <a:avLst/>
          </a:prstGeom>
          <a:noFill/>
          <a:ln w="76200">
            <a:solidFill>
              <a:schemeClr val="accent5">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8" name="Rectangle 7">
            <a:extLst>
              <a:ext uri="{FF2B5EF4-FFF2-40B4-BE49-F238E27FC236}">
                <a16:creationId xmlns:a16="http://schemas.microsoft.com/office/drawing/2014/main" id="{BE01BEBC-CB74-42E1-9315-B35BB411852B}"/>
              </a:ext>
            </a:extLst>
          </p:cNvPr>
          <p:cNvSpPr/>
          <p:nvPr/>
        </p:nvSpPr>
        <p:spPr>
          <a:xfrm>
            <a:off x="4752" y="3881448"/>
            <a:ext cx="8961438" cy="233362"/>
          </a:xfrm>
          <a:prstGeom prst="rect">
            <a:avLst/>
          </a:prstGeom>
          <a:noFill/>
          <a:ln w="76200">
            <a:solidFill>
              <a:schemeClr val="accent5">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22839015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B4100F3-F916-4A0B-ABE2-0416BD836470}"/>
              </a:ext>
            </a:extLst>
          </p:cNvPr>
          <p:cNvPicPr>
            <a:picLocks noChangeAspect="1"/>
          </p:cNvPicPr>
          <p:nvPr/>
        </p:nvPicPr>
        <p:blipFill>
          <a:blip r:embed="rId2"/>
          <a:stretch>
            <a:fillRect/>
          </a:stretch>
        </p:blipFill>
        <p:spPr>
          <a:xfrm>
            <a:off x="0" y="640930"/>
            <a:ext cx="8961438" cy="4325190"/>
          </a:xfrm>
          <a:prstGeom prst="rect">
            <a:avLst/>
          </a:prstGeom>
        </p:spPr>
      </p:pic>
    </p:spTree>
    <p:extLst>
      <p:ext uri="{BB962C8B-B14F-4D97-AF65-F5344CB8AC3E}">
        <p14:creationId xmlns:p14="http://schemas.microsoft.com/office/powerpoint/2010/main" val="116868262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44455" y="247565"/>
            <a:ext cx="6628083" cy="459821"/>
          </a:xfrm>
          <a:prstGeom prst="rect">
            <a:avLst/>
          </a:prstGeom>
        </p:spPr>
        <p:txBody>
          <a:bodyPr vert="horz" wrap="square" lIns="89614" tIns="44807" rIns="89614" bIns="44807" rtlCol="0">
            <a:spAutoFit/>
          </a:bodyPr>
          <a:lstStyle/>
          <a:p>
            <a:r>
              <a:rPr lang="en-US" sz="2400" b="1" dirty="0"/>
              <a:t>Actions </a:t>
            </a:r>
            <a:r>
              <a:rPr lang="en-US" sz="2400" b="1" dirty="0" err="1"/>
              <a:t>proposées</a:t>
            </a:r>
            <a:endParaRPr lang="en-US" sz="2400" b="1" dirty="0"/>
          </a:p>
        </p:txBody>
      </p:sp>
      <p:graphicFrame>
        <p:nvGraphicFramePr>
          <p:cNvPr id="6" name="Table 5">
            <a:extLst>
              <a:ext uri="{FF2B5EF4-FFF2-40B4-BE49-F238E27FC236}">
                <a16:creationId xmlns:a16="http://schemas.microsoft.com/office/drawing/2014/main" id="{61B7900B-DC69-4D22-9CF7-6E2B4A600007}"/>
              </a:ext>
            </a:extLst>
          </p:cNvPr>
          <p:cNvGraphicFramePr>
            <a:graphicFrameLocks noGrp="1"/>
          </p:cNvGraphicFramePr>
          <p:nvPr>
            <p:extLst>
              <p:ext uri="{D42A27DB-BD31-4B8C-83A1-F6EECF244321}">
                <p14:modId xmlns:p14="http://schemas.microsoft.com/office/powerpoint/2010/main" val="1240389526"/>
              </p:ext>
            </p:extLst>
          </p:nvPr>
        </p:nvGraphicFramePr>
        <p:xfrm>
          <a:off x="1" y="873457"/>
          <a:ext cx="8719528" cy="5496608"/>
        </p:xfrm>
        <a:graphic>
          <a:graphicData uri="http://schemas.openxmlformats.org/drawingml/2006/table">
            <a:tbl>
              <a:tblPr firstRow="1" bandRow="1">
                <a:tableStyleId>{5C22544A-7EE6-4342-B048-85BDC9FD1C3A}</a:tableStyleId>
              </a:tblPr>
              <a:tblGrid>
                <a:gridCol w="2896880">
                  <a:extLst>
                    <a:ext uri="{9D8B030D-6E8A-4147-A177-3AD203B41FA5}">
                      <a16:colId xmlns:a16="http://schemas.microsoft.com/office/drawing/2014/main" val="685447528"/>
                    </a:ext>
                  </a:extLst>
                </a:gridCol>
                <a:gridCol w="2823947">
                  <a:extLst>
                    <a:ext uri="{9D8B030D-6E8A-4147-A177-3AD203B41FA5}">
                      <a16:colId xmlns:a16="http://schemas.microsoft.com/office/drawing/2014/main" val="3910598953"/>
                    </a:ext>
                  </a:extLst>
                </a:gridCol>
                <a:gridCol w="2998701">
                  <a:extLst>
                    <a:ext uri="{9D8B030D-6E8A-4147-A177-3AD203B41FA5}">
                      <a16:colId xmlns:a16="http://schemas.microsoft.com/office/drawing/2014/main" val="2164858265"/>
                    </a:ext>
                  </a:extLst>
                </a:gridCol>
              </a:tblGrid>
              <a:tr h="850419">
                <a:tc>
                  <a:txBody>
                    <a:bodyPr/>
                    <a:lstStyle/>
                    <a:p>
                      <a:pPr algn="ctr"/>
                      <a:r>
                        <a:rPr lang="fr-FR" dirty="0">
                          <a:solidFill>
                            <a:schemeClr val="tx1"/>
                          </a:solidFill>
                        </a:rPr>
                        <a:t>Les priorités de ce trimestre</a:t>
                      </a:r>
                      <a:endParaRPr lang="en-US" dirty="0">
                        <a:solidFill>
                          <a:schemeClr val="tx1"/>
                        </a:solidFill>
                      </a:endParaRPr>
                    </a:p>
                  </a:txBody>
                  <a:tcPr anchor="ctr"/>
                </a:tc>
                <a:tc>
                  <a:txBody>
                    <a:bodyPr/>
                    <a:lstStyle/>
                    <a:p>
                      <a:pPr algn="ctr"/>
                      <a:r>
                        <a:rPr lang="en-US" dirty="0">
                          <a:solidFill>
                            <a:schemeClr val="tx1"/>
                          </a:solidFill>
                        </a:rPr>
                        <a:t>Les causes du </a:t>
                      </a:r>
                      <a:r>
                        <a:rPr lang="en-US" dirty="0" err="1">
                          <a:solidFill>
                            <a:schemeClr val="tx1"/>
                          </a:solidFill>
                        </a:rPr>
                        <a:t>problème</a:t>
                      </a:r>
                      <a:endParaRPr lang="en-US" dirty="0">
                        <a:solidFill>
                          <a:schemeClr val="tx1"/>
                        </a:solidFill>
                      </a:endParaRPr>
                    </a:p>
                  </a:txBody>
                  <a:tcPr anchor="ctr"/>
                </a:tc>
                <a:tc>
                  <a:txBody>
                    <a:bodyPr/>
                    <a:lstStyle/>
                    <a:p>
                      <a:pPr algn="ctr"/>
                      <a:r>
                        <a:rPr lang="en-US" dirty="0">
                          <a:solidFill>
                            <a:schemeClr val="tx1"/>
                          </a:solidFill>
                        </a:rPr>
                        <a:t>Actions </a:t>
                      </a:r>
                      <a:r>
                        <a:rPr lang="en-US" dirty="0" err="1">
                          <a:solidFill>
                            <a:schemeClr val="tx1"/>
                          </a:solidFill>
                        </a:rPr>
                        <a:t>proposées</a:t>
                      </a:r>
                      <a:endParaRPr lang="en-US" dirty="0">
                        <a:solidFill>
                          <a:schemeClr val="tx1"/>
                        </a:solidFill>
                      </a:endParaRPr>
                    </a:p>
                  </a:txBody>
                  <a:tcPr anchor="ctr"/>
                </a:tc>
                <a:extLst>
                  <a:ext uri="{0D108BD9-81ED-4DB2-BD59-A6C34878D82A}">
                    <a16:rowId xmlns:a16="http://schemas.microsoft.com/office/drawing/2014/main" val="355453477"/>
                  </a:ext>
                </a:extLst>
              </a:tr>
              <a:tr h="11220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dirty="0"/>
                    </a:p>
                  </a:txBody>
                  <a:tcPr anchor="ctr"/>
                </a:tc>
                <a:tc>
                  <a:txBody>
                    <a:bodyPr/>
                    <a:lstStyle/>
                    <a:p>
                      <a:pPr marL="285750" indent="-285750">
                        <a:buFont typeface="Arial" panose="020B0604020202020204" pitchFamily="34" charset="0"/>
                        <a:buChar char="•"/>
                      </a:pPr>
                      <a:endParaRPr lang="fr-FR" sz="1400" dirty="0"/>
                    </a:p>
                  </a:txBody>
                  <a:tcPr/>
                </a:tc>
                <a:extLst>
                  <a:ext uri="{0D108BD9-81ED-4DB2-BD59-A6C34878D82A}">
                    <a16:rowId xmlns:a16="http://schemas.microsoft.com/office/drawing/2014/main" val="1678723874"/>
                  </a:ext>
                </a:extLst>
              </a:tr>
              <a:tr h="13195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dirty="0"/>
                    </a:p>
                  </a:txBody>
                  <a:tcPr anchor="ctr"/>
                </a:tc>
                <a:tc>
                  <a:txBody>
                    <a:bodyPr/>
                    <a:lstStyle/>
                    <a:p>
                      <a:pPr marL="285750" indent="-285750">
                        <a:buFont typeface="Arial" panose="020B0604020202020204" pitchFamily="34" charset="0"/>
                        <a:buChar char="•"/>
                      </a:pPr>
                      <a:endParaRPr lang="fr-FR" sz="1400" dirty="0"/>
                    </a:p>
                    <a:p>
                      <a:pPr marL="0" marR="0" lvl="0" indent="0" algn="l" defTabSz="914400" rtl="0" eaLnBrk="1" fontAlgn="auto" latinLnBrk="0" hangingPunct="1">
                        <a:lnSpc>
                          <a:spcPct val="115000"/>
                        </a:lnSpc>
                        <a:spcBef>
                          <a:spcPts val="0"/>
                        </a:spcBef>
                        <a:spcAft>
                          <a:spcPts val="1000"/>
                        </a:spcAft>
                        <a:buClrTx/>
                        <a:buSzTx/>
                        <a:buFontTx/>
                        <a:buNone/>
                        <a:tabLst/>
                        <a:defRPr/>
                      </a:pPr>
                      <a:endParaRPr lang="en-US" sz="1400" dirty="0">
                        <a:solidFill>
                          <a:schemeClr val="tx1"/>
                        </a:solidFill>
                      </a:endParaRPr>
                    </a:p>
                  </a:txBody>
                  <a:tcPr/>
                </a:tc>
                <a:extLst>
                  <a:ext uri="{0D108BD9-81ED-4DB2-BD59-A6C34878D82A}">
                    <a16:rowId xmlns:a16="http://schemas.microsoft.com/office/drawing/2014/main" val="706068968"/>
                  </a:ext>
                </a:extLst>
              </a:tr>
              <a:tr h="1379859">
                <a:tc>
                  <a:txBody>
                    <a:bodyPr/>
                    <a:lstStyle/>
                    <a:p>
                      <a:pPr algn="l"/>
                      <a:endParaRPr lang="en-US"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dirty="0"/>
                    </a:p>
                  </a:txBody>
                  <a:tcPr anchor="ctr"/>
                </a:tc>
                <a:tc>
                  <a:txBody>
                    <a:bodyPr/>
                    <a:lstStyle/>
                    <a:p>
                      <a:pPr marL="0" marR="0" lvl="0" indent="0" algn="l" defTabSz="914400" rtl="0" eaLnBrk="1" fontAlgn="auto" latinLnBrk="0" hangingPunct="1">
                        <a:lnSpc>
                          <a:spcPct val="115000"/>
                        </a:lnSpc>
                        <a:spcBef>
                          <a:spcPts val="0"/>
                        </a:spcBef>
                        <a:spcAft>
                          <a:spcPts val="1000"/>
                        </a:spcAft>
                        <a:buClrTx/>
                        <a:buSzTx/>
                        <a:buFontTx/>
                        <a:buNone/>
                        <a:tabLst/>
                        <a:defRPr/>
                      </a:pPr>
                      <a:endParaRPr lang="en-US" sz="1400" dirty="0">
                        <a:solidFill>
                          <a:schemeClr val="tx1"/>
                        </a:solidFill>
                      </a:endParaRPr>
                    </a:p>
                  </a:txBody>
                  <a:tcPr/>
                </a:tc>
                <a:extLst>
                  <a:ext uri="{0D108BD9-81ED-4DB2-BD59-A6C34878D82A}">
                    <a16:rowId xmlns:a16="http://schemas.microsoft.com/office/drawing/2014/main" val="3863974059"/>
                  </a:ext>
                </a:extLst>
              </a:tr>
              <a:tr h="824725">
                <a:tc>
                  <a:txBody>
                    <a:bodyPr/>
                    <a:lstStyle/>
                    <a:p>
                      <a:pPr algn="l"/>
                      <a:endParaRPr lang="en-US"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500" dirty="0"/>
                    </a:p>
                  </a:txBody>
                  <a:tcPr anchor="ctr"/>
                </a:tc>
                <a:tc>
                  <a:txBody>
                    <a:bodyPr/>
                    <a:lstStyle/>
                    <a:p>
                      <a:pPr marL="0" marR="0" lvl="0" indent="0" algn="l" defTabSz="914400" rtl="0" eaLnBrk="1" fontAlgn="auto" latinLnBrk="0" hangingPunct="1">
                        <a:lnSpc>
                          <a:spcPct val="115000"/>
                        </a:lnSpc>
                        <a:spcBef>
                          <a:spcPts val="0"/>
                        </a:spcBef>
                        <a:spcAft>
                          <a:spcPts val="1000"/>
                        </a:spcAft>
                        <a:buClrTx/>
                        <a:buSzTx/>
                        <a:buFontTx/>
                        <a:buNone/>
                        <a:tabLst/>
                        <a:defRPr/>
                      </a:pPr>
                      <a:endParaRPr lang="en-US" sz="1500" dirty="0">
                        <a:solidFill>
                          <a:schemeClr val="tx1"/>
                        </a:solidFill>
                      </a:endParaRPr>
                    </a:p>
                  </a:txBody>
                  <a:tcPr/>
                </a:tc>
                <a:extLst>
                  <a:ext uri="{0D108BD9-81ED-4DB2-BD59-A6C34878D82A}">
                    <a16:rowId xmlns:a16="http://schemas.microsoft.com/office/drawing/2014/main" val="1880879545"/>
                  </a:ext>
                </a:extLst>
              </a:tr>
            </a:tbl>
          </a:graphicData>
        </a:graphic>
      </p:graphicFrame>
    </p:spTree>
    <p:extLst>
      <p:ext uri="{BB962C8B-B14F-4D97-AF65-F5344CB8AC3E}">
        <p14:creationId xmlns:p14="http://schemas.microsoft.com/office/powerpoint/2010/main" val="134488796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247650" y="1162050"/>
            <a:ext cx="8553449" cy="5219700"/>
          </a:xfrm>
          <a:prstGeom prst="rect">
            <a:avLst/>
          </a:prstGeom>
        </p:spPr>
      </p:pic>
    </p:spTree>
    <p:extLst>
      <p:ext uri="{BB962C8B-B14F-4D97-AF65-F5344CB8AC3E}">
        <p14:creationId xmlns:p14="http://schemas.microsoft.com/office/powerpoint/2010/main" val="329304414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48438" y="160100"/>
            <a:ext cx="6628083" cy="459821"/>
          </a:xfrm>
          <a:prstGeom prst="rect">
            <a:avLst/>
          </a:prstGeom>
        </p:spPr>
        <p:txBody>
          <a:bodyPr vert="horz" wrap="square" lIns="89614" tIns="44807" rIns="89614" bIns="44807" rtlCol="0">
            <a:spAutoFit/>
          </a:bodyPr>
          <a:lstStyle/>
          <a:p>
            <a:r>
              <a:rPr lang="fr-FR" sz="2400" b="1" dirty="0">
                <a:solidFill>
                  <a:prstClr val="black"/>
                </a:solidFill>
              </a:rPr>
              <a:t>Actions validées par les parties prenantes</a:t>
            </a:r>
            <a:endParaRPr lang="en-US" sz="2400" b="1" dirty="0">
              <a:solidFill>
                <a:prstClr val="black"/>
              </a:solidFill>
            </a:endParaRPr>
          </a:p>
        </p:txBody>
      </p:sp>
      <p:graphicFrame>
        <p:nvGraphicFramePr>
          <p:cNvPr id="4" name="Table 3">
            <a:extLst>
              <a:ext uri="{FF2B5EF4-FFF2-40B4-BE49-F238E27FC236}">
                <a16:creationId xmlns:a16="http://schemas.microsoft.com/office/drawing/2014/main" id="{4D339FCE-8C29-421C-9EA2-98DC3939EF75}"/>
              </a:ext>
            </a:extLst>
          </p:cNvPr>
          <p:cNvGraphicFramePr>
            <a:graphicFrameLocks noGrp="1"/>
          </p:cNvGraphicFramePr>
          <p:nvPr/>
        </p:nvGraphicFramePr>
        <p:xfrm>
          <a:off x="0" y="774181"/>
          <a:ext cx="8961437" cy="5638148"/>
        </p:xfrm>
        <a:graphic>
          <a:graphicData uri="http://schemas.openxmlformats.org/drawingml/2006/table">
            <a:tbl>
              <a:tblPr firstRow="1" bandRow="1">
                <a:tableStyleId>{00A15C55-8517-42AA-B614-E9B94910E393}</a:tableStyleId>
              </a:tblPr>
              <a:tblGrid>
                <a:gridCol w="1049572">
                  <a:extLst>
                    <a:ext uri="{9D8B030D-6E8A-4147-A177-3AD203B41FA5}">
                      <a16:colId xmlns:a16="http://schemas.microsoft.com/office/drawing/2014/main" val="685447528"/>
                    </a:ext>
                  </a:extLst>
                </a:gridCol>
                <a:gridCol w="2486915">
                  <a:extLst>
                    <a:ext uri="{9D8B030D-6E8A-4147-A177-3AD203B41FA5}">
                      <a16:colId xmlns:a16="http://schemas.microsoft.com/office/drawing/2014/main" val="3910598953"/>
                    </a:ext>
                  </a:extLst>
                </a:gridCol>
                <a:gridCol w="2712475">
                  <a:extLst>
                    <a:ext uri="{9D8B030D-6E8A-4147-A177-3AD203B41FA5}">
                      <a16:colId xmlns:a16="http://schemas.microsoft.com/office/drawing/2014/main" val="2164858265"/>
                    </a:ext>
                  </a:extLst>
                </a:gridCol>
                <a:gridCol w="2712475">
                  <a:extLst>
                    <a:ext uri="{9D8B030D-6E8A-4147-A177-3AD203B41FA5}">
                      <a16:colId xmlns:a16="http://schemas.microsoft.com/office/drawing/2014/main" val="1825433787"/>
                    </a:ext>
                  </a:extLst>
                </a:gridCol>
              </a:tblGrid>
              <a:tr h="831153">
                <a:tc>
                  <a:txBody>
                    <a:bodyPr/>
                    <a:lstStyle/>
                    <a:p>
                      <a:pPr algn="ctr"/>
                      <a:r>
                        <a:rPr lang="fr-FR" dirty="0"/>
                        <a:t>Région/District/Pays</a:t>
                      </a:r>
                      <a:endParaRPr lang="en-US" dirty="0">
                        <a:solidFill>
                          <a:schemeClr val="tx1"/>
                        </a:solidFill>
                      </a:endParaRPr>
                    </a:p>
                  </a:txBody>
                  <a:tcPr anchor="ctr"/>
                </a:tc>
                <a:tc>
                  <a:txBody>
                    <a:bodyPr/>
                    <a:lstStyle/>
                    <a:p>
                      <a:pPr algn="ctr"/>
                      <a:r>
                        <a:rPr lang="en-US" dirty="0"/>
                        <a:t>Actions</a:t>
                      </a:r>
                      <a:endParaRPr lang="en-US" dirty="0">
                        <a:solidFill>
                          <a:schemeClr val="tx1"/>
                        </a:solidFill>
                      </a:endParaRPr>
                    </a:p>
                  </a:txBody>
                  <a:tcPr anchor="ctr"/>
                </a:tc>
                <a:tc>
                  <a:txBody>
                    <a:bodyPr/>
                    <a:lstStyle/>
                    <a:p>
                      <a:pPr algn="ctr"/>
                      <a:r>
                        <a:rPr lang="fr-FR" dirty="0"/>
                        <a:t>Nom du responsable de la coordination</a:t>
                      </a:r>
                      <a:endParaRPr lang="en-US" dirty="0">
                        <a:solidFill>
                          <a:schemeClr val="tx1"/>
                        </a:solidFill>
                      </a:endParaRPr>
                    </a:p>
                  </a:txBody>
                  <a:tcPr anchor="ctr"/>
                </a:tc>
                <a:tc>
                  <a:txBody>
                    <a:bodyPr/>
                    <a:lstStyle/>
                    <a:p>
                      <a:pPr algn="ctr"/>
                      <a:r>
                        <a:rPr lang="en-US" dirty="0"/>
                        <a:t>Date limit</a:t>
                      </a:r>
                      <a:endParaRPr lang="en-US" dirty="0">
                        <a:solidFill>
                          <a:schemeClr val="tx1"/>
                        </a:solidFill>
                      </a:endParaRPr>
                    </a:p>
                  </a:txBody>
                  <a:tcPr anchor="ctr"/>
                </a:tc>
                <a:extLst>
                  <a:ext uri="{0D108BD9-81ED-4DB2-BD59-A6C34878D82A}">
                    <a16:rowId xmlns:a16="http://schemas.microsoft.com/office/drawing/2014/main" val="355453477"/>
                  </a:ext>
                </a:extLst>
              </a:tr>
              <a:tr h="1180937">
                <a:tc>
                  <a:txBody>
                    <a:bodyPr/>
                    <a:lstStyle/>
                    <a:p>
                      <a:endParaRPr lang="en-US" sz="1400" dirty="0">
                        <a:solidFill>
                          <a:schemeClr val="tx1"/>
                        </a:solidFill>
                      </a:endParaRPr>
                    </a:p>
                  </a:txBody>
                  <a:tcPr/>
                </a:tc>
                <a:tc>
                  <a:txBody>
                    <a:bodyPr/>
                    <a:lstStyle/>
                    <a:p>
                      <a:pPr marL="0" indent="0">
                        <a:buFont typeface="Arial" panose="020B0604020202020204" pitchFamily="34" charset="0"/>
                        <a:buNone/>
                      </a:pPr>
                      <a:endParaRPr lang="en-US" sz="1400" baseline="0" dirty="0">
                        <a:solidFill>
                          <a:schemeClr val="tx1"/>
                        </a:solidFill>
                      </a:endParaRPr>
                    </a:p>
                  </a:txBody>
                  <a:tcPr/>
                </a:tc>
                <a:tc>
                  <a:txBody>
                    <a:bodyPr/>
                    <a:lstStyle/>
                    <a:p>
                      <a:pPr marL="0" marR="0" lvl="0" indent="0" algn="l" defTabSz="914400" rtl="0" eaLnBrk="1" fontAlgn="auto" latinLnBrk="0" hangingPunct="1">
                        <a:lnSpc>
                          <a:spcPct val="115000"/>
                        </a:lnSpc>
                        <a:spcBef>
                          <a:spcPts val="0"/>
                        </a:spcBef>
                        <a:spcAft>
                          <a:spcPts val="1000"/>
                        </a:spcAft>
                        <a:buClrTx/>
                        <a:buSzTx/>
                        <a:buFontTx/>
                        <a:buNone/>
                        <a:tabLst/>
                        <a:defRPr/>
                      </a:pPr>
                      <a:endParaRPr lang="en-US" sz="1400" dirty="0">
                        <a:solidFill>
                          <a:schemeClr val="tx1"/>
                        </a:solidFill>
                      </a:endParaRPr>
                    </a:p>
                  </a:txBody>
                  <a:tcPr/>
                </a:tc>
                <a:tc>
                  <a:txBody>
                    <a:bodyPr/>
                    <a:lstStyle/>
                    <a:p>
                      <a:pPr marL="0" marR="0" lvl="0" indent="0" algn="l" defTabSz="914400" rtl="0" eaLnBrk="1" fontAlgn="auto" latinLnBrk="0" hangingPunct="1">
                        <a:lnSpc>
                          <a:spcPct val="115000"/>
                        </a:lnSpc>
                        <a:spcBef>
                          <a:spcPts val="0"/>
                        </a:spcBef>
                        <a:spcAft>
                          <a:spcPts val="1000"/>
                        </a:spcAft>
                        <a:buClrTx/>
                        <a:buSzTx/>
                        <a:buFontTx/>
                        <a:buNone/>
                        <a:tabLst/>
                        <a:defRPr/>
                      </a:pPr>
                      <a:endParaRPr lang="en-US" sz="1400" dirty="0">
                        <a:solidFill>
                          <a:schemeClr val="tx1"/>
                        </a:solidFill>
                      </a:endParaRPr>
                    </a:p>
                  </a:txBody>
                  <a:tcPr/>
                </a:tc>
                <a:extLst>
                  <a:ext uri="{0D108BD9-81ED-4DB2-BD59-A6C34878D82A}">
                    <a16:rowId xmlns:a16="http://schemas.microsoft.com/office/drawing/2014/main" val="1678723874"/>
                  </a:ext>
                </a:extLst>
              </a:tr>
              <a:tr h="1180937">
                <a:tc>
                  <a:txBody>
                    <a:bodyPr/>
                    <a:lstStyle/>
                    <a:p>
                      <a:endParaRPr lang="en-US" sz="1400" dirty="0">
                        <a:solidFill>
                          <a:schemeClr val="tx1"/>
                        </a:solidFill>
                      </a:endParaRPr>
                    </a:p>
                  </a:txBody>
                  <a:tcPr/>
                </a:tc>
                <a:tc>
                  <a:txBody>
                    <a:bodyPr/>
                    <a:lstStyle/>
                    <a:p>
                      <a:pPr marL="0" indent="0">
                        <a:buFont typeface="Arial" panose="020B0604020202020204" pitchFamily="34" charset="0"/>
                        <a:buNone/>
                      </a:pPr>
                      <a:endParaRPr lang="en-US" sz="1400" baseline="0" dirty="0">
                        <a:solidFill>
                          <a:schemeClr val="tx1"/>
                        </a:solidFill>
                      </a:endParaRPr>
                    </a:p>
                  </a:txBody>
                  <a:tcPr/>
                </a:tc>
                <a:tc>
                  <a:txBody>
                    <a:bodyPr/>
                    <a:lstStyle/>
                    <a:p>
                      <a:pPr marL="0" marR="0" lvl="0" indent="0" algn="l" defTabSz="914400" rtl="0" eaLnBrk="1" fontAlgn="auto" latinLnBrk="0" hangingPunct="1">
                        <a:lnSpc>
                          <a:spcPct val="115000"/>
                        </a:lnSpc>
                        <a:spcBef>
                          <a:spcPts val="0"/>
                        </a:spcBef>
                        <a:spcAft>
                          <a:spcPts val="1000"/>
                        </a:spcAft>
                        <a:buClrTx/>
                        <a:buSzTx/>
                        <a:buFontTx/>
                        <a:buNone/>
                        <a:tabLst/>
                        <a:defRPr/>
                      </a:pPr>
                      <a:endParaRPr lang="en-US" sz="1400" dirty="0">
                        <a:solidFill>
                          <a:schemeClr val="tx1"/>
                        </a:solidFill>
                      </a:endParaRPr>
                    </a:p>
                  </a:txBody>
                  <a:tcPr/>
                </a:tc>
                <a:tc>
                  <a:txBody>
                    <a:bodyPr/>
                    <a:lstStyle/>
                    <a:p>
                      <a:pPr marL="0" marR="0" lvl="0" indent="0" algn="l" defTabSz="914400" rtl="0" eaLnBrk="1" fontAlgn="auto" latinLnBrk="0" hangingPunct="1">
                        <a:lnSpc>
                          <a:spcPct val="115000"/>
                        </a:lnSpc>
                        <a:spcBef>
                          <a:spcPts val="0"/>
                        </a:spcBef>
                        <a:spcAft>
                          <a:spcPts val="1000"/>
                        </a:spcAft>
                        <a:buClrTx/>
                        <a:buSzTx/>
                        <a:buFontTx/>
                        <a:buNone/>
                        <a:tabLst/>
                        <a:defRPr/>
                      </a:pPr>
                      <a:endParaRPr lang="en-US" sz="1400" dirty="0">
                        <a:solidFill>
                          <a:schemeClr val="tx1"/>
                        </a:solidFill>
                      </a:endParaRPr>
                    </a:p>
                  </a:txBody>
                  <a:tcPr/>
                </a:tc>
                <a:extLst>
                  <a:ext uri="{0D108BD9-81ED-4DB2-BD59-A6C34878D82A}">
                    <a16:rowId xmlns:a16="http://schemas.microsoft.com/office/drawing/2014/main" val="2293291743"/>
                  </a:ext>
                </a:extLst>
              </a:tr>
              <a:tr h="1180937">
                <a:tc>
                  <a:txBody>
                    <a:bodyPr/>
                    <a:lstStyle/>
                    <a:p>
                      <a:endParaRPr lang="en-US" sz="1400" dirty="0">
                        <a:solidFill>
                          <a:schemeClr val="tx1"/>
                        </a:solidFill>
                      </a:endParaRPr>
                    </a:p>
                  </a:txBody>
                  <a:tcPr/>
                </a:tc>
                <a:tc>
                  <a:txBody>
                    <a:bodyPr/>
                    <a:lstStyle/>
                    <a:p>
                      <a:pPr marL="0" indent="0">
                        <a:buFont typeface="Arial" panose="020B0604020202020204" pitchFamily="34" charset="0"/>
                        <a:buNone/>
                      </a:pPr>
                      <a:endParaRPr lang="en-US" sz="1400" baseline="0" dirty="0">
                        <a:solidFill>
                          <a:schemeClr val="tx1"/>
                        </a:solidFill>
                      </a:endParaRPr>
                    </a:p>
                  </a:txBody>
                  <a:tcPr/>
                </a:tc>
                <a:tc>
                  <a:txBody>
                    <a:bodyPr/>
                    <a:lstStyle/>
                    <a:p>
                      <a:pPr marL="0" marR="0" lvl="0" indent="0" algn="l" defTabSz="914400" rtl="0" eaLnBrk="1" fontAlgn="auto" latinLnBrk="0" hangingPunct="1">
                        <a:lnSpc>
                          <a:spcPct val="115000"/>
                        </a:lnSpc>
                        <a:spcBef>
                          <a:spcPts val="0"/>
                        </a:spcBef>
                        <a:spcAft>
                          <a:spcPts val="1000"/>
                        </a:spcAft>
                        <a:buClrTx/>
                        <a:buSzTx/>
                        <a:buFontTx/>
                        <a:buNone/>
                        <a:tabLst/>
                        <a:defRPr/>
                      </a:pPr>
                      <a:endParaRPr lang="en-US" sz="1400" dirty="0">
                        <a:solidFill>
                          <a:schemeClr val="tx1"/>
                        </a:solidFill>
                      </a:endParaRPr>
                    </a:p>
                  </a:txBody>
                  <a:tcPr/>
                </a:tc>
                <a:tc>
                  <a:txBody>
                    <a:bodyPr/>
                    <a:lstStyle/>
                    <a:p>
                      <a:pPr marL="0" marR="0" lvl="0" indent="0" algn="l" defTabSz="914400" rtl="0" eaLnBrk="1" fontAlgn="auto" latinLnBrk="0" hangingPunct="1">
                        <a:lnSpc>
                          <a:spcPct val="115000"/>
                        </a:lnSpc>
                        <a:spcBef>
                          <a:spcPts val="0"/>
                        </a:spcBef>
                        <a:spcAft>
                          <a:spcPts val="1000"/>
                        </a:spcAft>
                        <a:buClrTx/>
                        <a:buSzTx/>
                        <a:buFontTx/>
                        <a:buNone/>
                        <a:tabLst/>
                        <a:defRPr/>
                      </a:pPr>
                      <a:endParaRPr lang="en-US" sz="1400" dirty="0">
                        <a:solidFill>
                          <a:schemeClr val="tx1"/>
                        </a:solidFill>
                      </a:endParaRPr>
                    </a:p>
                  </a:txBody>
                  <a:tcPr/>
                </a:tc>
                <a:extLst>
                  <a:ext uri="{0D108BD9-81ED-4DB2-BD59-A6C34878D82A}">
                    <a16:rowId xmlns:a16="http://schemas.microsoft.com/office/drawing/2014/main" val="4241898187"/>
                  </a:ext>
                </a:extLst>
              </a:tr>
              <a:tr h="1180937">
                <a:tc>
                  <a:txBody>
                    <a:bodyPr/>
                    <a:lstStyle/>
                    <a:p>
                      <a:endParaRPr lang="en-US" sz="1400" dirty="0">
                        <a:solidFill>
                          <a:schemeClr val="tx1"/>
                        </a:solidFill>
                      </a:endParaRPr>
                    </a:p>
                  </a:txBody>
                  <a:tcPr/>
                </a:tc>
                <a:tc>
                  <a:txBody>
                    <a:bodyPr/>
                    <a:lstStyle/>
                    <a:p>
                      <a:pPr marL="0" indent="0">
                        <a:buFont typeface="Arial" panose="020B0604020202020204" pitchFamily="34" charset="0"/>
                        <a:buNone/>
                      </a:pPr>
                      <a:endParaRPr lang="en-US" sz="1400" baseline="0" dirty="0">
                        <a:solidFill>
                          <a:schemeClr val="tx1"/>
                        </a:solidFill>
                      </a:endParaRPr>
                    </a:p>
                  </a:txBody>
                  <a:tcPr/>
                </a:tc>
                <a:tc>
                  <a:txBody>
                    <a:bodyPr/>
                    <a:lstStyle/>
                    <a:p>
                      <a:pPr marL="0" marR="0" lvl="0" indent="0" algn="l" defTabSz="914400" rtl="0" eaLnBrk="1" fontAlgn="auto" latinLnBrk="0" hangingPunct="1">
                        <a:lnSpc>
                          <a:spcPct val="115000"/>
                        </a:lnSpc>
                        <a:spcBef>
                          <a:spcPts val="0"/>
                        </a:spcBef>
                        <a:spcAft>
                          <a:spcPts val="1000"/>
                        </a:spcAft>
                        <a:buClrTx/>
                        <a:buSzTx/>
                        <a:buFontTx/>
                        <a:buNone/>
                        <a:tabLst/>
                        <a:defRPr/>
                      </a:pPr>
                      <a:endParaRPr lang="en-US" sz="1400" dirty="0">
                        <a:solidFill>
                          <a:schemeClr val="tx1"/>
                        </a:solidFill>
                      </a:endParaRPr>
                    </a:p>
                  </a:txBody>
                  <a:tcPr/>
                </a:tc>
                <a:tc>
                  <a:txBody>
                    <a:bodyPr/>
                    <a:lstStyle/>
                    <a:p>
                      <a:pPr marL="0" marR="0" lvl="0" indent="0" algn="l" defTabSz="914400" rtl="0" eaLnBrk="1" fontAlgn="auto" latinLnBrk="0" hangingPunct="1">
                        <a:lnSpc>
                          <a:spcPct val="115000"/>
                        </a:lnSpc>
                        <a:spcBef>
                          <a:spcPts val="0"/>
                        </a:spcBef>
                        <a:spcAft>
                          <a:spcPts val="1000"/>
                        </a:spcAft>
                        <a:buClrTx/>
                        <a:buSzTx/>
                        <a:buFontTx/>
                        <a:buNone/>
                        <a:tabLst/>
                        <a:defRPr/>
                      </a:pPr>
                      <a:endParaRPr lang="en-US" sz="1400" dirty="0">
                        <a:solidFill>
                          <a:schemeClr val="tx1"/>
                        </a:solidFill>
                      </a:endParaRPr>
                    </a:p>
                  </a:txBody>
                  <a:tcPr/>
                </a:tc>
                <a:extLst>
                  <a:ext uri="{0D108BD9-81ED-4DB2-BD59-A6C34878D82A}">
                    <a16:rowId xmlns:a16="http://schemas.microsoft.com/office/drawing/2014/main" val="811069811"/>
                  </a:ext>
                </a:extLst>
              </a:tr>
            </a:tbl>
          </a:graphicData>
        </a:graphic>
      </p:graphicFrame>
    </p:spTree>
    <p:extLst>
      <p:ext uri="{BB962C8B-B14F-4D97-AF65-F5344CB8AC3E}">
        <p14:creationId xmlns:p14="http://schemas.microsoft.com/office/powerpoint/2010/main" val="11828853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DF79DB-04B7-4638-B2AA-44682F96ADBF}"/>
              </a:ext>
            </a:extLst>
          </p:cNvPr>
          <p:cNvSpPr>
            <a:spLocks noGrp="1"/>
          </p:cNvSpPr>
          <p:nvPr>
            <p:ph type="title"/>
          </p:nvPr>
        </p:nvSpPr>
        <p:spPr>
          <a:xfrm>
            <a:off x="3688764" y="2929850"/>
            <a:ext cx="1583909" cy="430887"/>
          </a:xfrm>
        </p:spPr>
        <p:txBody>
          <a:bodyPr/>
          <a:lstStyle/>
          <a:p>
            <a:r>
              <a:rPr lang="en-US" sz="2800" dirty="0"/>
              <a:t>Jour 3 </a:t>
            </a:r>
            <a:endParaRPr lang="fr-FR" sz="2800" dirty="0"/>
          </a:p>
        </p:txBody>
      </p:sp>
    </p:spTree>
    <p:extLst>
      <p:ext uri="{BB962C8B-B14F-4D97-AF65-F5344CB8AC3E}">
        <p14:creationId xmlns:p14="http://schemas.microsoft.com/office/powerpoint/2010/main" val="225484437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258193" y="4073813"/>
            <a:ext cx="6858728" cy="2895408"/>
          </a:xfrm>
        </p:spPr>
        <p:txBody>
          <a:bodyPr/>
          <a:lstStyle/>
          <a:p>
            <a:pPr algn="ctr"/>
            <a:r>
              <a:rPr lang="fr-FR" sz="3136" dirty="0">
                <a:solidFill>
                  <a:schemeClr val="tx1"/>
                </a:solidFill>
              </a:rPr>
              <a:t>Continuation: Comment créer une Analyse et proposée actions dans les processus de gestion existantes </a:t>
            </a:r>
            <a:br>
              <a:rPr lang="fr-FR" sz="3136" dirty="0">
                <a:solidFill>
                  <a:schemeClr val="tx1"/>
                </a:solidFill>
              </a:rPr>
            </a:br>
            <a:br>
              <a:rPr lang="fr-FR" sz="3136" dirty="0">
                <a:solidFill>
                  <a:schemeClr val="tx1"/>
                </a:solidFill>
              </a:rPr>
            </a:br>
            <a:br>
              <a:rPr lang="fr-FR" sz="3136" dirty="0">
                <a:solidFill>
                  <a:schemeClr val="tx1"/>
                </a:solidFill>
              </a:rPr>
            </a:br>
            <a:endParaRPr lang="en-US" sz="3136" dirty="0">
              <a:solidFill>
                <a:schemeClr val="tx1"/>
              </a:solidFill>
            </a:endParaRPr>
          </a:p>
        </p:txBody>
      </p:sp>
      <p:sp>
        <p:nvSpPr>
          <p:cNvPr id="3" name="Subtitle 2"/>
          <p:cNvSpPr>
            <a:spLocks noGrp="1"/>
          </p:cNvSpPr>
          <p:nvPr>
            <p:ph type="subTitle" idx="1"/>
          </p:nvPr>
        </p:nvSpPr>
        <p:spPr>
          <a:xfrm>
            <a:off x="3789952" y="5809440"/>
            <a:ext cx="2355102" cy="338554"/>
          </a:xfrm>
        </p:spPr>
        <p:txBody>
          <a:bodyPr/>
          <a:lstStyle/>
          <a:p>
            <a:r>
              <a:rPr lang="en-US" dirty="0" err="1"/>
              <a:t>Juin</a:t>
            </a:r>
            <a:r>
              <a:rPr lang="en-US" dirty="0"/>
              <a:t> 2021</a:t>
            </a: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10" name="Picture 9">
            <a:extLst>
              <a:ext uri="{FF2B5EF4-FFF2-40B4-BE49-F238E27FC236}">
                <a16:creationId xmlns:a16="http://schemas.microsoft.com/office/drawing/2014/main" id="{049084AE-0439-48C0-A317-94C4C1DE84CE}"/>
              </a:ext>
            </a:extLst>
          </p:cNvPr>
          <p:cNvPicPr>
            <a:picLocks noChangeAspect="1"/>
          </p:cNvPicPr>
          <p:nvPr/>
        </p:nvPicPr>
        <p:blipFill>
          <a:blip r:embed="rId3"/>
          <a:stretch>
            <a:fillRect/>
          </a:stretch>
        </p:blipFill>
        <p:spPr>
          <a:xfrm>
            <a:off x="2798191" y="769225"/>
            <a:ext cx="3011685" cy="3036071"/>
          </a:xfrm>
          <a:prstGeom prst="rect">
            <a:avLst/>
          </a:prstGeom>
        </p:spPr>
      </p:pic>
    </p:spTree>
    <p:extLst>
      <p:ext uri="{BB962C8B-B14F-4D97-AF65-F5344CB8AC3E}">
        <p14:creationId xmlns:p14="http://schemas.microsoft.com/office/powerpoint/2010/main" val="59566525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2EDE029-B956-442C-8A86-AB399C498B50}"/>
              </a:ext>
            </a:extLst>
          </p:cNvPr>
          <p:cNvSpPr txBox="1"/>
          <p:nvPr/>
        </p:nvSpPr>
        <p:spPr>
          <a:xfrm>
            <a:off x="321259" y="761005"/>
            <a:ext cx="8149835" cy="7569460"/>
          </a:xfrm>
          <a:prstGeom prst="rect">
            <a:avLst/>
          </a:prstGeom>
        </p:spPr>
        <p:txBody>
          <a:bodyPr vert="horz" wrap="square" lIns="89614" tIns="44807" rIns="89614" bIns="44807" rtlCol="0">
            <a:spAutoFit/>
          </a:bodyPr>
          <a:lstStyle/>
          <a:p>
            <a:r>
              <a:rPr lang="fr-FR" sz="1800" dirty="0"/>
              <a:t>Diapo 1: Insérer une capture d’ écran de la carte de score dans le PPT et </a:t>
            </a:r>
            <a:r>
              <a:rPr lang="fr-FR" sz="1800" u="sng" dirty="0"/>
              <a:t>encercler aux moins 3 priorités dans la carte de score. </a:t>
            </a:r>
            <a:r>
              <a:rPr lang="fr-FR" sz="1800" dirty="0"/>
              <a:t>Donnez la priorité à les régions avec des rouges, des flèches vers le bas, et en examinant les tendances sur plusieurs trimestres.</a:t>
            </a:r>
          </a:p>
          <a:p>
            <a:endParaRPr lang="fr-FR" sz="1700" dirty="0"/>
          </a:p>
          <a:p>
            <a:r>
              <a:rPr lang="fr-FR" sz="1700" dirty="0"/>
              <a:t>Pour Chaque Priorité: </a:t>
            </a:r>
          </a:p>
          <a:p>
            <a:pPr marL="342900" indent="-342900">
              <a:buFont typeface="+mj-lt"/>
              <a:buAutoNum type="arabicPeriod"/>
            </a:pPr>
            <a:endParaRPr lang="fr-FR" sz="1700" dirty="0"/>
          </a:p>
          <a:p>
            <a:pPr marL="342900" indent="-342900">
              <a:buFont typeface="+mj-lt"/>
              <a:buAutoNum type="arabicPeriod"/>
            </a:pPr>
            <a:r>
              <a:rPr lang="fr-FR" sz="1700" dirty="0"/>
              <a:t>Générer un rapport utilisant la fonction ‘vue d’indicateur’ pour montrer la performance pour chaque priorité pour T1/2020 – T1/2021. Insérer les graphiques dans le PPT. (3 diapos)</a:t>
            </a:r>
          </a:p>
          <a:p>
            <a:pPr marL="342900" indent="-342900">
              <a:buFont typeface="+mj-lt"/>
              <a:buAutoNum type="arabicPeriod"/>
            </a:pPr>
            <a:endParaRPr lang="fr-FR" sz="1700" dirty="0"/>
          </a:p>
          <a:p>
            <a:pPr marL="342900" indent="-342900">
              <a:buFont typeface="+mj-lt"/>
              <a:buAutoNum type="arabicPeriod"/>
            </a:pPr>
            <a:r>
              <a:rPr lang="fr-FR" sz="1700" dirty="0"/>
              <a:t>Générer une graphique linéaire pour chaque indicateur qui compare la performance de 6 districts ou AR ou CDS. Utiliser les périodes T4/2019 et T1/2021. Insérer dans le PPT. (3 diapos)</a:t>
            </a:r>
          </a:p>
          <a:p>
            <a:pPr marL="342900" indent="-342900">
              <a:buFont typeface="+mj-lt"/>
              <a:buAutoNum type="arabicPeriod"/>
            </a:pPr>
            <a:endParaRPr lang="fr-FR" sz="1700" dirty="0"/>
          </a:p>
          <a:p>
            <a:pPr marL="342900" indent="-342900">
              <a:buFont typeface="+mj-lt"/>
              <a:buAutoNum type="arabicPeriod"/>
            </a:pPr>
            <a:r>
              <a:rPr lang="fr-FR" sz="1700" dirty="0"/>
              <a:t>Créer une tableau avec trois colonnes (Prioritaire/Causes Potentielles/ Actions). Pour chaque priorité, écrivez une liste de 1-3 causes potentielles et sélectionner une action pour chaque un. (1-2 diapos)</a:t>
            </a:r>
          </a:p>
          <a:p>
            <a:pPr marL="342900" indent="-342900">
              <a:buFont typeface="+mj-lt"/>
              <a:buAutoNum type="arabicPeriod"/>
            </a:pPr>
            <a:endParaRPr lang="fr-FR" sz="1700" dirty="0"/>
          </a:p>
          <a:p>
            <a:pPr marL="342900" indent="-342900">
              <a:buFont typeface="+mj-lt"/>
              <a:buAutoNum type="arabicPeriod"/>
            </a:pPr>
            <a:r>
              <a:rPr lang="fr-FR" sz="1700" dirty="0"/>
              <a:t>Mettre trois actions dans l’outil suivi des actions et insérer une capture d’écran dans le PPT. (1 diapo)</a:t>
            </a:r>
          </a:p>
          <a:p>
            <a:br>
              <a:rPr lang="fr-FR" sz="1800" dirty="0"/>
            </a:br>
            <a:endParaRPr lang="fr-FR" sz="1800" u="sng" dirty="0"/>
          </a:p>
          <a:p>
            <a:pPr marL="224028" indent="-224028">
              <a:buFont typeface="+mj-lt"/>
              <a:buAutoNum type="arabicPeriod"/>
            </a:pPr>
            <a:endParaRPr lang="en-US" sz="1800" dirty="0"/>
          </a:p>
          <a:p>
            <a:pPr marL="224028" indent="-224028">
              <a:buFont typeface="+mj-lt"/>
              <a:buAutoNum type="arabicPeriod"/>
            </a:pPr>
            <a:endParaRPr lang="en-US" sz="1800" dirty="0"/>
          </a:p>
          <a:p>
            <a:pPr marL="224028" indent="-224028">
              <a:buFont typeface="+mj-lt"/>
              <a:buAutoNum type="arabicPeriod"/>
            </a:pPr>
            <a:endParaRPr lang="en-US" sz="1800" dirty="0"/>
          </a:p>
          <a:p>
            <a:pPr marL="224028" indent="-224028">
              <a:buFont typeface="+mj-lt"/>
              <a:buAutoNum type="arabicPeriod"/>
            </a:pPr>
            <a:endParaRPr lang="en-US" sz="1800" dirty="0"/>
          </a:p>
        </p:txBody>
      </p:sp>
      <p:sp>
        <p:nvSpPr>
          <p:cNvPr id="7" name="TextBox 6">
            <a:extLst>
              <a:ext uri="{FF2B5EF4-FFF2-40B4-BE49-F238E27FC236}">
                <a16:creationId xmlns:a16="http://schemas.microsoft.com/office/drawing/2014/main" id="{CA534CA5-66E8-497C-B4E5-1B5ED32ACA07}"/>
              </a:ext>
            </a:extLst>
          </p:cNvPr>
          <p:cNvSpPr txBox="1"/>
          <p:nvPr/>
        </p:nvSpPr>
        <p:spPr>
          <a:xfrm>
            <a:off x="321259" y="73679"/>
            <a:ext cx="7708520" cy="693731"/>
          </a:xfrm>
          <a:prstGeom prst="rect">
            <a:avLst/>
          </a:prstGeom>
        </p:spPr>
        <p:txBody>
          <a:bodyPr vert="horz" wrap="square" lIns="89614" tIns="44807" rIns="89614" bIns="44807" rtlCol="0">
            <a:spAutoFit/>
          </a:bodyPr>
          <a:lstStyle/>
          <a:p>
            <a:r>
              <a:rPr lang="fr-FR" sz="1960" b="1" dirty="0"/>
              <a:t>Exercice: comment développer une présentation PPT sur l'analyse de la carte de score et proposition des actions</a:t>
            </a:r>
          </a:p>
        </p:txBody>
      </p:sp>
    </p:spTree>
    <p:extLst>
      <p:ext uri="{BB962C8B-B14F-4D97-AF65-F5344CB8AC3E}">
        <p14:creationId xmlns:p14="http://schemas.microsoft.com/office/powerpoint/2010/main" val="95683123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C43FC5-F32F-4AE9-BDD0-D0D4EBE5D528}"/>
              </a:ext>
            </a:extLst>
          </p:cNvPr>
          <p:cNvSpPr txBox="1"/>
          <p:nvPr/>
        </p:nvSpPr>
        <p:spPr>
          <a:xfrm>
            <a:off x="60951" y="2701405"/>
            <a:ext cx="5111550" cy="3570208"/>
          </a:xfrm>
          <a:prstGeom prst="rect">
            <a:avLst/>
          </a:prstGeom>
          <a:noFill/>
        </p:spPr>
        <p:txBody>
          <a:bodyPr wrap="square" rtlCol="0">
            <a:spAutoFit/>
          </a:bodyPr>
          <a:lstStyle/>
          <a:p>
            <a:pPr marL="342900" indent="-342900">
              <a:spcBef>
                <a:spcPts val="600"/>
              </a:spcBef>
              <a:spcAft>
                <a:spcPts val="600"/>
              </a:spcAft>
              <a:buAutoNum type="arabicParenR"/>
            </a:pPr>
            <a:r>
              <a:rPr lang="fr-FR" dirty="0"/>
              <a:t>Rechercher « </a:t>
            </a:r>
            <a:r>
              <a:rPr lang="fr-FR" sz="1600" b="1" dirty="0"/>
              <a:t>Outil Capture  » </a:t>
            </a:r>
            <a:r>
              <a:rPr lang="fr-FR" sz="1600" dirty="0"/>
              <a:t>ou « </a:t>
            </a:r>
            <a:r>
              <a:rPr lang="fr-FR" dirty="0" err="1"/>
              <a:t>Snipping</a:t>
            </a:r>
            <a:r>
              <a:rPr lang="fr-FR" dirty="0"/>
              <a:t> Tool » dans votre ordinateur.</a:t>
            </a:r>
          </a:p>
          <a:p>
            <a:pPr marL="342900" indent="-342900">
              <a:spcBef>
                <a:spcPts val="600"/>
              </a:spcBef>
              <a:spcAft>
                <a:spcPts val="600"/>
              </a:spcAft>
              <a:buAutoNum type="arabicParenR"/>
            </a:pPr>
            <a:r>
              <a:rPr lang="fr-FR" dirty="0"/>
              <a:t>Sélectionner et ouvrir l’outil ‘</a:t>
            </a:r>
            <a:r>
              <a:rPr lang="fr-FR" dirty="0" err="1"/>
              <a:t>Snipping</a:t>
            </a:r>
            <a:r>
              <a:rPr lang="fr-FR" dirty="0"/>
              <a:t> Tool’.</a:t>
            </a:r>
          </a:p>
          <a:p>
            <a:pPr marL="342900" indent="-342900">
              <a:spcBef>
                <a:spcPts val="600"/>
              </a:spcBef>
              <a:spcAft>
                <a:spcPts val="600"/>
              </a:spcAft>
              <a:buAutoNum type="arabicParenR"/>
            </a:pPr>
            <a:r>
              <a:rPr lang="fr-FR" dirty="0"/>
              <a:t>Mettez en fond d’</a:t>
            </a:r>
            <a:r>
              <a:rPr lang="fr-FR" dirty="0" err="1"/>
              <a:t>ecran</a:t>
            </a:r>
            <a:r>
              <a:rPr lang="fr-FR" dirty="0"/>
              <a:t> la page ou image dont vous aimeriez faire une capture d’</a:t>
            </a:r>
            <a:r>
              <a:rPr lang="fr-FR" dirty="0" err="1"/>
              <a:t>ecran</a:t>
            </a:r>
            <a:r>
              <a:rPr lang="fr-FR" dirty="0"/>
              <a:t>.</a:t>
            </a:r>
          </a:p>
          <a:p>
            <a:pPr marL="342900" indent="-342900">
              <a:spcBef>
                <a:spcPts val="600"/>
              </a:spcBef>
              <a:spcAft>
                <a:spcPts val="600"/>
              </a:spcAft>
              <a:buAutoNum type="arabicParenR"/>
            </a:pPr>
            <a:r>
              <a:rPr lang="fr-FR" dirty="0"/>
              <a:t>Cliquer sur ‘Nouveau’ ou « New » en </a:t>
            </a:r>
            <a:r>
              <a:rPr lang="fr-FR" dirty="0" err="1"/>
              <a:t>anlais</a:t>
            </a:r>
            <a:r>
              <a:rPr lang="fr-FR" dirty="0"/>
              <a:t> dans l’outil.</a:t>
            </a:r>
          </a:p>
          <a:p>
            <a:pPr marL="342900" indent="-342900">
              <a:spcBef>
                <a:spcPts val="600"/>
              </a:spcBef>
              <a:spcAft>
                <a:spcPts val="600"/>
              </a:spcAft>
              <a:buAutoNum type="arabicParenR"/>
            </a:pPr>
            <a:r>
              <a:rPr lang="fr-FR" dirty="0"/>
              <a:t>Utiliser le curseur pour sélectionner ce dont vous voulez faire une capture.</a:t>
            </a:r>
          </a:p>
          <a:p>
            <a:pPr marL="342900" indent="-342900">
              <a:spcBef>
                <a:spcPts val="600"/>
              </a:spcBef>
              <a:spcAft>
                <a:spcPts val="600"/>
              </a:spcAft>
              <a:buAutoNum type="arabicParenR"/>
            </a:pPr>
            <a:r>
              <a:rPr lang="fr-FR" dirty="0"/>
              <a:t>Copiez et coller l’image dans les documents approprier. </a:t>
            </a:r>
          </a:p>
        </p:txBody>
      </p:sp>
      <p:grpSp>
        <p:nvGrpSpPr>
          <p:cNvPr id="14" name="Group 13">
            <a:extLst>
              <a:ext uri="{FF2B5EF4-FFF2-40B4-BE49-F238E27FC236}">
                <a16:creationId xmlns:a16="http://schemas.microsoft.com/office/drawing/2014/main" id="{BF3452A1-1214-41B2-8BA0-C99CC64CF295}"/>
              </a:ext>
            </a:extLst>
          </p:cNvPr>
          <p:cNvGrpSpPr/>
          <p:nvPr/>
        </p:nvGrpSpPr>
        <p:grpSpPr>
          <a:xfrm>
            <a:off x="321015" y="1005614"/>
            <a:ext cx="7280788" cy="1009128"/>
            <a:chOff x="744096" y="1289181"/>
            <a:chExt cx="7280788" cy="1009128"/>
          </a:xfrm>
        </p:grpSpPr>
        <p:pic>
          <p:nvPicPr>
            <p:cNvPr id="10" name="Picture 2">
              <a:extLst>
                <a:ext uri="{FF2B5EF4-FFF2-40B4-BE49-F238E27FC236}">
                  <a16:creationId xmlns:a16="http://schemas.microsoft.com/office/drawing/2014/main" id="{48AAF831-0492-4A21-97A8-A517DB3E876B}"/>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716000" y="1411593"/>
              <a:ext cx="784651" cy="784651"/>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B95A306B-7B2B-47FE-8164-E0BE22C6C34B}"/>
                </a:ext>
              </a:extLst>
            </p:cNvPr>
            <p:cNvSpPr txBox="1"/>
            <p:nvPr/>
          </p:nvSpPr>
          <p:spPr>
            <a:xfrm>
              <a:off x="744096" y="1511530"/>
              <a:ext cx="7280788" cy="584775"/>
            </a:xfrm>
            <a:prstGeom prst="rect">
              <a:avLst/>
            </a:prstGeom>
            <a:noFill/>
          </p:spPr>
          <p:txBody>
            <a:bodyPr wrap="square" anchor="ctr">
              <a:spAutoFit/>
            </a:bodyPr>
            <a:lstStyle/>
            <a:p>
              <a:r>
                <a:rPr lang="fr-FR" b="1" dirty="0"/>
                <a:t>Capture d’</a:t>
              </a:r>
              <a:r>
                <a:rPr lang="fr-FR" b="1" dirty="0" err="1"/>
                <a:t>ecran</a:t>
              </a:r>
              <a:r>
                <a:rPr lang="fr-FR" b="1" dirty="0"/>
                <a:t>: </a:t>
              </a:r>
              <a:r>
                <a:rPr lang="en-US" b="1" dirty="0"/>
                <a:t>                      </a:t>
              </a:r>
              <a:r>
                <a:rPr lang="en-US" sz="3200" b="1" dirty="0"/>
                <a:t>+              +                         </a:t>
              </a:r>
              <a:endParaRPr lang="en-US" b="1" dirty="0"/>
            </a:p>
          </p:txBody>
        </p:sp>
        <p:pic>
          <p:nvPicPr>
            <p:cNvPr id="12" name="Picture 4">
              <a:extLst>
                <a:ext uri="{FF2B5EF4-FFF2-40B4-BE49-F238E27FC236}">
                  <a16:creationId xmlns:a16="http://schemas.microsoft.com/office/drawing/2014/main" id="{0975210B-4A36-430C-A0B1-D868C55BD5C4}"/>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8125" r="12014"/>
            <a:stretch/>
          </p:blipFill>
          <p:spPr bwMode="auto">
            <a:xfrm>
              <a:off x="4155751" y="1309527"/>
              <a:ext cx="1316803" cy="988782"/>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a:extLst>
                <a:ext uri="{FF2B5EF4-FFF2-40B4-BE49-F238E27FC236}">
                  <a16:creationId xmlns:a16="http://schemas.microsoft.com/office/drawing/2014/main" id="{B3AE31E0-588F-4EC9-8ACD-9A63C1EDCDA4}"/>
                </a:ext>
              </a:extLst>
            </p:cNvPr>
            <p:cNvGrpSpPr/>
            <p:nvPr/>
          </p:nvGrpSpPr>
          <p:grpSpPr>
            <a:xfrm>
              <a:off x="5964072" y="1289181"/>
              <a:ext cx="1363360" cy="907063"/>
              <a:chOff x="2720826" y="1455738"/>
              <a:chExt cx="3704265" cy="3057067"/>
            </a:xfrm>
          </p:grpSpPr>
          <p:pic>
            <p:nvPicPr>
              <p:cNvPr id="2054" name="Picture 6">
                <a:extLst>
                  <a:ext uri="{FF2B5EF4-FFF2-40B4-BE49-F238E27FC236}">
                    <a16:creationId xmlns:a16="http://schemas.microsoft.com/office/drawing/2014/main" id="{FC06B4B6-2011-485D-AF39-B10C0481BABF}"/>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9219"/>
              <a:stretch/>
            </p:blipFill>
            <p:spPr bwMode="auto">
              <a:xfrm>
                <a:off x="2720826" y="1455738"/>
                <a:ext cx="3704265" cy="3057067"/>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667A07BC-922B-4847-A57B-EA73C666F820}"/>
                  </a:ext>
                </a:extLst>
              </p:cNvPr>
              <p:cNvSpPr txBox="1"/>
              <p:nvPr/>
            </p:nvSpPr>
            <p:spPr>
              <a:xfrm>
                <a:off x="3329393" y="2175710"/>
                <a:ext cx="1248771" cy="1555946"/>
              </a:xfrm>
              <a:prstGeom prst="rect">
                <a:avLst/>
              </a:prstGeom>
              <a:solidFill>
                <a:schemeClr val="tx1">
                  <a:lumMod val="95000"/>
                  <a:lumOff val="5000"/>
                </a:schemeClr>
              </a:solidFill>
              <a:ln>
                <a:solidFill>
                  <a:schemeClr val="tx1">
                    <a:lumMod val="95000"/>
                    <a:lumOff val="5000"/>
                  </a:schemeClr>
                </a:solidFill>
              </a:ln>
            </p:spPr>
            <p:txBody>
              <a:bodyPr wrap="square" rtlCol="0">
                <a:spAutoFit/>
              </a:bodyPr>
              <a:lstStyle/>
              <a:p>
                <a:r>
                  <a:rPr lang="en-US" sz="2400" dirty="0">
                    <a:solidFill>
                      <a:schemeClr val="bg1"/>
                    </a:solidFill>
                  </a:rPr>
                  <a:t>S</a:t>
                </a:r>
              </a:p>
            </p:txBody>
          </p:sp>
        </p:grpSp>
      </p:grpSp>
      <p:sp>
        <p:nvSpPr>
          <p:cNvPr id="17" name="TextBox 16">
            <a:extLst>
              <a:ext uri="{FF2B5EF4-FFF2-40B4-BE49-F238E27FC236}">
                <a16:creationId xmlns:a16="http://schemas.microsoft.com/office/drawing/2014/main" id="{BC78A931-CC00-4CA9-B714-0DDF74A978C0}"/>
              </a:ext>
            </a:extLst>
          </p:cNvPr>
          <p:cNvSpPr txBox="1"/>
          <p:nvPr/>
        </p:nvSpPr>
        <p:spPr>
          <a:xfrm>
            <a:off x="388165" y="276053"/>
            <a:ext cx="6936134" cy="646331"/>
          </a:xfrm>
          <a:prstGeom prst="rect">
            <a:avLst/>
          </a:prstGeom>
          <a:noFill/>
        </p:spPr>
        <p:txBody>
          <a:bodyPr wrap="square">
            <a:spAutoFit/>
          </a:bodyPr>
          <a:lstStyle/>
          <a:p>
            <a:r>
              <a:rPr lang="fr-FR" sz="1800" b="1" dirty="0"/>
              <a:t>pour insérer une image de la carte de score, les tableaux et les graphiques dans une présentation PPT </a:t>
            </a:r>
            <a:r>
              <a:rPr lang="fr-FR" sz="1800" b="1" dirty="0" err="1"/>
              <a:t>utilizer</a:t>
            </a:r>
            <a:r>
              <a:rPr lang="fr-FR" sz="1800" b="1" dirty="0"/>
              <a:t>…</a:t>
            </a:r>
          </a:p>
        </p:txBody>
      </p:sp>
      <p:sp>
        <p:nvSpPr>
          <p:cNvPr id="19" name="TextBox 18">
            <a:extLst>
              <a:ext uri="{FF2B5EF4-FFF2-40B4-BE49-F238E27FC236}">
                <a16:creationId xmlns:a16="http://schemas.microsoft.com/office/drawing/2014/main" id="{6C3B722E-6640-43E6-ABC9-9AF8F649DC8E}"/>
              </a:ext>
            </a:extLst>
          </p:cNvPr>
          <p:cNvSpPr txBox="1"/>
          <p:nvPr/>
        </p:nvSpPr>
        <p:spPr>
          <a:xfrm>
            <a:off x="388165" y="2210859"/>
            <a:ext cx="6936134" cy="369332"/>
          </a:xfrm>
          <a:prstGeom prst="rect">
            <a:avLst/>
          </a:prstGeom>
          <a:noFill/>
        </p:spPr>
        <p:txBody>
          <a:bodyPr wrap="square">
            <a:spAutoFit/>
          </a:bodyPr>
          <a:lstStyle/>
          <a:p>
            <a:r>
              <a:rPr lang="fr-FR" sz="1800" b="1" dirty="0"/>
              <a:t>Ou utilisez « </a:t>
            </a:r>
            <a:r>
              <a:rPr lang="fr-FR" sz="1800" b="1" dirty="0" err="1"/>
              <a:t>snipping</a:t>
            </a:r>
            <a:r>
              <a:rPr lang="fr-FR" sz="1800" b="1" dirty="0"/>
              <a:t> </a:t>
            </a:r>
            <a:r>
              <a:rPr lang="fr-FR" sz="1800" b="1" dirty="0" err="1"/>
              <a:t>tool</a:t>
            </a:r>
            <a:r>
              <a:rPr lang="fr-FR" sz="1800" b="1" dirty="0"/>
              <a:t> » « Outil Capture »</a:t>
            </a:r>
          </a:p>
        </p:txBody>
      </p:sp>
      <p:sp>
        <p:nvSpPr>
          <p:cNvPr id="21" name="TextBox 20">
            <a:extLst>
              <a:ext uri="{FF2B5EF4-FFF2-40B4-BE49-F238E27FC236}">
                <a16:creationId xmlns:a16="http://schemas.microsoft.com/office/drawing/2014/main" id="{4FB83204-EED4-44D3-9F0A-1E4E25E294F5}"/>
              </a:ext>
            </a:extLst>
          </p:cNvPr>
          <p:cNvSpPr txBox="1"/>
          <p:nvPr/>
        </p:nvSpPr>
        <p:spPr>
          <a:xfrm>
            <a:off x="7215254" y="1227963"/>
            <a:ext cx="1607022" cy="830997"/>
          </a:xfrm>
          <a:prstGeom prst="rect">
            <a:avLst/>
          </a:prstGeom>
          <a:noFill/>
        </p:spPr>
        <p:txBody>
          <a:bodyPr wrap="square">
            <a:spAutoFit/>
          </a:bodyPr>
          <a:lstStyle/>
          <a:p>
            <a:pPr algn="ctr"/>
            <a:r>
              <a:rPr lang="en-US" dirty="0" err="1"/>
              <a:t>puis</a:t>
            </a:r>
            <a:r>
              <a:rPr lang="en-US" dirty="0"/>
              <a:t> </a:t>
            </a:r>
            <a:r>
              <a:rPr lang="en-US" dirty="0" err="1"/>
              <a:t>copiez</a:t>
            </a:r>
            <a:r>
              <a:rPr lang="en-US" dirty="0"/>
              <a:t> et </a:t>
            </a:r>
            <a:r>
              <a:rPr lang="en-US" dirty="0" err="1"/>
              <a:t>collez</a:t>
            </a:r>
            <a:r>
              <a:rPr lang="en-US" dirty="0"/>
              <a:t> dans PPT</a:t>
            </a:r>
          </a:p>
        </p:txBody>
      </p:sp>
      <p:sp>
        <p:nvSpPr>
          <p:cNvPr id="16" name="Arrow: Up 15">
            <a:extLst>
              <a:ext uri="{FF2B5EF4-FFF2-40B4-BE49-F238E27FC236}">
                <a16:creationId xmlns:a16="http://schemas.microsoft.com/office/drawing/2014/main" id="{5E7A0F42-8EFC-4878-85CC-6B7E35257626}"/>
              </a:ext>
            </a:extLst>
          </p:cNvPr>
          <p:cNvSpPr/>
          <p:nvPr/>
        </p:nvSpPr>
        <p:spPr>
          <a:xfrm rot="5400000">
            <a:off x="6901962" y="1433015"/>
            <a:ext cx="313292" cy="211540"/>
          </a:xfrm>
          <a:prstGeom prst="upArrow">
            <a:avLst/>
          </a:prstGeom>
          <a:solidFill>
            <a:schemeClr val="tx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pic>
        <p:nvPicPr>
          <p:cNvPr id="24" name="Picture 8" descr="Interface de capture © Futura-Techno">
            <a:extLst>
              <a:ext uri="{FF2B5EF4-FFF2-40B4-BE49-F238E27FC236}">
                <a16:creationId xmlns:a16="http://schemas.microsoft.com/office/drawing/2014/main" id="{D5FCF7DD-B2E7-4057-8BE4-C2C06AD4025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1024"/>
          <a:stretch/>
        </p:blipFill>
        <p:spPr bwMode="auto">
          <a:xfrm>
            <a:off x="5274860" y="3209830"/>
            <a:ext cx="3686578" cy="1762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95038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sp>
        <p:nvSpPr>
          <p:cNvPr id="11" name="TextBox 10">
            <a:extLst>
              <a:ext uri="{FF2B5EF4-FFF2-40B4-BE49-F238E27FC236}">
                <a16:creationId xmlns:a16="http://schemas.microsoft.com/office/drawing/2014/main" id="{3096C8CA-BA43-4F5A-855F-30F86DB8F4B7}"/>
              </a:ext>
            </a:extLst>
          </p:cNvPr>
          <p:cNvSpPr txBox="1"/>
          <p:nvPr/>
        </p:nvSpPr>
        <p:spPr>
          <a:xfrm>
            <a:off x="541892" y="203266"/>
            <a:ext cx="4907280" cy="338554"/>
          </a:xfrm>
          <a:prstGeom prst="rect">
            <a:avLst/>
          </a:prstGeom>
          <a:noFill/>
        </p:spPr>
        <p:txBody>
          <a:bodyPr wrap="square" rtlCol="0">
            <a:spAutoFit/>
          </a:bodyPr>
          <a:lstStyle/>
          <a:p>
            <a:r>
              <a:rPr lang="en-US" dirty="0"/>
              <a:t>Apercu de </a:t>
            </a:r>
            <a:r>
              <a:rPr lang="en-US" dirty="0" err="1"/>
              <a:t>l’outil</a:t>
            </a:r>
            <a:r>
              <a:rPr lang="en-US" dirty="0"/>
              <a:t> de gestion de la carte de score  </a:t>
            </a:r>
            <a:endParaRPr lang="fr-FR" dirty="0"/>
          </a:p>
        </p:txBody>
      </p:sp>
      <p:pic>
        <p:nvPicPr>
          <p:cNvPr id="7" name="Online Media 6" title="Aperçu de l’outil de gestion de carte de score">
            <a:hlinkClick r:id="" action="ppaction://media"/>
            <a:extLst>
              <a:ext uri="{FF2B5EF4-FFF2-40B4-BE49-F238E27FC236}">
                <a16:creationId xmlns:a16="http://schemas.microsoft.com/office/drawing/2014/main" id="{1ED13BF3-C162-4EFF-B74A-C06A0469AFFC}"/>
              </a:ext>
            </a:extLst>
          </p:cNvPr>
          <p:cNvPicPr>
            <a:picLocks noRot="1" noChangeAspect="1"/>
          </p:cNvPicPr>
          <p:nvPr>
            <a:videoFile r:link="rId1"/>
          </p:nvPr>
        </p:nvPicPr>
        <p:blipFill>
          <a:blip r:embed="rId4"/>
          <a:stretch>
            <a:fillRect/>
          </a:stretch>
        </p:blipFill>
        <p:spPr>
          <a:xfrm>
            <a:off x="541892" y="713901"/>
            <a:ext cx="7571265" cy="5325475"/>
          </a:xfrm>
          <a:prstGeom prst="rect">
            <a:avLst/>
          </a:prstGeom>
        </p:spPr>
      </p:pic>
      <p:sp>
        <p:nvSpPr>
          <p:cNvPr id="6" name="TextBox 5">
            <a:extLst>
              <a:ext uri="{FF2B5EF4-FFF2-40B4-BE49-F238E27FC236}">
                <a16:creationId xmlns:a16="http://schemas.microsoft.com/office/drawing/2014/main" id="{359DFBE6-1BAB-4FC6-9E05-DD5060C2D695}"/>
              </a:ext>
            </a:extLst>
          </p:cNvPr>
          <p:cNvSpPr txBox="1"/>
          <p:nvPr/>
        </p:nvSpPr>
        <p:spPr>
          <a:xfrm>
            <a:off x="144809" y="6382921"/>
            <a:ext cx="4487516" cy="338554"/>
          </a:xfrm>
          <a:prstGeom prst="rect">
            <a:avLst/>
          </a:prstGeom>
          <a:noFill/>
        </p:spPr>
        <p:txBody>
          <a:bodyPr wrap="square">
            <a:spAutoFit/>
          </a:bodyPr>
          <a:lstStyle/>
          <a:p>
            <a:r>
              <a:rPr lang="fr-FR" sz="1600" dirty="0">
                <a:hlinkClick r:id="rId5">
                  <a:extLst>
                    <a:ext uri="{A12FA001-AC4F-418D-AE19-62706E023703}">
                      <ahyp:hlinkClr xmlns:ahyp="http://schemas.microsoft.com/office/drawing/2018/hyperlinkcolor" val="tx"/>
                    </a:ext>
                  </a:extLst>
                </a:hlinkClick>
              </a:rPr>
              <a:t>Télécharger la vidéo </a:t>
            </a:r>
            <a:endParaRPr lang="fr-FR" sz="1600" dirty="0"/>
          </a:p>
        </p:txBody>
      </p:sp>
    </p:spTree>
    <p:extLst>
      <p:ext uri="{BB962C8B-B14F-4D97-AF65-F5344CB8AC3E}">
        <p14:creationId xmlns:p14="http://schemas.microsoft.com/office/powerpoint/2010/main" val="16319766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258193" y="4073813"/>
            <a:ext cx="6858728" cy="1930272"/>
          </a:xfrm>
        </p:spPr>
        <p:txBody>
          <a:bodyPr/>
          <a:lstStyle/>
          <a:p>
            <a:pPr algn="ctr"/>
            <a:r>
              <a:rPr lang="fr-FR" sz="3136" dirty="0">
                <a:solidFill>
                  <a:schemeClr val="tx1"/>
                </a:solidFill>
              </a:rPr>
              <a:t>Présentations de groupe</a:t>
            </a:r>
            <a:br>
              <a:rPr lang="fr-FR" sz="3136" dirty="0">
                <a:solidFill>
                  <a:schemeClr val="tx1"/>
                </a:solidFill>
              </a:rPr>
            </a:br>
            <a:br>
              <a:rPr lang="fr-FR" sz="3136" dirty="0">
                <a:solidFill>
                  <a:schemeClr val="tx1"/>
                </a:solidFill>
              </a:rPr>
            </a:br>
            <a:br>
              <a:rPr lang="fr-FR" sz="3136" dirty="0">
                <a:solidFill>
                  <a:schemeClr val="tx1"/>
                </a:solidFill>
              </a:rPr>
            </a:br>
            <a:endParaRPr lang="en-US" sz="3136" dirty="0">
              <a:solidFill>
                <a:schemeClr val="tx1"/>
              </a:solidFill>
            </a:endParaRPr>
          </a:p>
        </p:txBody>
      </p:sp>
      <p:sp>
        <p:nvSpPr>
          <p:cNvPr id="3" name="Subtitle 2"/>
          <p:cNvSpPr>
            <a:spLocks noGrp="1"/>
          </p:cNvSpPr>
          <p:nvPr>
            <p:ph type="subTitle" idx="1"/>
          </p:nvPr>
        </p:nvSpPr>
        <p:spPr>
          <a:xfrm>
            <a:off x="3789952" y="5809440"/>
            <a:ext cx="2355102" cy="338554"/>
          </a:xfrm>
        </p:spPr>
        <p:txBody>
          <a:bodyPr/>
          <a:lstStyle/>
          <a:p>
            <a:r>
              <a:rPr lang="en-US" dirty="0" err="1"/>
              <a:t>Juin</a:t>
            </a:r>
            <a:r>
              <a:rPr lang="en-US" dirty="0"/>
              <a:t> 2021</a:t>
            </a: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10" name="Picture 9">
            <a:extLst>
              <a:ext uri="{FF2B5EF4-FFF2-40B4-BE49-F238E27FC236}">
                <a16:creationId xmlns:a16="http://schemas.microsoft.com/office/drawing/2014/main" id="{049084AE-0439-48C0-A317-94C4C1DE84CE}"/>
              </a:ext>
            </a:extLst>
          </p:cNvPr>
          <p:cNvPicPr>
            <a:picLocks noChangeAspect="1"/>
          </p:cNvPicPr>
          <p:nvPr/>
        </p:nvPicPr>
        <p:blipFill>
          <a:blip r:embed="rId3"/>
          <a:stretch>
            <a:fillRect/>
          </a:stretch>
        </p:blipFill>
        <p:spPr>
          <a:xfrm>
            <a:off x="2798191" y="769225"/>
            <a:ext cx="3011685" cy="3036071"/>
          </a:xfrm>
          <a:prstGeom prst="rect">
            <a:avLst/>
          </a:prstGeom>
        </p:spPr>
      </p:pic>
    </p:spTree>
    <p:extLst>
      <p:ext uri="{BB962C8B-B14F-4D97-AF65-F5344CB8AC3E}">
        <p14:creationId xmlns:p14="http://schemas.microsoft.com/office/powerpoint/2010/main" val="232196241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F028700-84CF-467B-823D-386763426631}"/>
              </a:ext>
            </a:extLst>
          </p:cNvPr>
          <p:cNvSpPr>
            <a:spLocks noGrp="1"/>
          </p:cNvSpPr>
          <p:nvPr>
            <p:ph type="body" sz="quarter" idx="11"/>
          </p:nvPr>
        </p:nvSpPr>
        <p:spPr>
          <a:xfrm>
            <a:off x="457755" y="2203548"/>
            <a:ext cx="7118733" cy="2931860"/>
          </a:xfrm>
        </p:spPr>
        <p:txBody>
          <a:bodyPr/>
          <a:lstStyle/>
          <a:p>
            <a:pPr>
              <a:buNone/>
            </a:pPr>
            <a:r>
              <a:rPr lang="en-US" dirty="0"/>
              <a:t>Centre de </a:t>
            </a:r>
            <a:r>
              <a:rPr lang="en-US" dirty="0" err="1"/>
              <a:t>Connaissances</a:t>
            </a:r>
            <a:r>
              <a:rPr lang="en-US" dirty="0"/>
              <a:t> ‘ALMA Scorecard Hub’</a:t>
            </a:r>
          </a:p>
        </p:txBody>
      </p:sp>
      <p:sp>
        <p:nvSpPr>
          <p:cNvPr id="7" name="Text Placeholder 6">
            <a:extLst>
              <a:ext uri="{FF2B5EF4-FFF2-40B4-BE49-F238E27FC236}">
                <a16:creationId xmlns:a16="http://schemas.microsoft.com/office/drawing/2014/main" id="{39FAC108-A62A-415D-93C8-A09A882BC532}"/>
              </a:ext>
            </a:extLst>
          </p:cNvPr>
          <p:cNvSpPr>
            <a:spLocks noGrp="1"/>
          </p:cNvSpPr>
          <p:nvPr>
            <p:ph type="body" sz="quarter" idx="12"/>
          </p:nvPr>
        </p:nvSpPr>
        <p:spPr>
          <a:xfrm>
            <a:off x="457753" y="5773567"/>
            <a:ext cx="5759244" cy="327144"/>
          </a:xfrm>
        </p:spPr>
        <p:txBody>
          <a:bodyPr/>
          <a:lstStyle/>
          <a:p>
            <a:r>
              <a:rPr lang="en-US" dirty="0"/>
              <a:t>Introduction </a:t>
            </a:r>
          </a:p>
        </p:txBody>
      </p:sp>
      <p:pic>
        <p:nvPicPr>
          <p:cNvPr id="2" name="Picture 1">
            <a:extLst>
              <a:ext uri="{FF2B5EF4-FFF2-40B4-BE49-F238E27FC236}">
                <a16:creationId xmlns:a16="http://schemas.microsoft.com/office/drawing/2014/main" id="{7F40F5B5-12EE-D04B-97F0-6854E6147169}"/>
              </a:ext>
            </a:extLst>
          </p:cNvPr>
          <p:cNvPicPr>
            <a:picLocks noChangeAspect="1"/>
          </p:cNvPicPr>
          <p:nvPr/>
        </p:nvPicPr>
        <p:blipFill>
          <a:blip r:embed="rId2"/>
          <a:stretch>
            <a:fillRect/>
          </a:stretch>
        </p:blipFill>
        <p:spPr>
          <a:xfrm>
            <a:off x="0" y="79467"/>
            <a:ext cx="5088212" cy="1264946"/>
          </a:xfrm>
          <a:prstGeom prst="rect">
            <a:avLst/>
          </a:prstGeom>
        </p:spPr>
      </p:pic>
      <p:sp>
        <p:nvSpPr>
          <p:cNvPr id="3" name="Rectangle 2">
            <a:extLst>
              <a:ext uri="{FF2B5EF4-FFF2-40B4-BE49-F238E27FC236}">
                <a16:creationId xmlns:a16="http://schemas.microsoft.com/office/drawing/2014/main" id="{11E8BBC3-A38C-594E-893D-3526A8619457}"/>
              </a:ext>
            </a:extLst>
          </p:cNvPr>
          <p:cNvSpPr/>
          <p:nvPr/>
        </p:nvSpPr>
        <p:spPr>
          <a:xfrm>
            <a:off x="5077010" y="79467"/>
            <a:ext cx="3884428" cy="1264946"/>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endParaRPr lang="en-US" sz="1372" b="1" dirty="0">
              <a:solidFill>
                <a:prstClr val="white"/>
              </a:solidFill>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05B36562-0837-C749-8BF9-71BECD01BCE7}"/>
              </a:ext>
            </a:extLst>
          </p:cNvPr>
          <p:cNvSpPr txBox="1"/>
          <p:nvPr/>
        </p:nvSpPr>
        <p:spPr>
          <a:xfrm>
            <a:off x="5088211" y="440472"/>
            <a:ext cx="3234724" cy="542937"/>
          </a:xfrm>
          <a:prstGeom prst="rect">
            <a:avLst/>
          </a:prstGeom>
        </p:spPr>
        <p:txBody>
          <a:bodyPr vert="horz" wrap="square" lIns="0" tIns="0" rIns="0" bIns="0" rtlCol="0">
            <a:spAutoFit/>
          </a:bodyPr>
          <a:lstStyle/>
          <a:p>
            <a:pPr algn="ctr" defTabSz="896112" fontAlgn="auto">
              <a:spcBef>
                <a:spcPts val="0"/>
              </a:spcBef>
              <a:spcAft>
                <a:spcPts val="0"/>
              </a:spcAft>
            </a:pPr>
            <a:r>
              <a:rPr lang="en-US" sz="1764" dirty="0">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www.scorecardhub.org/fr</a:t>
            </a:r>
            <a:r>
              <a:rPr lang="en-US" sz="1764" dirty="0">
                <a:latin typeface="Arial" panose="020B0604020202020204" pitchFamily="34" charset="0"/>
                <a:cs typeface="Arial" panose="020B0604020202020204" pitchFamily="34" charset="0"/>
              </a:rPr>
              <a:t> </a:t>
            </a:r>
          </a:p>
          <a:p>
            <a:pPr algn="ctr" defTabSz="896112" fontAlgn="auto">
              <a:spcBef>
                <a:spcPts val="0"/>
              </a:spcBef>
              <a:spcAft>
                <a:spcPts val="0"/>
              </a:spcAft>
            </a:pPr>
            <a:endParaRPr lang="en-US" sz="1764"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9606179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6"/>
            <a:ext cx="8065294" cy="977287"/>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GB" sz="2352" dirty="0"/>
              <a:t>Notre Hub </a:t>
            </a:r>
            <a:r>
              <a:rPr lang="en-GB" sz="2352" dirty="0" err="1"/>
              <a:t>est</a:t>
            </a:r>
            <a:r>
              <a:rPr lang="en-GB" sz="2352" dirty="0"/>
              <a:t> le </a:t>
            </a:r>
            <a:r>
              <a:rPr lang="en-GB" sz="2352" dirty="0" err="1"/>
              <a:t>portail</a:t>
            </a:r>
            <a:r>
              <a:rPr lang="en-GB" sz="2352" dirty="0"/>
              <a:t> de </a:t>
            </a:r>
            <a:r>
              <a:rPr lang="en-GB" sz="2352" dirty="0" err="1"/>
              <a:t>référence</a:t>
            </a:r>
            <a:r>
              <a:rPr lang="en-GB" sz="2352" dirty="0"/>
              <a:t> pour les pays sur les </a:t>
            </a:r>
            <a:r>
              <a:rPr lang="en-GB" sz="2352" dirty="0" err="1"/>
              <a:t>cartes</a:t>
            </a:r>
            <a:r>
              <a:rPr lang="en-GB" sz="2352" dirty="0"/>
              <a:t> de score
</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defTabSz="672067" fontAlgn="auto">
              <a:spcAft>
                <a:spcPts val="0"/>
              </a:spcAft>
            </a:pPr>
            <a:r>
              <a:rPr lang="en-US" sz="2352" b="0" dirty="0">
                <a:solidFill>
                  <a:prstClr val="black">
                    <a:lumMod val="65000"/>
                    <a:lumOff val="35000"/>
                  </a:prstClr>
                </a:solidFill>
              </a:rPr>
              <a:t>A </a:t>
            </a:r>
            <a:r>
              <a:rPr lang="en-US" sz="2352" b="0" dirty="0" err="1">
                <a:solidFill>
                  <a:prstClr val="black">
                    <a:lumMod val="65000"/>
                    <a:lumOff val="35000"/>
                  </a:prstClr>
                </a:solidFill>
              </a:rPr>
              <a:t>propos</a:t>
            </a:r>
            <a:r>
              <a:rPr lang="en-US" sz="2352" b="0" dirty="0">
                <a:solidFill>
                  <a:prstClr val="black">
                    <a:lumMod val="65000"/>
                    <a:lumOff val="35000"/>
                  </a:prstClr>
                </a:solidFill>
              </a:rPr>
              <a:t> du Centre de </a:t>
            </a:r>
            <a:r>
              <a:rPr lang="en-US" sz="2352" b="0" dirty="0" err="1">
                <a:solidFill>
                  <a:prstClr val="black">
                    <a:lumMod val="65000"/>
                    <a:lumOff val="35000"/>
                  </a:prstClr>
                </a:solidFill>
              </a:rPr>
              <a:t>Connaissances</a:t>
            </a:r>
            <a:r>
              <a:rPr lang="en-US" sz="2352" b="0" dirty="0">
                <a:solidFill>
                  <a:prstClr val="black">
                    <a:lumMod val="65000"/>
                    <a:lumOff val="35000"/>
                  </a:prstClr>
                </a:solidFill>
              </a:rPr>
              <a:t>, le ‘Scorecard Hub’</a:t>
            </a:r>
            <a:endParaRPr lang="en-GB" sz="2352" b="0" dirty="0">
              <a:solidFill>
                <a:prstClr val="black">
                  <a:lumMod val="65000"/>
                  <a:lumOff val="35000"/>
                </a:prstClr>
              </a:solidFill>
            </a:endParaRPr>
          </a:p>
        </p:txBody>
      </p:sp>
      <p:grpSp>
        <p:nvGrpSpPr>
          <p:cNvPr id="6" name="Group 5">
            <a:extLst>
              <a:ext uri="{FF2B5EF4-FFF2-40B4-BE49-F238E27FC236}">
                <a16:creationId xmlns:a16="http://schemas.microsoft.com/office/drawing/2014/main" id="{9A8D46BE-3630-834A-B4DB-B0E74291FEAE}"/>
              </a:ext>
            </a:extLst>
          </p:cNvPr>
          <p:cNvGrpSpPr/>
          <p:nvPr/>
        </p:nvGrpSpPr>
        <p:grpSpPr>
          <a:xfrm>
            <a:off x="5130349" y="4149161"/>
            <a:ext cx="3198184" cy="2017151"/>
            <a:chOff x="2604604" y="3909389"/>
            <a:chExt cx="3933602" cy="2573119"/>
          </a:xfrm>
        </p:grpSpPr>
        <p:grpSp>
          <p:nvGrpSpPr>
            <p:cNvPr id="7" name="Group 6">
              <a:extLst>
                <a:ext uri="{FF2B5EF4-FFF2-40B4-BE49-F238E27FC236}">
                  <a16:creationId xmlns:a16="http://schemas.microsoft.com/office/drawing/2014/main" id="{DFE94053-2F02-F142-928F-8ED176438C6C}"/>
                </a:ext>
              </a:extLst>
            </p:cNvPr>
            <p:cNvGrpSpPr/>
            <p:nvPr/>
          </p:nvGrpSpPr>
          <p:grpSpPr>
            <a:xfrm>
              <a:off x="2604604" y="3909389"/>
              <a:ext cx="3933602" cy="2573119"/>
              <a:chOff x="2843213" y="3242784"/>
              <a:chExt cx="3467100" cy="2006203"/>
            </a:xfrm>
          </p:grpSpPr>
          <p:sp>
            <p:nvSpPr>
              <p:cNvPr id="10" name="Freeform 6">
                <a:extLst>
                  <a:ext uri="{FF2B5EF4-FFF2-40B4-BE49-F238E27FC236}">
                    <a16:creationId xmlns:a16="http://schemas.microsoft.com/office/drawing/2014/main" id="{1E696C8C-27A5-2941-9F14-7D33C73EF020}"/>
                  </a:ext>
                </a:extLst>
              </p:cNvPr>
              <p:cNvSpPr>
                <a:spLocks noEditPoints="1"/>
              </p:cNvSpPr>
              <p:nvPr/>
            </p:nvSpPr>
            <p:spPr bwMode="auto">
              <a:xfrm>
                <a:off x="3153966" y="3242784"/>
                <a:ext cx="2834878" cy="1901428"/>
              </a:xfrm>
              <a:custGeom>
                <a:avLst/>
                <a:gdLst>
                  <a:gd name="T0" fmla="*/ 273 w 273"/>
                  <a:gd name="T1" fmla="*/ 175 h 182"/>
                  <a:gd name="T2" fmla="*/ 273 w 273"/>
                  <a:gd name="T3" fmla="*/ 11 h 182"/>
                  <a:gd name="T4" fmla="*/ 263 w 273"/>
                  <a:gd name="T5" fmla="*/ 0 h 182"/>
                  <a:gd name="T6" fmla="*/ 11 w 273"/>
                  <a:gd name="T7" fmla="*/ 0 h 182"/>
                  <a:gd name="T8" fmla="*/ 0 w 273"/>
                  <a:gd name="T9" fmla="*/ 11 h 182"/>
                  <a:gd name="T10" fmla="*/ 0 w 273"/>
                  <a:gd name="T11" fmla="*/ 175 h 182"/>
                  <a:gd name="T12" fmla="*/ 3 w 273"/>
                  <a:gd name="T13" fmla="*/ 182 h 182"/>
                  <a:gd name="T14" fmla="*/ 270 w 273"/>
                  <a:gd name="T15" fmla="*/ 182 h 182"/>
                  <a:gd name="T16" fmla="*/ 273 w 273"/>
                  <a:gd name="T17" fmla="*/ 175 h 182"/>
                  <a:gd name="T18" fmla="*/ 263 w 273"/>
                  <a:gd name="T19" fmla="*/ 170 h 182"/>
                  <a:gd name="T20" fmla="*/ 9 w 273"/>
                  <a:gd name="T21" fmla="*/ 170 h 182"/>
                  <a:gd name="T22" fmla="*/ 9 w 273"/>
                  <a:gd name="T23" fmla="*/ 11 h 182"/>
                  <a:gd name="T24" fmla="*/ 263 w 273"/>
                  <a:gd name="T25" fmla="*/ 11 h 182"/>
                  <a:gd name="T26" fmla="*/ 263 w 273"/>
                  <a:gd name="T27" fmla="*/ 17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3" h="182">
                    <a:moveTo>
                      <a:pt x="273" y="175"/>
                    </a:moveTo>
                    <a:cubicBezTo>
                      <a:pt x="273" y="11"/>
                      <a:pt x="273" y="11"/>
                      <a:pt x="273" y="11"/>
                    </a:cubicBezTo>
                    <a:cubicBezTo>
                      <a:pt x="273" y="5"/>
                      <a:pt x="268" y="0"/>
                      <a:pt x="263" y="0"/>
                    </a:cubicBezTo>
                    <a:cubicBezTo>
                      <a:pt x="11" y="0"/>
                      <a:pt x="11" y="0"/>
                      <a:pt x="11" y="0"/>
                    </a:cubicBezTo>
                    <a:cubicBezTo>
                      <a:pt x="5" y="0"/>
                      <a:pt x="0" y="5"/>
                      <a:pt x="0" y="11"/>
                    </a:cubicBezTo>
                    <a:cubicBezTo>
                      <a:pt x="0" y="175"/>
                      <a:pt x="0" y="175"/>
                      <a:pt x="0" y="175"/>
                    </a:cubicBezTo>
                    <a:cubicBezTo>
                      <a:pt x="0" y="177"/>
                      <a:pt x="1" y="180"/>
                      <a:pt x="3" y="182"/>
                    </a:cubicBezTo>
                    <a:cubicBezTo>
                      <a:pt x="270" y="182"/>
                      <a:pt x="270" y="182"/>
                      <a:pt x="270" y="182"/>
                    </a:cubicBezTo>
                    <a:cubicBezTo>
                      <a:pt x="272" y="180"/>
                      <a:pt x="273" y="177"/>
                      <a:pt x="273" y="175"/>
                    </a:cubicBezTo>
                    <a:close/>
                    <a:moveTo>
                      <a:pt x="263" y="170"/>
                    </a:moveTo>
                    <a:cubicBezTo>
                      <a:pt x="9" y="170"/>
                      <a:pt x="9" y="170"/>
                      <a:pt x="9" y="170"/>
                    </a:cubicBezTo>
                    <a:cubicBezTo>
                      <a:pt x="9" y="11"/>
                      <a:pt x="9" y="11"/>
                      <a:pt x="9" y="11"/>
                    </a:cubicBezTo>
                    <a:cubicBezTo>
                      <a:pt x="263" y="11"/>
                      <a:pt x="263" y="11"/>
                      <a:pt x="263" y="11"/>
                    </a:cubicBezTo>
                    <a:lnTo>
                      <a:pt x="263" y="170"/>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7" tIns="33603" rIns="67207" bIns="33603" numCol="1" anchor="t" anchorCtr="0" compatLnSpc="1">
                <a:prstTxWarp prst="textNoShape">
                  <a:avLst/>
                </a:prstTxWarp>
              </a:bodyPr>
              <a:lstStyle/>
              <a:p>
                <a:pPr defTabSz="896017" fontAlgn="auto">
                  <a:spcBef>
                    <a:spcPts val="0"/>
                  </a:spcBef>
                  <a:spcAft>
                    <a:spcPts val="0"/>
                  </a:spcAft>
                  <a:defRPr/>
                </a:pPr>
                <a:endParaRPr lang="en-US" sz="686">
                  <a:solidFill>
                    <a:prstClr val="black"/>
                  </a:solidFill>
                  <a:latin typeface="Arial"/>
                </a:endParaRPr>
              </a:p>
            </p:txBody>
          </p:sp>
          <p:sp>
            <p:nvSpPr>
              <p:cNvPr id="11" name="Freeform 7">
                <a:extLst>
                  <a:ext uri="{FF2B5EF4-FFF2-40B4-BE49-F238E27FC236}">
                    <a16:creationId xmlns:a16="http://schemas.microsoft.com/office/drawing/2014/main" id="{A8834EF6-7722-6F40-9222-6037210168F9}"/>
                  </a:ext>
                </a:extLst>
              </p:cNvPr>
              <p:cNvSpPr>
                <a:spLocks/>
              </p:cNvSpPr>
              <p:nvPr/>
            </p:nvSpPr>
            <p:spPr bwMode="auto">
              <a:xfrm>
                <a:off x="2843213" y="5144212"/>
                <a:ext cx="3467100" cy="63103"/>
              </a:xfrm>
              <a:custGeom>
                <a:avLst/>
                <a:gdLst>
                  <a:gd name="T0" fmla="*/ 2616 w 2912"/>
                  <a:gd name="T1" fmla="*/ 0 h 53"/>
                  <a:gd name="T2" fmla="*/ 288 w 2912"/>
                  <a:gd name="T3" fmla="*/ 0 h 53"/>
                  <a:gd name="T4" fmla="*/ 0 w 2912"/>
                  <a:gd name="T5" fmla="*/ 0 h 53"/>
                  <a:gd name="T6" fmla="*/ 0 w 2912"/>
                  <a:gd name="T7" fmla="*/ 53 h 53"/>
                  <a:gd name="T8" fmla="*/ 2912 w 2912"/>
                  <a:gd name="T9" fmla="*/ 53 h 53"/>
                  <a:gd name="T10" fmla="*/ 2912 w 2912"/>
                  <a:gd name="T11" fmla="*/ 0 h 53"/>
                  <a:gd name="T12" fmla="*/ 2616 w 2912"/>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2912" h="53">
                    <a:moveTo>
                      <a:pt x="2616" y="0"/>
                    </a:moveTo>
                    <a:lnTo>
                      <a:pt x="288" y="0"/>
                    </a:lnTo>
                    <a:lnTo>
                      <a:pt x="0" y="0"/>
                    </a:lnTo>
                    <a:lnTo>
                      <a:pt x="0" y="53"/>
                    </a:lnTo>
                    <a:lnTo>
                      <a:pt x="2912" y="53"/>
                    </a:lnTo>
                    <a:lnTo>
                      <a:pt x="2912" y="0"/>
                    </a:lnTo>
                    <a:lnTo>
                      <a:pt x="2616"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7" tIns="33603" rIns="67207" bIns="33603" numCol="1" anchor="t" anchorCtr="0" compatLnSpc="1">
                <a:prstTxWarp prst="textNoShape">
                  <a:avLst/>
                </a:prstTxWarp>
              </a:bodyPr>
              <a:lstStyle/>
              <a:p>
                <a:pPr defTabSz="896017" fontAlgn="auto">
                  <a:spcBef>
                    <a:spcPts val="0"/>
                  </a:spcBef>
                  <a:spcAft>
                    <a:spcPts val="0"/>
                  </a:spcAft>
                  <a:defRPr/>
                </a:pPr>
                <a:endParaRPr lang="en-US" sz="686">
                  <a:solidFill>
                    <a:prstClr val="black"/>
                  </a:solidFill>
                  <a:latin typeface="Arial"/>
                </a:endParaRPr>
              </a:p>
            </p:txBody>
          </p:sp>
          <p:sp>
            <p:nvSpPr>
              <p:cNvPr id="12" name="Freeform 9">
                <a:extLst>
                  <a:ext uri="{FF2B5EF4-FFF2-40B4-BE49-F238E27FC236}">
                    <a16:creationId xmlns:a16="http://schemas.microsoft.com/office/drawing/2014/main" id="{770F9D7C-BCA4-2E4D-ADE8-AA226723C40A}"/>
                  </a:ext>
                </a:extLst>
              </p:cNvPr>
              <p:cNvSpPr>
                <a:spLocks/>
              </p:cNvSpPr>
              <p:nvPr/>
            </p:nvSpPr>
            <p:spPr bwMode="auto">
              <a:xfrm>
                <a:off x="4327922" y="5144212"/>
                <a:ext cx="488156" cy="41672"/>
              </a:xfrm>
              <a:custGeom>
                <a:avLst/>
                <a:gdLst>
                  <a:gd name="T0" fmla="*/ 24 w 47"/>
                  <a:gd name="T1" fmla="*/ 0 h 4"/>
                  <a:gd name="T2" fmla="*/ 23 w 47"/>
                  <a:gd name="T3" fmla="*/ 0 h 4"/>
                  <a:gd name="T4" fmla="*/ 0 w 47"/>
                  <a:gd name="T5" fmla="*/ 0 h 4"/>
                  <a:gd name="T6" fmla="*/ 4 w 47"/>
                  <a:gd name="T7" fmla="*/ 4 h 4"/>
                  <a:gd name="T8" fmla="*/ 23 w 47"/>
                  <a:gd name="T9" fmla="*/ 4 h 4"/>
                  <a:gd name="T10" fmla="*/ 24 w 47"/>
                  <a:gd name="T11" fmla="*/ 4 h 4"/>
                  <a:gd name="T12" fmla="*/ 43 w 47"/>
                  <a:gd name="T13" fmla="*/ 4 h 4"/>
                  <a:gd name="T14" fmla="*/ 47 w 47"/>
                  <a:gd name="T15" fmla="*/ 0 h 4"/>
                  <a:gd name="T16" fmla="*/ 24 w 47"/>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4">
                    <a:moveTo>
                      <a:pt x="24" y="0"/>
                    </a:moveTo>
                    <a:cubicBezTo>
                      <a:pt x="23" y="0"/>
                      <a:pt x="23" y="0"/>
                      <a:pt x="23" y="0"/>
                    </a:cubicBezTo>
                    <a:cubicBezTo>
                      <a:pt x="0" y="0"/>
                      <a:pt x="0" y="0"/>
                      <a:pt x="0" y="0"/>
                    </a:cubicBezTo>
                    <a:cubicBezTo>
                      <a:pt x="0" y="0"/>
                      <a:pt x="1" y="4"/>
                      <a:pt x="4" y="4"/>
                    </a:cubicBezTo>
                    <a:cubicBezTo>
                      <a:pt x="7" y="4"/>
                      <a:pt x="20" y="4"/>
                      <a:pt x="23" y="4"/>
                    </a:cubicBezTo>
                    <a:cubicBezTo>
                      <a:pt x="23" y="4"/>
                      <a:pt x="24" y="4"/>
                      <a:pt x="24" y="4"/>
                    </a:cubicBezTo>
                    <a:cubicBezTo>
                      <a:pt x="27" y="4"/>
                      <a:pt x="39" y="4"/>
                      <a:pt x="43" y="4"/>
                    </a:cubicBezTo>
                    <a:cubicBezTo>
                      <a:pt x="46" y="4"/>
                      <a:pt x="47" y="0"/>
                      <a:pt x="47" y="0"/>
                    </a:cubicBezTo>
                    <a:lnTo>
                      <a:pt x="24" y="0"/>
                    </a:ln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7" tIns="33603" rIns="67207" bIns="33603" numCol="1" anchor="t" anchorCtr="0" compatLnSpc="1">
                <a:prstTxWarp prst="textNoShape">
                  <a:avLst/>
                </a:prstTxWarp>
              </a:bodyPr>
              <a:lstStyle/>
              <a:p>
                <a:pPr defTabSz="896017" fontAlgn="auto">
                  <a:spcBef>
                    <a:spcPts val="0"/>
                  </a:spcBef>
                  <a:spcAft>
                    <a:spcPts val="0"/>
                  </a:spcAft>
                  <a:defRPr/>
                </a:pPr>
                <a:endParaRPr lang="en-US" sz="686">
                  <a:solidFill>
                    <a:prstClr val="black"/>
                  </a:solidFill>
                  <a:latin typeface="Arial"/>
                </a:endParaRPr>
              </a:p>
            </p:txBody>
          </p:sp>
          <p:sp>
            <p:nvSpPr>
              <p:cNvPr id="13" name="Freeform 10">
                <a:extLst>
                  <a:ext uri="{FF2B5EF4-FFF2-40B4-BE49-F238E27FC236}">
                    <a16:creationId xmlns:a16="http://schemas.microsoft.com/office/drawing/2014/main" id="{A147EED4-1F9D-414F-A212-36FBD14EBFF9}"/>
                  </a:ext>
                </a:extLst>
              </p:cNvPr>
              <p:cNvSpPr>
                <a:spLocks/>
              </p:cNvSpPr>
              <p:nvPr/>
            </p:nvSpPr>
            <p:spPr bwMode="auto">
              <a:xfrm>
                <a:off x="2843213" y="5207315"/>
                <a:ext cx="3467100" cy="41672"/>
              </a:xfrm>
              <a:custGeom>
                <a:avLst/>
                <a:gdLst>
                  <a:gd name="T0" fmla="*/ 0 w 334"/>
                  <a:gd name="T1" fmla="*/ 0 h 4"/>
                  <a:gd name="T2" fmla="*/ 19 w 334"/>
                  <a:gd name="T3" fmla="*/ 4 h 4"/>
                  <a:gd name="T4" fmla="*/ 166 w 334"/>
                  <a:gd name="T5" fmla="*/ 4 h 4"/>
                  <a:gd name="T6" fmla="*/ 168 w 334"/>
                  <a:gd name="T7" fmla="*/ 4 h 4"/>
                  <a:gd name="T8" fmla="*/ 314 w 334"/>
                  <a:gd name="T9" fmla="*/ 4 h 4"/>
                  <a:gd name="T10" fmla="*/ 334 w 334"/>
                  <a:gd name="T11" fmla="*/ 0 h 4"/>
                </a:gdLst>
                <a:ahLst/>
                <a:cxnLst>
                  <a:cxn ang="0">
                    <a:pos x="T0" y="T1"/>
                  </a:cxn>
                  <a:cxn ang="0">
                    <a:pos x="T2" y="T3"/>
                  </a:cxn>
                  <a:cxn ang="0">
                    <a:pos x="T4" y="T5"/>
                  </a:cxn>
                  <a:cxn ang="0">
                    <a:pos x="T6" y="T7"/>
                  </a:cxn>
                  <a:cxn ang="0">
                    <a:pos x="T8" y="T9"/>
                  </a:cxn>
                  <a:cxn ang="0">
                    <a:pos x="T10" y="T11"/>
                  </a:cxn>
                </a:cxnLst>
                <a:rect l="0" t="0" r="r" b="b"/>
                <a:pathLst>
                  <a:path w="334" h="4">
                    <a:moveTo>
                      <a:pt x="0" y="0"/>
                    </a:moveTo>
                    <a:cubicBezTo>
                      <a:pt x="0" y="0"/>
                      <a:pt x="2" y="4"/>
                      <a:pt x="19" y="4"/>
                    </a:cubicBezTo>
                    <a:cubicBezTo>
                      <a:pt x="37" y="4"/>
                      <a:pt x="166" y="4"/>
                      <a:pt x="166" y="4"/>
                    </a:cubicBezTo>
                    <a:cubicBezTo>
                      <a:pt x="168" y="4"/>
                      <a:pt x="168" y="4"/>
                      <a:pt x="168" y="4"/>
                    </a:cubicBezTo>
                    <a:cubicBezTo>
                      <a:pt x="168" y="4"/>
                      <a:pt x="297" y="4"/>
                      <a:pt x="314" y="4"/>
                    </a:cubicBezTo>
                    <a:cubicBezTo>
                      <a:pt x="332" y="4"/>
                      <a:pt x="334" y="0"/>
                      <a:pt x="334" y="0"/>
                    </a:cubicBezTo>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7" tIns="33603" rIns="67207" bIns="33603" numCol="1" anchor="t" anchorCtr="0" compatLnSpc="1">
                <a:prstTxWarp prst="textNoShape">
                  <a:avLst/>
                </a:prstTxWarp>
              </a:bodyPr>
              <a:lstStyle/>
              <a:p>
                <a:pPr defTabSz="896017" fontAlgn="auto">
                  <a:spcBef>
                    <a:spcPts val="0"/>
                  </a:spcBef>
                  <a:spcAft>
                    <a:spcPts val="0"/>
                  </a:spcAft>
                  <a:defRPr/>
                </a:pPr>
                <a:endParaRPr lang="en-US" sz="686">
                  <a:solidFill>
                    <a:prstClr val="black"/>
                  </a:solidFill>
                  <a:latin typeface="Arial"/>
                </a:endParaRPr>
              </a:p>
            </p:txBody>
          </p:sp>
          <p:grpSp>
            <p:nvGrpSpPr>
              <p:cNvPr id="14" name="Group 13">
                <a:extLst>
                  <a:ext uri="{FF2B5EF4-FFF2-40B4-BE49-F238E27FC236}">
                    <a16:creationId xmlns:a16="http://schemas.microsoft.com/office/drawing/2014/main" id="{2B2DE1C2-1147-1244-96CB-46DFDF4001F2}"/>
                  </a:ext>
                </a:extLst>
              </p:cNvPr>
              <p:cNvGrpSpPr/>
              <p:nvPr/>
            </p:nvGrpSpPr>
            <p:grpSpPr>
              <a:xfrm>
                <a:off x="3274547" y="3264349"/>
                <a:ext cx="2563951" cy="1698238"/>
                <a:chOff x="3274547" y="3295171"/>
                <a:chExt cx="2563951" cy="1698238"/>
              </a:xfrm>
            </p:grpSpPr>
            <p:sp>
              <p:nvSpPr>
                <p:cNvPr id="17" name="Oval 16">
                  <a:extLst>
                    <a:ext uri="{FF2B5EF4-FFF2-40B4-BE49-F238E27FC236}">
                      <a16:creationId xmlns:a16="http://schemas.microsoft.com/office/drawing/2014/main" id="{52B50B98-AF9A-514A-9A5D-5027AC6AEBF2}"/>
                    </a:ext>
                  </a:extLst>
                </p:cNvPr>
                <p:cNvSpPr>
                  <a:spLocks noChangeArrowheads="1"/>
                </p:cNvSpPr>
                <p:nvPr/>
              </p:nvSpPr>
              <p:spPr bwMode="auto">
                <a:xfrm>
                  <a:off x="4556522" y="3295171"/>
                  <a:ext cx="30956" cy="20241"/>
                </a:xfrm>
                <a:prstGeom prst="ellipse">
                  <a:avLst/>
                </a:pr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7" tIns="33603" rIns="67207" bIns="33603" numCol="1" anchor="t" anchorCtr="0" compatLnSpc="1">
                  <a:prstTxWarp prst="textNoShape">
                    <a:avLst/>
                  </a:prstTxWarp>
                </a:bodyPr>
                <a:lstStyle/>
                <a:p>
                  <a:pPr defTabSz="896017" fontAlgn="auto">
                    <a:spcBef>
                      <a:spcPts val="0"/>
                    </a:spcBef>
                    <a:spcAft>
                      <a:spcPts val="0"/>
                    </a:spcAft>
                    <a:defRPr/>
                  </a:pPr>
                  <a:endParaRPr lang="en-US" sz="686">
                    <a:solidFill>
                      <a:prstClr val="black"/>
                    </a:solidFill>
                    <a:latin typeface="Arial"/>
                  </a:endParaRPr>
                </a:p>
              </p:txBody>
            </p:sp>
            <p:graphicFrame>
              <p:nvGraphicFramePr>
                <p:cNvPr id="18" name="Chart 17">
                  <a:extLst>
                    <a:ext uri="{FF2B5EF4-FFF2-40B4-BE49-F238E27FC236}">
                      <a16:creationId xmlns:a16="http://schemas.microsoft.com/office/drawing/2014/main" id="{F01635F5-80C9-3E4D-99B0-F953543DFBA1}"/>
                    </a:ext>
                  </a:extLst>
                </p:cNvPr>
                <p:cNvGraphicFramePr/>
                <p:nvPr/>
              </p:nvGraphicFramePr>
              <p:xfrm>
                <a:off x="3274547" y="3497009"/>
                <a:ext cx="2563951" cy="1496400"/>
              </p:xfrm>
              <a:graphic>
                <a:graphicData uri="http://schemas.openxmlformats.org/drawingml/2006/chart">
                  <c:chart xmlns:c="http://schemas.openxmlformats.org/drawingml/2006/chart" xmlns:r="http://schemas.openxmlformats.org/officeDocument/2006/relationships" r:id="rId2"/>
                </a:graphicData>
              </a:graphic>
            </p:graphicFrame>
            <p:sp>
              <p:nvSpPr>
                <p:cNvPr id="19" name="Rectangle 18">
                  <a:extLst>
                    <a:ext uri="{FF2B5EF4-FFF2-40B4-BE49-F238E27FC236}">
                      <a16:creationId xmlns:a16="http://schemas.microsoft.com/office/drawing/2014/main" id="{2E1AF290-45EF-4B45-85DA-C48CD46FAD12}"/>
                    </a:ext>
                  </a:extLst>
                </p:cNvPr>
                <p:cNvSpPr/>
                <p:nvPr/>
              </p:nvSpPr>
              <p:spPr>
                <a:xfrm>
                  <a:off x="3274547" y="3916275"/>
                  <a:ext cx="1647554" cy="48068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017" fontAlgn="auto">
                    <a:spcBef>
                      <a:spcPts val="0"/>
                    </a:spcBef>
                    <a:spcAft>
                      <a:spcPts val="0"/>
                    </a:spcAft>
                    <a:defRPr/>
                  </a:pPr>
                  <a:endParaRPr lang="en-GB" sz="392" dirty="0" err="1">
                    <a:solidFill>
                      <a:prstClr val="black"/>
                    </a:solidFill>
                    <a:latin typeface="Arial"/>
                  </a:endParaRPr>
                </a:p>
              </p:txBody>
            </p:sp>
            <p:sp>
              <p:nvSpPr>
                <p:cNvPr id="20" name="TextBox 19">
                  <a:extLst>
                    <a:ext uri="{FF2B5EF4-FFF2-40B4-BE49-F238E27FC236}">
                      <a16:creationId xmlns:a16="http://schemas.microsoft.com/office/drawing/2014/main" id="{A06B0B94-A419-C447-9882-1C54E0B5172F}"/>
                    </a:ext>
                  </a:extLst>
                </p:cNvPr>
                <p:cNvSpPr txBox="1"/>
                <p:nvPr/>
              </p:nvSpPr>
              <p:spPr>
                <a:xfrm>
                  <a:off x="4119145" y="3542485"/>
                  <a:ext cx="684850" cy="107137"/>
                </a:xfrm>
                <a:prstGeom prst="rect">
                  <a:avLst/>
                </a:prstGeom>
                <a:noFill/>
              </p:spPr>
              <p:txBody>
                <a:bodyPr wrap="square" rtlCol="0">
                  <a:spAutoFit/>
                </a:bodyPr>
                <a:lstStyle/>
                <a:p>
                  <a:pPr defTabSz="896017" fontAlgn="auto">
                    <a:spcBef>
                      <a:spcPts val="0"/>
                    </a:spcBef>
                    <a:spcAft>
                      <a:spcPts val="0"/>
                    </a:spcAft>
                    <a:defRPr/>
                  </a:pPr>
                  <a:r>
                    <a:rPr lang="en-GB" sz="100" b="1" dirty="0">
                      <a:solidFill>
                        <a:prstClr val="white"/>
                      </a:solidFill>
                      <a:latin typeface="Arial"/>
                    </a:rPr>
                    <a:t>Online training</a:t>
                  </a:r>
                </a:p>
              </p:txBody>
            </p:sp>
            <p:sp>
              <p:nvSpPr>
                <p:cNvPr id="21" name="TextBox 20">
                  <a:extLst>
                    <a:ext uri="{FF2B5EF4-FFF2-40B4-BE49-F238E27FC236}">
                      <a16:creationId xmlns:a16="http://schemas.microsoft.com/office/drawing/2014/main" id="{0D2E4F7F-4385-474C-81D2-824F33A39655}"/>
                    </a:ext>
                  </a:extLst>
                </p:cNvPr>
                <p:cNvSpPr txBox="1"/>
                <p:nvPr/>
              </p:nvSpPr>
              <p:spPr>
                <a:xfrm>
                  <a:off x="4844571" y="3542485"/>
                  <a:ext cx="449193" cy="107137"/>
                </a:xfrm>
                <a:prstGeom prst="rect">
                  <a:avLst/>
                </a:prstGeom>
                <a:noFill/>
              </p:spPr>
              <p:txBody>
                <a:bodyPr wrap="square" rtlCol="0">
                  <a:spAutoFit/>
                </a:bodyPr>
                <a:lstStyle/>
                <a:p>
                  <a:pPr defTabSz="896017" fontAlgn="auto">
                    <a:spcBef>
                      <a:spcPts val="0"/>
                    </a:spcBef>
                    <a:spcAft>
                      <a:spcPts val="0"/>
                    </a:spcAft>
                    <a:defRPr/>
                  </a:pPr>
                  <a:r>
                    <a:rPr lang="en-GB" sz="100" b="1" dirty="0">
                      <a:solidFill>
                        <a:prstClr val="white"/>
                      </a:solidFill>
                      <a:latin typeface="Arial"/>
                    </a:rPr>
                    <a:t>Forum</a:t>
                  </a:r>
                </a:p>
              </p:txBody>
            </p:sp>
            <p:sp>
              <p:nvSpPr>
                <p:cNvPr id="22" name="TextBox 21">
                  <a:extLst>
                    <a:ext uri="{FF2B5EF4-FFF2-40B4-BE49-F238E27FC236}">
                      <a16:creationId xmlns:a16="http://schemas.microsoft.com/office/drawing/2014/main" id="{DBBE6B67-2FDA-464B-B47E-6B5CB4EEF78D}"/>
                    </a:ext>
                  </a:extLst>
                </p:cNvPr>
                <p:cNvSpPr txBox="1"/>
                <p:nvPr/>
              </p:nvSpPr>
              <p:spPr>
                <a:xfrm>
                  <a:off x="4612421" y="3542485"/>
                  <a:ext cx="353695" cy="107137"/>
                </a:xfrm>
                <a:prstGeom prst="rect">
                  <a:avLst/>
                </a:prstGeom>
                <a:noFill/>
              </p:spPr>
              <p:txBody>
                <a:bodyPr wrap="square" rtlCol="0">
                  <a:spAutoFit/>
                </a:bodyPr>
                <a:lstStyle/>
                <a:p>
                  <a:pPr defTabSz="896017" fontAlgn="auto">
                    <a:spcBef>
                      <a:spcPts val="0"/>
                    </a:spcBef>
                    <a:spcAft>
                      <a:spcPts val="0"/>
                    </a:spcAft>
                    <a:defRPr/>
                  </a:pPr>
                  <a:r>
                    <a:rPr lang="en-GB" sz="100" b="1" dirty="0">
                      <a:solidFill>
                        <a:prstClr val="white"/>
                      </a:solidFill>
                      <a:latin typeface="Arial"/>
                    </a:rPr>
                    <a:t>Blog</a:t>
                  </a:r>
                </a:p>
              </p:txBody>
            </p:sp>
          </p:grpSp>
        </p:grpSp>
        <p:sp>
          <p:nvSpPr>
            <p:cNvPr id="8" name="Rectangle 7">
              <a:extLst>
                <a:ext uri="{FF2B5EF4-FFF2-40B4-BE49-F238E27FC236}">
                  <a16:creationId xmlns:a16="http://schemas.microsoft.com/office/drawing/2014/main" id="{7EFE8A68-9D58-414D-BC02-D23286DA2285}"/>
                </a:ext>
              </a:extLst>
            </p:cNvPr>
            <p:cNvSpPr/>
            <p:nvPr/>
          </p:nvSpPr>
          <p:spPr>
            <a:xfrm>
              <a:off x="5744463" y="5796120"/>
              <a:ext cx="243964" cy="23267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endParaRPr lang="en-US" sz="1568" dirty="0" err="1">
                <a:solidFill>
                  <a:prstClr val="black"/>
                </a:solidFill>
                <a:latin typeface="Calibri" panose="020F0502020204030204"/>
              </a:endParaRPr>
            </a:p>
          </p:txBody>
        </p:sp>
        <p:sp>
          <p:nvSpPr>
            <p:cNvPr id="9" name="Rectangle 8">
              <a:extLst>
                <a:ext uri="{FF2B5EF4-FFF2-40B4-BE49-F238E27FC236}">
                  <a16:creationId xmlns:a16="http://schemas.microsoft.com/office/drawing/2014/main" id="{B6B530D1-6DE6-F444-92EF-78080F231A13}"/>
                </a:ext>
              </a:extLst>
            </p:cNvPr>
            <p:cNvSpPr/>
            <p:nvPr/>
          </p:nvSpPr>
          <p:spPr>
            <a:xfrm>
              <a:off x="5387926" y="5916414"/>
              <a:ext cx="243964" cy="23267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endParaRPr lang="en-US" sz="1568" dirty="0" err="1">
                <a:solidFill>
                  <a:prstClr val="black"/>
                </a:solidFill>
                <a:latin typeface="Calibri" panose="020F0502020204030204"/>
              </a:endParaRPr>
            </a:p>
          </p:txBody>
        </p:sp>
      </p:grpSp>
      <p:pic>
        <p:nvPicPr>
          <p:cNvPr id="23" name="Picture 22">
            <a:extLst>
              <a:ext uri="{FF2B5EF4-FFF2-40B4-BE49-F238E27FC236}">
                <a16:creationId xmlns:a16="http://schemas.microsoft.com/office/drawing/2014/main" id="{49C66000-0B78-0D42-945B-2CF4DAC261AF}"/>
              </a:ext>
            </a:extLst>
          </p:cNvPr>
          <p:cNvPicPr>
            <a:picLocks noChangeAspect="1"/>
          </p:cNvPicPr>
          <p:nvPr/>
        </p:nvPicPr>
        <p:blipFill>
          <a:blip r:embed="rId3"/>
          <a:stretch>
            <a:fillRect/>
          </a:stretch>
        </p:blipFill>
        <p:spPr>
          <a:xfrm>
            <a:off x="5505824" y="4237403"/>
            <a:ext cx="2456831" cy="1688528"/>
          </a:xfrm>
          <a:prstGeom prst="rect">
            <a:avLst/>
          </a:prstGeom>
        </p:spPr>
      </p:pic>
      <p:sp>
        <p:nvSpPr>
          <p:cNvPr id="27" name="Text Placeholder 5">
            <a:extLst>
              <a:ext uri="{FF2B5EF4-FFF2-40B4-BE49-F238E27FC236}">
                <a16:creationId xmlns:a16="http://schemas.microsoft.com/office/drawing/2014/main" id="{0F36305B-62A8-6049-A3FA-A09B7B7B61C3}"/>
              </a:ext>
            </a:extLst>
          </p:cNvPr>
          <p:cNvSpPr txBox="1">
            <a:spLocks/>
          </p:cNvSpPr>
          <p:nvPr/>
        </p:nvSpPr>
        <p:spPr>
          <a:xfrm>
            <a:off x="461524" y="1620170"/>
            <a:ext cx="4006487" cy="4758354"/>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672067" fontAlgn="auto">
              <a:lnSpc>
                <a:spcPct val="100000"/>
              </a:lnSpc>
              <a:spcBef>
                <a:spcPts val="588"/>
              </a:spcBef>
              <a:spcAft>
                <a:spcPts val="196"/>
              </a:spcAft>
            </a:pPr>
            <a:r>
              <a:rPr lang="en-US" sz="1470" b="1" dirty="0">
                <a:solidFill>
                  <a:srgbClr val="D8D8D8">
                    <a:lumMod val="10000"/>
                  </a:srgbClr>
                </a:solidFill>
              </a:rPr>
              <a:t>Ce que vous trouverez sur le ‘Hub’:</a:t>
            </a:r>
          </a:p>
          <a:p>
            <a:pPr defTabSz="672067" fontAlgn="auto">
              <a:lnSpc>
                <a:spcPct val="100000"/>
              </a:lnSpc>
              <a:spcBef>
                <a:spcPts val="588"/>
              </a:spcBef>
              <a:spcAft>
                <a:spcPts val="196"/>
              </a:spcAft>
            </a:pPr>
            <a:r>
              <a:rPr lang="en-US" sz="1470" b="1" dirty="0">
                <a:solidFill>
                  <a:schemeClr val="accent5">
                    <a:lumMod val="50000"/>
                    <a:lumOff val="50000"/>
                  </a:schemeClr>
                </a:solidFill>
                <a:hlinkClick r:id="rId4">
                  <a:extLst>
                    <a:ext uri="{A12FA001-AC4F-418D-AE19-62706E023703}">
                      <ahyp:hlinkClr xmlns:ahyp="http://schemas.microsoft.com/office/drawing/2018/hyperlinkcolor" val="tx"/>
                    </a:ext>
                  </a:extLst>
                </a:hlinkClick>
              </a:rPr>
              <a:t>www.scorecardhub.org/fr</a:t>
            </a:r>
            <a:endParaRPr lang="en-US" sz="1470" b="1" dirty="0">
              <a:solidFill>
                <a:schemeClr val="accent5">
                  <a:lumMod val="50000"/>
                  <a:lumOff val="50000"/>
                </a:schemeClr>
              </a:solidFill>
            </a:endParaRPr>
          </a:p>
          <a:p>
            <a:pPr defTabSz="672067" fontAlgn="auto">
              <a:lnSpc>
                <a:spcPct val="100000"/>
              </a:lnSpc>
              <a:spcBef>
                <a:spcPts val="588"/>
              </a:spcBef>
              <a:spcAft>
                <a:spcPts val="196"/>
              </a:spcAft>
            </a:pPr>
            <a:endParaRPr lang="en-US" sz="294" dirty="0">
              <a:solidFill>
                <a:srgbClr val="D8D8D8">
                  <a:lumMod val="10000"/>
                </a:srgbClr>
              </a:solidFill>
            </a:endParaRPr>
          </a:p>
          <a:p>
            <a:pPr marL="280035" indent="-280035" defTabSz="672067" fontAlgn="auto">
              <a:lnSpc>
                <a:spcPct val="100000"/>
              </a:lnSpc>
              <a:spcBef>
                <a:spcPts val="196"/>
              </a:spcBef>
              <a:spcAft>
                <a:spcPts val="392"/>
              </a:spcAft>
              <a:buFont typeface="Arial" panose="020B0604020202020204" pitchFamily="34" charset="0"/>
              <a:buChar char="•"/>
            </a:pPr>
            <a:r>
              <a:rPr lang="en-US" sz="1470" b="1" dirty="0">
                <a:solidFill>
                  <a:srgbClr val="D8D8D8">
                    <a:lumMod val="10000"/>
                  </a:srgbClr>
                </a:solidFill>
              </a:rPr>
              <a:t>Un </a:t>
            </a:r>
            <a:r>
              <a:rPr lang="en-US" sz="1470" b="1" dirty="0" err="1">
                <a:solidFill>
                  <a:srgbClr val="D8D8D8">
                    <a:lumMod val="10000"/>
                  </a:srgbClr>
                </a:solidFill>
              </a:rPr>
              <a:t>répertoire</a:t>
            </a:r>
            <a:r>
              <a:rPr lang="en-US" sz="1470" b="1" dirty="0">
                <a:solidFill>
                  <a:srgbClr val="D8D8D8">
                    <a:lumMod val="10000"/>
                  </a:srgbClr>
                </a:solidFill>
              </a:rPr>
              <a:t> public des </a:t>
            </a:r>
            <a:r>
              <a:rPr lang="en-US" sz="1470" b="1" dirty="0" err="1">
                <a:solidFill>
                  <a:srgbClr val="D8D8D8">
                    <a:lumMod val="10000"/>
                  </a:srgbClr>
                </a:solidFill>
              </a:rPr>
              <a:t>cartes</a:t>
            </a:r>
            <a:r>
              <a:rPr lang="en-US" sz="1470" b="1" dirty="0">
                <a:solidFill>
                  <a:srgbClr val="D8D8D8">
                    <a:lumMod val="10000"/>
                  </a:srgbClr>
                </a:solidFill>
              </a:rPr>
              <a:t> des scores </a:t>
            </a:r>
            <a:r>
              <a:rPr lang="en-US" sz="1470" dirty="0" err="1">
                <a:solidFill>
                  <a:srgbClr val="D8D8D8">
                    <a:lumMod val="10000"/>
                  </a:srgbClr>
                </a:solidFill>
              </a:rPr>
              <a:t>partagées</a:t>
            </a:r>
            <a:r>
              <a:rPr lang="en-US" sz="1470" dirty="0">
                <a:solidFill>
                  <a:srgbClr val="D8D8D8">
                    <a:lumMod val="10000"/>
                  </a:srgbClr>
                </a:solidFill>
              </a:rPr>
              <a:t> par les pays </a:t>
            </a:r>
            <a:r>
              <a:rPr lang="en-US" sz="1470" dirty="0" err="1">
                <a:solidFill>
                  <a:srgbClr val="D8D8D8">
                    <a:lumMod val="10000"/>
                  </a:srgbClr>
                </a:solidFill>
              </a:rPr>
              <a:t>africains</a:t>
            </a:r>
            <a:r>
              <a:rPr lang="en-US" sz="1470" b="1" dirty="0">
                <a:solidFill>
                  <a:srgbClr val="D8D8D8">
                    <a:lumMod val="10000"/>
                  </a:srgbClr>
                </a:solidFill>
              </a:rPr>
              <a:t>
Des </a:t>
            </a:r>
            <a:r>
              <a:rPr lang="en-US" sz="1470" b="1" dirty="0" err="1">
                <a:solidFill>
                  <a:srgbClr val="D8D8D8">
                    <a:lumMod val="10000"/>
                  </a:srgbClr>
                </a:solidFill>
              </a:rPr>
              <a:t>bonnes</a:t>
            </a:r>
            <a:r>
              <a:rPr lang="en-US" sz="1470" b="1" dirty="0">
                <a:solidFill>
                  <a:srgbClr val="D8D8D8">
                    <a:lumMod val="10000"/>
                  </a:srgbClr>
                </a:solidFill>
              </a:rPr>
              <a:t> pratiques </a:t>
            </a:r>
            <a:r>
              <a:rPr lang="en-US" sz="1470" dirty="0">
                <a:solidFill>
                  <a:srgbClr val="D8D8D8">
                    <a:lumMod val="10000"/>
                  </a:srgbClr>
                </a:solidFill>
              </a:rPr>
              <a:t>des pays sur </a:t>
            </a:r>
            <a:r>
              <a:rPr lang="en-US" sz="1470" dirty="0" err="1">
                <a:solidFill>
                  <a:srgbClr val="D8D8D8">
                    <a:lumMod val="10000"/>
                  </a:srgbClr>
                </a:solidFill>
              </a:rPr>
              <a:t>l’utilisation</a:t>
            </a:r>
            <a:r>
              <a:rPr lang="en-US" sz="1470" dirty="0">
                <a:solidFill>
                  <a:srgbClr val="D8D8D8">
                    <a:lumMod val="10000"/>
                  </a:srgbClr>
                </a:solidFill>
              </a:rPr>
              <a:t> des </a:t>
            </a:r>
            <a:r>
              <a:rPr lang="en-US" sz="1470" dirty="0" err="1">
                <a:solidFill>
                  <a:srgbClr val="D8D8D8">
                    <a:lumMod val="10000"/>
                  </a:srgbClr>
                </a:solidFill>
              </a:rPr>
              <a:t>cartes</a:t>
            </a:r>
            <a:r>
              <a:rPr lang="en-US" sz="1470" dirty="0">
                <a:solidFill>
                  <a:srgbClr val="D8D8D8">
                    <a:lumMod val="10000"/>
                  </a:srgbClr>
                </a:solidFill>
              </a:rPr>
              <a:t> de score pour </a:t>
            </a:r>
            <a:r>
              <a:rPr lang="en-US" sz="1470" dirty="0" err="1">
                <a:solidFill>
                  <a:srgbClr val="D8D8D8">
                    <a:lumMod val="10000"/>
                  </a:srgbClr>
                </a:solidFill>
              </a:rPr>
              <a:t>améliorer</a:t>
            </a:r>
            <a:r>
              <a:rPr lang="en-US" sz="1470" dirty="0">
                <a:solidFill>
                  <a:srgbClr val="D8D8D8">
                    <a:lumMod val="10000"/>
                  </a:srgbClr>
                </a:solidFill>
              </a:rPr>
              <a:t> les </a:t>
            </a:r>
            <a:r>
              <a:rPr lang="en-US" sz="1470" dirty="0" err="1">
                <a:solidFill>
                  <a:srgbClr val="D8D8D8">
                    <a:lumMod val="10000"/>
                  </a:srgbClr>
                </a:solidFill>
              </a:rPr>
              <a:t>indicateurs</a:t>
            </a:r>
            <a:r>
              <a:rPr lang="en-US" sz="1470" dirty="0">
                <a:solidFill>
                  <a:srgbClr val="D8D8D8">
                    <a:lumMod val="10000"/>
                  </a:srgbClr>
                </a:solidFill>
              </a:rPr>
              <a:t> et mobiliser des resources </a:t>
            </a:r>
            <a:r>
              <a:rPr lang="en-US" sz="1470" b="1" dirty="0">
                <a:solidFill>
                  <a:srgbClr val="D8D8D8">
                    <a:lumMod val="10000"/>
                  </a:srgbClr>
                </a:solidFill>
              </a:rPr>
              <a:t>
Guides et </a:t>
            </a:r>
            <a:r>
              <a:rPr lang="en-US" sz="1470" b="1" dirty="0" err="1">
                <a:solidFill>
                  <a:srgbClr val="D8D8D8">
                    <a:lumMod val="10000"/>
                  </a:srgbClr>
                </a:solidFill>
              </a:rPr>
              <a:t>boites</a:t>
            </a:r>
            <a:r>
              <a:rPr lang="en-US" sz="1470" b="1" dirty="0">
                <a:solidFill>
                  <a:srgbClr val="D8D8D8">
                    <a:lumMod val="10000"/>
                  </a:srgbClr>
                </a:solidFill>
              </a:rPr>
              <a:t> </a:t>
            </a:r>
            <a:r>
              <a:rPr lang="en-US" sz="1470" b="1" dirty="0" err="1">
                <a:solidFill>
                  <a:srgbClr val="D8D8D8">
                    <a:lumMod val="10000"/>
                  </a:srgbClr>
                </a:solidFill>
              </a:rPr>
              <a:t>à</a:t>
            </a:r>
            <a:r>
              <a:rPr lang="en-US" sz="1470" b="1" dirty="0">
                <a:solidFill>
                  <a:srgbClr val="D8D8D8">
                    <a:lumMod val="10000"/>
                  </a:srgbClr>
                </a:solidFill>
              </a:rPr>
              <a:t> </a:t>
            </a:r>
            <a:r>
              <a:rPr lang="en-US" sz="1470" b="1" dirty="0" err="1">
                <a:solidFill>
                  <a:srgbClr val="D8D8D8">
                    <a:lumMod val="10000"/>
                  </a:srgbClr>
                </a:solidFill>
              </a:rPr>
              <a:t>outils</a:t>
            </a:r>
            <a:r>
              <a:rPr lang="en-US" sz="1470" b="1" dirty="0">
                <a:solidFill>
                  <a:srgbClr val="D8D8D8">
                    <a:lumMod val="10000"/>
                  </a:srgbClr>
                </a:solidFill>
              </a:rPr>
              <a:t> </a:t>
            </a:r>
            <a:r>
              <a:rPr lang="en-US" sz="1470" dirty="0">
                <a:solidFill>
                  <a:srgbClr val="D8D8D8">
                    <a:lumMod val="10000"/>
                  </a:srgbClr>
                </a:solidFill>
              </a:rPr>
              <a:t>pour aider les pays </a:t>
            </a:r>
            <a:r>
              <a:rPr lang="en-US" sz="1470" dirty="0" err="1">
                <a:solidFill>
                  <a:srgbClr val="D8D8D8">
                    <a:lumMod val="10000"/>
                  </a:srgbClr>
                </a:solidFill>
              </a:rPr>
              <a:t>à</a:t>
            </a:r>
            <a:r>
              <a:rPr lang="en-US" sz="1470" dirty="0">
                <a:solidFill>
                  <a:srgbClr val="D8D8D8">
                    <a:lumMod val="10000"/>
                  </a:srgbClr>
                </a:solidFill>
              </a:rPr>
              <a:t> </a:t>
            </a:r>
            <a:r>
              <a:rPr lang="en-US" sz="1470" dirty="0" err="1">
                <a:solidFill>
                  <a:srgbClr val="D8D8D8">
                    <a:lumMod val="10000"/>
                  </a:srgbClr>
                </a:solidFill>
              </a:rPr>
              <a:t>créer</a:t>
            </a:r>
            <a:r>
              <a:rPr lang="en-US" sz="1470" dirty="0">
                <a:solidFill>
                  <a:srgbClr val="D8D8D8">
                    <a:lumMod val="10000"/>
                  </a:srgbClr>
                </a:solidFill>
              </a:rPr>
              <a:t>, </a:t>
            </a:r>
            <a:r>
              <a:rPr lang="en-US" sz="1470" dirty="0" err="1">
                <a:solidFill>
                  <a:srgbClr val="D8D8D8">
                    <a:lumMod val="10000"/>
                  </a:srgbClr>
                </a:solidFill>
              </a:rPr>
              <a:t>analyser</a:t>
            </a:r>
            <a:r>
              <a:rPr lang="en-US" sz="1470" dirty="0">
                <a:solidFill>
                  <a:srgbClr val="D8D8D8">
                    <a:lumMod val="10000"/>
                  </a:srgbClr>
                </a:solidFill>
              </a:rPr>
              <a:t> et </a:t>
            </a:r>
            <a:r>
              <a:rPr lang="en-US" sz="1470" dirty="0" err="1">
                <a:solidFill>
                  <a:srgbClr val="D8D8D8">
                    <a:lumMod val="10000"/>
                  </a:srgbClr>
                </a:solidFill>
              </a:rPr>
              <a:t>améliorer</a:t>
            </a:r>
            <a:r>
              <a:rPr lang="en-US" sz="1470" dirty="0">
                <a:solidFill>
                  <a:srgbClr val="D8D8D8">
                    <a:lumMod val="10000"/>
                  </a:srgbClr>
                </a:solidFill>
              </a:rPr>
              <a:t> les </a:t>
            </a:r>
            <a:r>
              <a:rPr lang="en-US" sz="1470" dirty="0" err="1">
                <a:solidFill>
                  <a:srgbClr val="D8D8D8">
                    <a:lumMod val="10000"/>
                  </a:srgbClr>
                </a:solidFill>
              </a:rPr>
              <a:t>cartes</a:t>
            </a:r>
            <a:r>
              <a:rPr lang="en-US" sz="1470" dirty="0">
                <a:solidFill>
                  <a:srgbClr val="D8D8D8">
                    <a:lumMod val="10000"/>
                  </a:srgbClr>
                </a:solidFill>
              </a:rPr>
              <a:t> de score</a:t>
            </a:r>
            <a:r>
              <a:rPr lang="en-US" sz="1470" b="1" dirty="0">
                <a:solidFill>
                  <a:srgbClr val="D8D8D8">
                    <a:lumMod val="10000"/>
                  </a:srgbClr>
                </a:solidFill>
              </a:rPr>
              <a:t>
</a:t>
            </a:r>
            <a:r>
              <a:rPr lang="en-US" sz="1470" b="1" dirty="0" err="1">
                <a:solidFill>
                  <a:srgbClr val="D8D8D8">
                    <a:lumMod val="10000"/>
                  </a:srgbClr>
                </a:solidFill>
              </a:rPr>
              <a:t>Cours</a:t>
            </a:r>
            <a:r>
              <a:rPr lang="en-US" sz="1470" b="1" dirty="0">
                <a:solidFill>
                  <a:srgbClr val="D8D8D8">
                    <a:lumMod val="10000"/>
                  </a:srgbClr>
                </a:solidFill>
              </a:rPr>
              <a:t> et Formations </a:t>
            </a:r>
            <a:r>
              <a:rPr lang="en-US" sz="1470" b="1" dirty="0" err="1">
                <a:solidFill>
                  <a:srgbClr val="D8D8D8">
                    <a:lumMod val="10000"/>
                  </a:srgbClr>
                </a:solidFill>
              </a:rPr>
              <a:t>en</a:t>
            </a:r>
            <a:r>
              <a:rPr lang="en-US" sz="1470" b="1" dirty="0">
                <a:solidFill>
                  <a:srgbClr val="D8D8D8">
                    <a:lumMod val="10000"/>
                  </a:srgbClr>
                </a:solidFill>
              </a:rPr>
              <a:t> </a:t>
            </a:r>
            <a:r>
              <a:rPr lang="en-US" sz="1470" b="1" dirty="0" err="1">
                <a:solidFill>
                  <a:srgbClr val="D8D8D8">
                    <a:lumMod val="10000"/>
                  </a:srgbClr>
                </a:solidFill>
              </a:rPr>
              <a:t>ligne</a:t>
            </a:r>
            <a:r>
              <a:rPr lang="en-US" sz="1470" b="1" dirty="0">
                <a:solidFill>
                  <a:srgbClr val="D8D8D8">
                    <a:lumMod val="10000"/>
                  </a:srgbClr>
                </a:solidFill>
              </a:rPr>
              <a:t> </a:t>
            </a:r>
            <a:r>
              <a:rPr lang="en-US" sz="1470" dirty="0">
                <a:solidFill>
                  <a:srgbClr val="D8D8D8">
                    <a:lumMod val="10000"/>
                  </a:srgbClr>
                </a:solidFill>
              </a:rPr>
              <a:t>pour le staff des </a:t>
            </a:r>
            <a:r>
              <a:rPr lang="en-US" sz="1470" dirty="0" err="1">
                <a:solidFill>
                  <a:srgbClr val="D8D8D8">
                    <a:lumMod val="10000"/>
                  </a:srgbClr>
                </a:solidFill>
              </a:rPr>
              <a:t>ministères</a:t>
            </a:r>
            <a:r>
              <a:rPr lang="en-US" sz="1470" dirty="0">
                <a:solidFill>
                  <a:srgbClr val="D8D8D8">
                    <a:lumMod val="10000"/>
                  </a:srgbClr>
                </a:solidFill>
              </a:rPr>
              <a:t> de la </a:t>
            </a:r>
            <a:r>
              <a:rPr lang="en-US" sz="1470" dirty="0" err="1">
                <a:solidFill>
                  <a:srgbClr val="D8D8D8">
                    <a:lumMod val="10000"/>
                  </a:srgbClr>
                </a:solidFill>
              </a:rPr>
              <a:t>Santé</a:t>
            </a:r>
            <a:r>
              <a:rPr lang="en-US" sz="1470" dirty="0">
                <a:solidFill>
                  <a:srgbClr val="D8D8D8">
                    <a:lumMod val="10000"/>
                  </a:srgbClr>
                </a:solidFill>
              </a:rPr>
              <a:t> et </a:t>
            </a:r>
            <a:r>
              <a:rPr lang="en-US" sz="1470" dirty="0" err="1">
                <a:solidFill>
                  <a:srgbClr val="D8D8D8">
                    <a:lumMod val="10000"/>
                  </a:srgbClr>
                </a:solidFill>
              </a:rPr>
              <a:t>partenaires</a:t>
            </a:r>
            <a:r>
              <a:rPr lang="en-US" sz="1470" b="1" dirty="0">
                <a:solidFill>
                  <a:srgbClr val="D8D8D8">
                    <a:lumMod val="10000"/>
                  </a:srgbClr>
                </a:solidFill>
              </a:rPr>
              <a:t>
</a:t>
            </a:r>
            <a:r>
              <a:rPr lang="en-US" sz="1470" b="1" dirty="0" err="1">
                <a:solidFill>
                  <a:srgbClr val="D8D8D8">
                    <a:lumMod val="10000"/>
                  </a:srgbClr>
                </a:solidFill>
              </a:rPr>
              <a:t>Événements</a:t>
            </a:r>
            <a:r>
              <a:rPr lang="en-US" sz="1470" b="1" dirty="0">
                <a:solidFill>
                  <a:srgbClr val="D8D8D8">
                    <a:lumMod val="10000"/>
                  </a:srgbClr>
                </a:solidFill>
              </a:rPr>
              <a:t> et </a:t>
            </a:r>
            <a:r>
              <a:rPr lang="en-US" sz="1470" b="1" dirty="0" err="1">
                <a:solidFill>
                  <a:srgbClr val="D8D8D8">
                    <a:lumMod val="10000"/>
                  </a:srgbClr>
                </a:solidFill>
              </a:rPr>
              <a:t>webinaires</a:t>
            </a:r>
            <a:r>
              <a:rPr lang="en-US" sz="1470" b="1" dirty="0">
                <a:solidFill>
                  <a:srgbClr val="D8D8D8">
                    <a:lumMod val="10000"/>
                  </a:srgbClr>
                </a:solidFill>
              </a:rPr>
              <a:t> </a:t>
            </a:r>
            <a:r>
              <a:rPr lang="en-US" sz="1470" dirty="0">
                <a:solidFill>
                  <a:srgbClr val="D8D8D8">
                    <a:lumMod val="10000"/>
                  </a:srgbClr>
                </a:solidFill>
              </a:rPr>
              <a:t>pour encourager les </a:t>
            </a:r>
            <a:r>
              <a:rPr lang="en-US" sz="1470" dirty="0" err="1">
                <a:solidFill>
                  <a:srgbClr val="D8D8D8">
                    <a:lumMod val="10000"/>
                  </a:srgbClr>
                </a:solidFill>
              </a:rPr>
              <a:t>utilisateurs</a:t>
            </a:r>
            <a:r>
              <a:rPr lang="en-US" sz="1470" dirty="0">
                <a:solidFill>
                  <a:srgbClr val="D8D8D8">
                    <a:lumMod val="10000"/>
                  </a:srgbClr>
                </a:solidFill>
              </a:rPr>
              <a:t> </a:t>
            </a:r>
            <a:r>
              <a:rPr lang="en-US" sz="1470" dirty="0" err="1">
                <a:solidFill>
                  <a:srgbClr val="D8D8D8">
                    <a:lumMod val="10000"/>
                  </a:srgbClr>
                </a:solidFill>
              </a:rPr>
              <a:t>à</a:t>
            </a:r>
            <a:r>
              <a:rPr lang="en-US" sz="1470" dirty="0">
                <a:solidFill>
                  <a:srgbClr val="D8D8D8">
                    <a:lumMod val="10000"/>
                  </a:srgbClr>
                </a:solidFill>
              </a:rPr>
              <a:t> </a:t>
            </a:r>
            <a:r>
              <a:rPr lang="en-US" sz="1470" dirty="0" err="1">
                <a:solidFill>
                  <a:srgbClr val="D8D8D8">
                    <a:lumMod val="10000"/>
                  </a:srgbClr>
                </a:solidFill>
              </a:rPr>
              <a:t>partager</a:t>
            </a:r>
            <a:r>
              <a:rPr lang="en-US" sz="1470" dirty="0">
                <a:solidFill>
                  <a:srgbClr val="D8D8D8">
                    <a:lumMod val="10000"/>
                  </a:srgbClr>
                </a:solidFill>
              </a:rPr>
              <a:t> </a:t>
            </a:r>
            <a:r>
              <a:rPr lang="en-US" sz="1470" dirty="0" err="1">
                <a:solidFill>
                  <a:srgbClr val="D8D8D8">
                    <a:lumMod val="10000"/>
                  </a:srgbClr>
                </a:solidFill>
              </a:rPr>
              <a:t>leurs</a:t>
            </a:r>
            <a:r>
              <a:rPr lang="en-US" sz="1470" dirty="0">
                <a:solidFill>
                  <a:srgbClr val="D8D8D8">
                    <a:lumMod val="10000"/>
                  </a:srgbClr>
                </a:solidFill>
              </a:rPr>
              <a:t> </a:t>
            </a:r>
            <a:r>
              <a:rPr lang="en-US" sz="1470" dirty="0" err="1">
                <a:solidFill>
                  <a:srgbClr val="D8D8D8">
                    <a:lumMod val="10000"/>
                  </a:srgbClr>
                </a:solidFill>
              </a:rPr>
              <a:t>expériences</a:t>
            </a:r>
            <a:r>
              <a:rPr lang="en-US" sz="1470" dirty="0">
                <a:solidFill>
                  <a:srgbClr val="D8D8D8">
                    <a:lumMod val="10000"/>
                  </a:srgbClr>
                </a:solidFill>
              </a:rPr>
              <a:t> </a:t>
            </a:r>
            <a:r>
              <a:rPr lang="en-US" sz="1470" dirty="0" err="1">
                <a:solidFill>
                  <a:srgbClr val="D8D8D8">
                    <a:lumMod val="10000"/>
                  </a:srgbClr>
                </a:solidFill>
              </a:rPr>
              <a:t>d’utilisation</a:t>
            </a:r>
            <a:r>
              <a:rPr lang="en-US" sz="1470" dirty="0">
                <a:solidFill>
                  <a:srgbClr val="D8D8D8">
                    <a:lumMod val="10000"/>
                  </a:srgbClr>
                </a:solidFill>
              </a:rPr>
              <a:t> des </a:t>
            </a:r>
            <a:r>
              <a:rPr lang="en-US" sz="1470" dirty="0" err="1">
                <a:solidFill>
                  <a:srgbClr val="D8D8D8">
                    <a:lumMod val="10000"/>
                  </a:srgbClr>
                </a:solidFill>
              </a:rPr>
              <a:t>cartes</a:t>
            </a:r>
            <a:r>
              <a:rPr lang="en-US" sz="1470" dirty="0">
                <a:solidFill>
                  <a:srgbClr val="D8D8D8">
                    <a:lumMod val="10000"/>
                  </a:srgbClr>
                </a:solidFill>
              </a:rPr>
              <a:t> de score</a:t>
            </a:r>
            <a:r>
              <a:rPr lang="en-US" sz="1470" b="1" dirty="0">
                <a:solidFill>
                  <a:srgbClr val="D8D8D8">
                    <a:lumMod val="10000"/>
                  </a:srgbClr>
                </a:solidFill>
              </a:rPr>
              <a:t>
Assistance technique </a:t>
            </a:r>
            <a:r>
              <a:rPr lang="en-US" sz="1470" dirty="0">
                <a:solidFill>
                  <a:srgbClr val="D8D8D8">
                    <a:lumMod val="10000"/>
                  </a:srgbClr>
                </a:solidFill>
              </a:rPr>
              <a:t>aux </a:t>
            </a:r>
            <a:r>
              <a:rPr lang="en-US" sz="1470" dirty="0" err="1">
                <a:solidFill>
                  <a:srgbClr val="D8D8D8">
                    <a:lumMod val="10000"/>
                  </a:srgbClr>
                </a:solidFill>
              </a:rPr>
              <a:t>ministères</a:t>
            </a:r>
            <a:r>
              <a:rPr lang="en-US" sz="1470" dirty="0">
                <a:solidFill>
                  <a:srgbClr val="D8D8D8">
                    <a:lumMod val="10000"/>
                  </a:srgbClr>
                </a:solidFill>
              </a:rPr>
              <a:t> de la </a:t>
            </a:r>
            <a:r>
              <a:rPr lang="en-US" sz="1470" dirty="0" err="1">
                <a:solidFill>
                  <a:srgbClr val="D8D8D8">
                    <a:lumMod val="10000"/>
                  </a:srgbClr>
                </a:solidFill>
              </a:rPr>
              <a:t>Santé</a:t>
            </a:r>
            <a:endParaRPr lang="en-US" sz="1470" b="1" dirty="0">
              <a:solidFill>
                <a:srgbClr val="D8D8D8">
                  <a:lumMod val="10000"/>
                </a:srgbClr>
              </a:solidFill>
            </a:endParaRPr>
          </a:p>
        </p:txBody>
      </p:sp>
      <p:cxnSp>
        <p:nvCxnSpPr>
          <p:cNvPr id="28" name="Straight Connector 27">
            <a:extLst>
              <a:ext uri="{FF2B5EF4-FFF2-40B4-BE49-F238E27FC236}">
                <a16:creationId xmlns:a16="http://schemas.microsoft.com/office/drawing/2014/main" id="{947FC39B-FCF4-F84B-AA32-99C2850FEF2E}"/>
              </a:ext>
            </a:extLst>
          </p:cNvPr>
          <p:cNvCxnSpPr>
            <a:cxnSpLocks/>
          </p:cNvCxnSpPr>
          <p:nvPr/>
        </p:nvCxnSpPr>
        <p:spPr>
          <a:xfrm>
            <a:off x="4883519" y="1770991"/>
            <a:ext cx="0" cy="4518541"/>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9" name="Picture 28">
            <a:extLst>
              <a:ext uri="{FF2B5EF4-FFF2-40B4-BE49-F238E27FC236}">
                <a16:creationId xmlns:a16="http://schemas.microsoft.com/office/drawing/2014/main" id="{B5B35377-6F58-DC48-8A09-692DD545363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17000" y="1848298"/>
            <a:ext cx="2772227" cy="2141217"/>
          </a:xfrm>
          <a:prstGeom prst="rect">
            <a:avLst/>
          </a:prstGeom>
        </p:spPr>
      </p:pic>
    </p:spTree>
    <p:extLst>
      <p:ext uri="{BB962C8B-B14F-4D97-AF65-F5344CB8AC3E}">
        <p14:creationId xmlns:p14="http://schemas.microsoft.com/office/powerpoint/2010/main" val="387601907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651524"/>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GB" sz="2352" dirty="0"/>
              <a:t>Nos </a:t>
            </a:r>
            <a:r>
              <a:rPr lang="en-GB" sz="2352" dirty="0" err="1"/>
              <a:t>cours</a:t>
            </a:r>
            <a:r>
              <a:rPr lang="en-GB" sz="2352" dirty="0"/>
              <a:t> </a:t>
            </a:r>
            <a:r>
              <a:rPr lang="en-GB" sz="2352" dirty="0" err="1"/>
              <a:t>en</a:t>
            </a:r>
            <a:r>
              <a:rPr lang="en-GB" sz="2352" dirty="0"/>
              <a:t> </a:t>
            </a:r>
            <a:r>
              <a:rPr lang="en-GB" sz="2352" dirty="0" err="1"/>
              <a:t>ligne</a:t>
            </a:r>
            <a:r>
              <a:rPr lang="en-GB" sz="2352" dirty="0"/>
              <a:t> </a:t>
            </a:r>
            <a:r>
              <a:rPr lang="en-GB" sz="2352" dirty="0" err="1"/>
              <a:t>sont</a:t>
            </a:r>
            <a:r>
              <a:rPr lang="en-GB" sz="2352" dirty="0"/>
              <a:t> </a:t>
            </a:r>
            <a:r>
              <a:rPr lang="en-GB" sz="2352" dirty="0" err="1"/>
              <a:t>conçus</a:t>
            </a:r>
            <a:r>
              <a:rPr lang="en-GB" sz="2352" dirty="0"/>
              <a:t> pour </a:t>
            </a:r>
            <a:r>
              <a:rPr lang="en-GB" sz="2352" dirty="0" err="1"/>
              <a:t>soutenir</a:t>
            </a:r>
            <a:r>
              <a:rPr lang="en-GB" sz="2352" dirty="0"/>
              <a:t> les pays dans la </a:t>
            </a:r>
            <a:r>
              <a:rPr lang="en-GB" sz="2352" dirty="0" err="1"/>
              <a:t>décentralisation</a:t>
            </a:r>
            <a:r>
              <a:rPr lang="en-GB" sz="2352" dirty="0"/>
              <a:t> des </a:t>
            </a:r>
            <a:r>
              <a:rPr lang="en-GB" sz="2352" dirty="0" err="1"/>
              <a:t>cartes</a:t>
            </a:r>
            <a:r>
              <a:rPr lang="en-GB" sz="2352" dirty="0"/>
              <a:t> de score</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defTabSz="672067" fontAlgn="auto">
              <a:spcAft>
                <a:spcPts val="0"/>
              </a:spcAft>
            </a:pPr>
            <a:r>
              <a:rPr lang="en-US" sz="2352" b="0" dirty="0">
                <a:solidFill>
                  <a:prstClr val="black">
                    <a:lumMod val="65000"/>
                    <a:lumOff val="35000"/>
                  </a:prstClr>
                </a:solidFill>
              </a:rPr>
              <a:t>Formations </a:t>
            </a:r>
            <a:r>
              <a:rPr lang="en-US" sz="2352" b="0" dirty="0" err="1">
                <a:solidFill>
                  <a:prstClr val="black">
                    <a:lumMod val="65000"/>
                    <a:lumOff val="35000"/>
                  </a:prstClr>
                </a:solidFill>
              </a:rPr>
              <a:t>en</a:t>
            </a:r>
            <a:r>
              <a:rPr lang="en-US" sz="2352" b="0" dirty="0">
                <a:solidFill>
                  <a:prstClr val="black">
                    <a:lumMod val="65000"/>
                    <a:lumOff val="35000"/>
                  </a:prstClr>
                </a:solidFill>
              </a:rPr>
              <a:t> </a:t>
            </a:r>
            <a:r>
              <a:rPr lang="en-US" sz="2352" b="0" dirty="0" err="1">
                <a:solidFill>
                  <a:prstClr val="black">
                    <a:lumMod val="65000"/>
                    <a:lumOff val="35000"/>
                  </a:prstClr>
                </a:solidFill>
              </a:rPr>
              <a:t>ligne</a:t>
            </a:r>
            <a:endParaRPr lang="en-GB" sz="2352" b="0" dirty="0">
              <a:solidFill>
                <a:prstClr val="black">
                  <a:lumMod val="65000"/>
                  <a:lumOff val="35000"/>
                </a:prstClr>
              </a:solidFill>
            </a:endParaRPr>
          </a:p>
        </p:txBody>
      </p:sp>
      <p:sp>
        <p:nvSpPr>
          <p:cNvPr id="4" name="Text Placeholder 5">
            <a:extLst>
              <a:ext uri="{FF2B5EF4-FFF2-40B4-BE49-F238E27FC236}">
                <a16:creationId xmlns:a16="http://schemas.microsoft.com/office/drawing/2014/main" id="{040E9BB6-FAD5-DB4D-9D14-4671485DFDCD}"/>
              </a:ext>
            </a:extLst>
          </p:cNvPr>
          <p:cNvSpPr txBox="1">
            <a:spLocks/>
          </p:cNvSpPr>
          <p:nvPr/>
        </p:nvSpPr>
        <p:spPr>
          <a:xfrm>
            <a:off x="461524" y="1820630"/>
            <a:ext cx="4006487" cy="3770396"/>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672067" fontAlgn="auto">
              <a:lnSpc>
                <a:spcPct val="100000"/>
              </a:lnSpc>
              <a:spcBef>
                <a:spcPts val="196"/>
              </a:spcBef>
              <a:spcAft>
                <a:spcPts val="392"/>
              </a:spcAft>
            </a:pPr>
            <a:r>
              <a:rPr lang="en-US" sz="1470" dirty="0">
                <a:solidFill>
                  <a:srgbClr val="D8D8D8">
                    <a:lumMod val="10000"/>
                  </a:srgbClr>
                </a:solidFill>
              </a:rPr>
              <a:t>Nous </a:t>
            </a:r>
            <a:r>
              <a:rPr lang="en-US" sz="1470" dirty="0" err="1">
                <a:solidFill>
                  <a:srgbClr val="D8D8D8">
                    <a:lumMod val="10000"/>
                  </a:srgbClr>
                </a:solidFill>
              </a:rPr>
              <a:t>avons</a:t>
            </a:r>
            <a:r>
              <a:rPr lang="en-US" sz="1470" dirty="0">
                <a:solidFill>
                  <a:srgbClr val="D8D8D8">
                    <a:lumMod val="10000"/>
                  </a:srgbClr>
                </a:solidFill>
              </a:rPr>
              <a:t> </a:t>
            </a:r>
            <a:r>
              <a:rPr lang="en-US" sz="1470" dirty="0" err="1">
                <a:solidFill>
                  <a:srgbClr val="D8D8D8">
                    <a:lumMod val="10000"/>
                  </a:srgbClr>
                </a:solidFill>
              </a:rPr>
              <a:t>actuellement</a:t>
            </a:r>
            <a:r>
              <a:rPr lang="en-US" sz="1470" dirty="0">
                <a:solidFill>
                  <a:srgbClr val="D8D8D8">
                    <a:lumMod val="10000"/>
                  </a:srgbClr>
                </a:solidFill>
              </a:rPr>
              <a:t> des formations </a:t>
            </a:r>
            <a:r>
              <a:rPr lang="en-US" sz="1470" dirty="0" err="1">
                <a:solidFill>
                  <a:srgbClr val="D8D8D8">
                    <a:lumMod val="10000"/>
                  </a:srgbClr>
                </a:solidFill>
              </a:rPr>
              <a:t>en</a:t>
            </a:r>
            <a:r>
              <a:rPr lang="en-US" sz="1470" dirty="0">
                <a:solidFill>
                  <a:srgbClr val="D8D8D8">
                    <a:lumMod val="10000"/>
                  </a:srgbClr>
                </a:solidFill>
              </a:rPr>
              <a:t> </a:t>
            </a:r>
            <a:r>
              <a:rPr lang="en-US" sz="1470" dirty="0" err="1">
                <a:solidFill>
                  <a:srgbClr val="D8D8D8">
                    <a:lumMod val="10000"/>
                  </a:srgbClr>
                </a:solidFill>
              </a:rPr>
              <a:t>ligne</a:t>
            </a:r>
            <a:r>
              <a:rPr lang="en-US" sz="1470" dirty="0">
                <a:solidFill>
                  <a:srgbClr val="D8D8D8">
                    <a:lumMod val="10000"/>
                  </a:srgbClr>
                </a:solidFill>
              </a:rPr>
              <a:t> sur:</a:t>
            </a:r>
          </a:p>
          <a:p>
            <a:pPr marL="280035" indent="-280035" defTabSz="672067" fontAlgn="auto">
              <a:lnSpc>
                <a:spcPct val="100000"/>
              </a:lnSpc>
              <a:spcBef>
                <a:spcPts val="196"/>
              </a:spcBef>
              <a:spcAft>
                <a:spcPts val="392"/>
              </a:spcAft>
              <a:buFont typeface="Arial" panose="020B0604020202020204" pitchFamily="34" charset="0"/>
              <a:buChar char="•"/>
            </a:pPr>
            <a:r>
              <a:rPr lang="en-US" sz="1470" b="1" dirty="0" err="1">
                <a:solidFill>
                  <a:srgbClr val="D8D8D8">
                    <a:lumMod val="10000"/>
                  </a:srgbClr>
                </a:solidFill>
              </a:rPr>
              <a:t>Créer</a:t>
            </a:r>
            <a:r>
              <a:rPr lang="en-US" sz="1470" b="1" dirty="0">
                <a:solidFill>
                  <a:srgbClr val="D8D8D8">
                    <a:lumMod val="10000"/>
                  </a:srgbClr>
                </a:solidFill>
              </a:rPr>
              <a:t> </a:t>
            </a:r>
            <a:r>
              <a:rPr lang="en-US" sz="1470" b="1" dirty="0" err="1">
                <a:solidFill>
                  <a:srgbClr val="D8D8D8">
                    <a:lumMod val="10000"/>
                  </a:srgbClr>
                </a:solidFill>
              </a:rPr>
              <a:t>une</a:t>
            </a:r>
            <a:r>
              <a:rPr lang="en-US" sz="1470" b="1" dirty="0">
                <a:solidFill>
                  <a:srgbClr val="D8D8D8">
                    <a:lumMod val="10000"/>
                  </a:srgbClr>
                </a:solidFill>
              </a:rPr>
              <a:t> nouvelle carte de score</a:t>
            </a:r>
            <a:r>
              <a:rPr lang="en-US" sz="1470" dirty="0">
                <a:solidFill>
                  <a:srgbClr val="D8D8D8">
                    <a:lumMod val="10000"/>
                  </a:srgbClr>
                </a:solidFill>
              </a:rPr>
              <a:t>: Pour </a:t>
            </a:r>
            <a:r>
              <a:rPr lang="en-US" sz="1470" dirty="0" err="1">
                <a:solidFill>
                  <a:srgbClr val="D8D8D8">
                    <a:lumMod val="10000"/>
                  </a:srgbClr>
                </a:solidFill>
              </a:rPr>
              <a:t>une</a:t>
            </a:r>
            <a:r>
              <a:rPr lang="en-US" sz="1470" dirty="0">
                <a:solidFill>
                  <a:srgbClr val="D8D8D8">
                    <a:lumMod val="10000"/>
                  </a:srgbClr>
                </a:solidFill>
              </a:rPr>
              <a:t> introduction aux </a:t>
            </a:r>
            <a:r>
              <a:rPr lang="en-US" sz="1470" dirty="0" err="1">
                <a:solidFill>
                  <a:srgbClr val="D8D8D8">
                    <a:lumMod val="10000"/>
                  </a:srgbClr>
                </a:solidFill>
              </a:rPr>
              <a:t>cartes</a:t>
            </a:r>
            <a:r>
              <a:rPr lang="en-US" sz="1470" dirty="0">
                <a:solidFill>
                  <a:srgbClr val="D8D8D8">
                    <a:lumMod val="10000"/>
                  </a:srgbClr>
                </a:solidFill>
              </a:rPr>
              <a:t> de score
</a:t>
            </a:r>
            <a:r>
              <a:rPr lang="en-US" sz="1470" b="1" dirty="0" err="1">
                <a:solidFill>
                  <a:srgbClr val="D8D8D8">
                    <a:lumMod val="10000"/>
                  </a:srgbClr>
                </a:solidFill>
              </a:rPr>
              <a:t>Renforcer</a:t>
            </a:r>
            <a:r>
              <a:rPr lang="en-US" sz="1470" b="1" dirty="0">
                <a:solidFill>
                  <a:srgbClr val="D8D8D8">
                    <a:lumMod val="10000"/>
                  </a:srgbClr>
                </a:solidFill>
              </a:rPr>
              <a:t> et </a:t>
            </a:r>
            <a:r>
              <a:rPr lang="en-US" sz="1470" b="1" dirty="0" err="1">
                <a:solidFill>
                  <a:srgbClr val="D8D8D8">
                    <a:lumMod val="10000"/>
                  </a:srgbClr>
                </a:solidFill>
              </a:rPr>
              <a:t>améliorer</a:t>
            </a:r>
            <a:r>
              <a:rPr lang="en-US" sz="1470" b="1" dirty="0">
                <a:solidFill>
                  <a:srgbClr val="D8D8D8">
                    <a:lumMod val="10000"/>
                  </a:srgbClr>
                </a:solidFill>
              </a:rPr>
              <a:t> </a:t>
            </a:r>
            <a:r>
              <a:rPr lang="en-US" sz="1470" b="1" dirty="0" err="1">
                <a:solidFill>
                  <a:srgbClr val="D8D8D8">
                    <a:lumMod val="10000"/>
                  </a:srgbClr>
                </a:solidFill>
              </a:rPr>
              <a:t>une</a:t>
            </a:r>
            <a:r>
              <a:rPr lang="en-US" sz="1470" b="1" dirty="0">
                <a:solidFill>
                  <a:srgbClr val="D8D8D8">
                    <a:lumMod val="10000"/>
                  </a:srgbClr>
                </a:solidFill>
              </a:rPr>
              <a:t> carte de score: </a:t>
            </a:r>
            <a:r>
              <a:rPr lang="en-US" sz="1470" dirty="0">
                <a:solidFill>
                  <a:srgbClr val="D8D8D8">
                    <a:lumMod val="10000"/>
                  </a:srgbClr>
                </a:solidFill>
              </a:rPr>
              <a:t>pour les </a:t>
            </a:r>
            <a:r>
              <a:rPr lang="en-US" sz="1470" dirty="0" err="1">
                <a:solidFill>
                  <a:srgbClr val="D8D8D8">
                    <a:lumMod val="10000"/>
                  </a:srgbClr>
                </a:solidFill>
              </a:rPr>
              <a:t>utilisateurs</a:t>
            </a:r>
            <a:r>
              <a:rPr lang="en-US" sz="1470" dirty="0">
                <a:solidFill>
                  <a:srgbClr val="D8D8D8">
                    <a:lumMod val="10000"/>
                  </a:srgbClr>
                </a:solidFill>
              </a:rPr>
              <a:t> plus </a:t>
            </a:r>
            <a:r>
              <a:rPr lang="en-US" sz="1470" dirty="0" err="1">
                <a:solidFill>
                  <a:srgbClr val="D8D8D8">
                    <a:lumMod val="10000"/>
                  </a:srgbClr>
                </a:solidFill>
              </a:rPr>
              <a:t>avancés</a:t>
            </a:r>
            <a:r>
              <a:rPr lang="en-US" sz="1470" dirty="0">
                <a:solidFill>
                  <a:srgbClr val="D8D8D8">
                    <a:lumMod val="10000"/>
                  </a:srgbClr>
                </a:solidFill>
              </a:rPr>
              <a:t>, comment </a:t>
            </a:r>
            <a:r>
              <a:rPr lang="en-US" sz="1470" dirty="0" err="1">
                <a:solidFill>
                  <a:srgbClr val="D8D8D8">
                    <a:lumMod val="10000"/>
                  </a:srgbClr>
                </a:solidFill>
              </a:rPr>
              <a:t>décentraliser</a:t>
            </a:r>
            <a:r>
              <a:rPr lang="en-US" sz="1470" dirty="0">
                <a:solidFill>
                  <a:srgbClr val="D8D8D8">
                    <a:lumMod val="10000"/>
                  </a:srgbClr>
                </a:solidFill>
              </a:rPr>
              <a:t> et </a:t>
            </a:r>
            <a:r>
              <a:rPr lang="en-US" sz="1470" dirty="0" err="1">
                <a:solidFill>
                  <a:srgbClr val="D8D8D8">
                    <a:lumMod val="10000"/>
                  </a:srgbClr>
                </a:solidFill>
              </a:rPr>
              <a:t>renforcer</a:t>
            </a:r>
            <a:r>
              <a:rPr lang="en-US" sz="1470" dirty="0">
                <a:solidFill>
                  <a:srgbClr val="D8D8D8">
                    <a:lumMod val="10000"/>
                  </a:srgbClr>
                </a:solidFill>
              </a:rPr>
              <a:t> </a:t>
            </a:r>
            <a:r>
              <a:rPr lang="en-US" sz="1470" dirty="0" err="1">
                <a:solidFill>
                  <a:srgbClr val="D8D8D8">
                    <a:lumMod val="10000"/>
                  </a:srgbClr>
                </a:solidFill>
              </a:rPr>
              <a:t>une</a:t>
            </a:r>
            <a:r>
              <a:rPr lang="en-US" sz="1470" dirty="0">
                <a:solidFill>
                  <a:srgbClr val="D8D8D8">
                    <a:lumMod val="10000"/>
                  </a:srgbClr>
                </a:solidFill>
              </a:rPr>
              <a:t> carte de score </a:t>
            </a:r>
            <a:r>
              <a:rPr lang="en-US" sz="1470" dirty="0" err="1">
                <a:solidFill>
                  <a:srgbClr val="D8D8D8">
                    <a:lumMod val="10000"/>
                  </a:srgbClr>
                </a:solidFill>
              </a:rPr>
              <a:t>existante</a:t>
            </a:r>
            <a:r>
              <a:rPr lang="en-US" sz="1470" dirty="0">
                <a:solidFill>
                  <a:srgbClr val="D8D8D8">
                    <a:lumMod val="10000"/>
                  </a:srgbClr>
                </a:solidFill>
              </a:rPr>
              <a:t> pour plus </a:t>
            </a:r>
            <a:r>
              <a:rPr lang="en-US" sz="1470" dirty="0" err="1">
                <a:solidFill>
                  <a:srgbClr val="D8D8D8">
                    <a:lumMod val="10000"/>
                  </a:srgbClr>
                </a:solidFill>
              </a:rPr>
              <a:t>d’impact</a:t>
            </a:r>
            <a:endParaRPr lang="en-US" sz="1470" dirty="0">
              <a:solidFill>
                <a:srgbClr val="D8D8D8">
                  <a:lumMod val="10000"/>
                </a:srgbClr>
              </a:solidFill>
            </a:endParaRPr>
          </a:p>
          <a:p>
            <a:pPr marL="280035" indent="-280035" defTabSz="672067" fontAlgn="auto">
              <a:lnSpc>
                <a:spcPct val="100000"/>
              </a:lnSpc>
              <a:spcBef>
                <a:spcPts val="196"/>
              </a:spcBef>
              <a:spcAft>
                <a:spcPts val="392"/>
              </a:spcAft>
              <a:buFont typeface="Arial" panose="020B0604020202020204" pitchFamily="34" charset="0"/>
              <a:buChar char="•"/>
            </a:pPr>
            <a:r>
              <a:rPr lang="en-US" sz="1470" b="1" dirty="0">
                <a:solidFill>
                  <a:srgbClr val="D8D8D8">
                    <a:lumMod val="10000"/>
                  </a:srgbClr>
                </a:solidFill>
              </a:rPr>
              <a:t>Formations sur la </a:t>
            </a:r>
            <a:r>
              <a:rPr lang="en-US" sz="1470" b="1" dirty="0" err="1">
                <a:solidFill>
                  <a:srgbClr val="D8D8D8">
                    <a:lumMod val="10000"/>
                  </a:srgbClr>
                </a:solidFill>
              </a:rPr>
              <a:t>plateforme</a:t>
            </a:r>
            <a:r>
              <a:rPr lang="en-US" sz="1470" b="1" dirty="0">
                <a:solidFill>
                  <a:srgbClr val="D8D8D8">
                    <a:lumMod val="10000"/>
                  </a:srgbClr>
                </a:solidFill>
              </a:rPr>
              <a:t> Web de la carte de score </a:t>
            </a:r>
            <a:r>
              <a:rPr lang="en-US" sz="1470" dirty="0">
                <a:solidFill>
                  <a:srgbClr val="D8D8D8">
                    <a:lumMod val="10000"/>
                  </a:srgbClr>
                </a:solidFill>
              </a:rPr>
              <a:t>: pour </a:t>
            </a:r>
            <a:r>
              <a:rPr lang="en-US" sz="1470" dirty="0" err="1">
                <a:solidFill>
                  <a:srgbClr val="D8D8D8">
                    <a:lumMod val="10000"/>
                  </a:srgbClr>
                </a:solidFill>
              </a:rPr>
              <a:t>administrateurs</a:t>
            </a:r>
            <a:r>
              <a:rPr lang="en-US" sz="1470" dirty="0">
                <a:solidFill>
                  <a:srgbClr val="D8D8D8">
                    <a:lumMod val="10000"/>
                  </a:srgbClr>
                </a:solidFill>
              </a:rPr>
              <a:t> et pour </a:t>
            </a:r>
            <a:r>
              <a:rPr lang="en-US" sz="1470" dirty="0" err="1">
                <a:solidFill>
                  <a:srgbClr val="D8D8D8">
                    <a:lumMod val="10000"/>
                  </a:srgbClr>
                </a:solidFill>
              </a:rPr>
              <a:t>utilisateurs</a:t>
            </a:r>
            <a:r>
              <a:rPr lang="en-US" sz="1470" dirty="0">
                <a:solidFill>
                  <a:srgbClr val="D8D8D8">
                    <a:lumMod val="10000"/>
                  </a:srgbClr>
                </a:solidFill>
              </a:rPr>
              <a:t> </a:t>
            </a:r>
          </a:p>
          <a:p>
            <a:pPr defTabSz="672067" fontAlgn="auto">
              <a:lnSpc>
                <a:spcPct val="100000"/>
              </a:lnSpc>
              <a:spcBef>
                <a:spcPts val="196"/>
              </a:spcBef>
              <a:spcAft>
                <a:spcPts val="392"/>
              </a:spcAft>
            </a:pPr>
            <a:r>
              <a:rPr lang="en-US" sz="1470" dirty="0">
                <a:solidFill>
                  <a:srgbClr val="D8D8D8">
                    <a:lumMod val="10000"/>
                  </a:srgbClr>
                </a:solidFill>
              </a:rPr>
              <a:t>Nous </a:t>
            </a:r>
            <a:r>
              <a:rPr lang="en-US" sz="1470" dirty="0" err="1">
                <a:solidFill>
                  <a:srgbClr val="D8D8D8">
                    <a:lumMod val="10000"/>
                  </a:srgbClr>
                </a:solidFill>
              </a:rPr>
              <a:t>travaillons</a:t>
            </a:r>
            <a:r>
              <a:rPr lang="en-US" sz="1470" dirty="0">
                <a:solidFill>
                  <a:srgbClr val="D8D8D8">
                    <a:lumMod val="10000"/>
                  </a:srgbClr>
                </a:solidFill>
              </a:rPr>
              <a:t> sur de nouveaux </a:t>
            </a:r>
            <a:r>
              <a:rPr lang="en-US" sz="1470" dirty="0" err="1">
                <a:solidFill>
                  <a:srgbClr val="D8D8D8">
                    <a:lumMod val="10000"/>
                  </a:srgbClr>
                </a:solidFill>
              </a:rPr>
              <a:t>cours</a:t>
            </a:r>
            <a:r>
              <a:rPr lang="en-US" sz="1470" dirty="0">
                <a:solidFill>
                  <a:srgbClr val="D8D8D8">
                    <a:lumMod val="10000"/>
                  </a:srgbClr>
                </a:solidFill>
              </a:rPr>
              <a:t> et formations, par </a:t>
            </a:r>
            <a:r>
              <a:rPr lang="en-US" sz="1470" dirty="0" err="1">
                <a:solidFill>
                  <a:srgbClr val="D8D8D8">
                    <a:lumMod val="10000"/>
                  </a:srgbClr>
                </a:solidFill>
              </a:rPr>
              <a:t>exemple</a:t>
            </a:r>
            <a:r>
              <a:rPr lang="en-US" sz="1470" dirty="0">
                <a:solidFill>
                  <a:srgbClr val="D8D8D8">
                    <a:lumMod val="10000"/>
                  </a:srgbClr>
                </a:solidFill>
              </a:rPr>
              <a:t> sur les </a:t>
            </a:r>
            <a:r>
              <a:rPr lang="en-US" sz="1470" dirty="0" err="1">
                <a:solidFill>
                  <a:srgbClr val="D8D8D8">
                    <a:lumMod val="10000"/>
                  </a:srgbClr>
                </a:solidFill>
              </a:rPr>
              <a:t>outils</a:t>
            </a:r>
            <a:r>
              <a:rPr lang="en-US" sz="1470" dirty="0">
                <a:solidFill>
                  <a:srgbClr val="D8D8D8">
                    <a:lumMod val="10000"/>
                  </a:srgbClr>
                </a:solidFill>
              </a:rPr>
              <a:t> de carte de score </a:t>
            </a:r>
            <a:r>
              <a:rPr lang="en-US" sz="1470" dirty="0" err="1">
                <a:solidFill>
                  <a:srgbClr val="D8D8D8">
                    <a:lumMod val="10000"/>
                  </a:srgbClr>
                </a:solidFill>
              </a:rPr>
              <a:t>communautaires</a:t>
            </a:r>
            <a:r>
              <a:rPr lang="en-US" sz="1470" dirty="0">
                <a:solidFill>
                  <a:srgbClr val="D8D8D8">
                    <a:lumMod val="10000"/>
                  </a:srgbClr>
                </a:solidFill>
              </a:rPr>
              <a:t>.</a:t>
            </a:r>
          </a:p>
          <a:p>
            <a:pPr defTabSz="672067" fontAlgn="auto">
              <a:lnSpc>
                <a:spcPct val="100000"/>
              </a:lnSpc>
              <a:spcBef>
                <a:spcPts val="196"/>
              </a:spcBef>
              <a:spcAft>
                <a:spcPts val="392"/>
              </a:spcAft>
            </a:pPr>
            <a:endParaRPr lang="en-US" sz="1470" dirty="0">
              <a:solidFill>
                <a:srgbClr val="D8D8D8">
                  <a:lumMod val="10000"/>
                </a:srgbClr>
              </a:solidFill>
            </a:endParaRPr>
          </a:p>
        </p:txBody>
      </p:sp>
      <p:pic>
        <p:nvPicPr>
          <p:cNvPr id="6" name="Picture 5">
            <a:extLst>
              <a:ext uri="{FF2B5EF4-FFF2-40B4-BE49-F238E27FC236}">
                <a16:creationId xmlns:a16="http://schemas.microsoft.com/office/drawing/2014/main" id="{F752B42D-38A4-2D44-89F4-582EC9BDA97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80528" y="1820629"/>
            <a:ext cx="4245131" cy="2176212"/>
          </a:xfrm>
          <a:prstGeom prst="rect">
            <a:avLst/>
          </a:prstGeom>
        </p:spPr>
      </p:pic>
      <p:pic>
        <p:nvPicPr>
          <p:cNvPr id="2" name="Picture 1">
            <a:extLst>
              <a:ext uri="{FF2B5EF4-FFF2-40B4-BE49-F238E27FC236}">
                <a16:creationId xmlns:a16="http://schemas.microsoft.com/office/drawing/2014/main" id="{10483053-6B49-BB4C-9066-982C643C5C28}"/>
              </a:ext>
            </a:extLst>
          </p:cNvPr>
          <p:cNvPicPr>
            <a:picLocks noChangeAspect="1"/>
          </p:cNvPicPr>
          <p:nvPr/>
        </p:nvPicPr>
        <p:blipFill rotWithShape="1">
          <a:blip r:embed="rId3"/>
          <a:srcRect r="9819"/>
          <a:stretch/>
        </p:blipFill>
        <p:spPr>
          <a:xfrm>
            <a:off x="5353278" y="2363842"/>
            <a:ext cx="2087155" cy="1244514"/>
          </a:xfrm>
          <a:prstGeom prst="rect">
            <a:avLst/>
          </a:prstGeom>
        </p:spPr>
      </p:pic>
      <p:sp>
        <p:nvSpPr>
          <p:cNvPr id="3" name="Rectangle 2">
            <a:extLst>
              <a:ext uri="{FF2B5EF4-FFF2-40B4-BE49-F238E27FC236}">
                <a16:creationId xmlns:a16="http://schemas.microsoft.com/office/drawing/2014/main" id="{9938712D-84DB-1A46-9C2B-6CD9F0347332}"/>
              </a:ext>
            </a:extLst>
          </p:cNvPr>
          <p:cNvSpPr/>
          <p:nvPr/>
        </p:nvSpPr>
        <p:spPr>
          <a:xfrm>
            <a:off x="365532" y="5365295"/>
            <a:ext cx="8134381" cy="844568"/>
          </a:xfrm>
          <a:prstGeom prst="rect">
            <a:avLst/>
          </a:prstGeom>
        </p:spPr>
        <p:txBody>
          <a:bodyPr wrap="square">
            <a:spAutoFit/>
          </a:bodyPr>
          <a:lstStyle/>
          <a:p>
            <a:pPr defTabSz="896112" fontAlgn="auto">
              <a:spcBef>
                <a:spcPts val="196"/>
              </a:spcBef>
              <a:spcAft>
                <a:spcPts val="392"/>
              </a:spcAft>
            </a:pPr>
            <a:r>
              <a:rPr lang="en-US" sz="1470" dirty="0">
                <a:solidFill>
                  <a:srgbClr val="D8D8D8">
                    <a:lumMod val="10000"/>
                  </a:srgbClr>
                </a:solidFill>
                <a:latin typeface="Arial" panose="020B0604020202020204" pitchFamily="34" charset="0"/>
                <a:cs typeface="Arial" panose="020B0604020202020204" pitchFamily="34" charset="0"/>
              </a:rPr>
              <a:t>Si </a:t>
            </a:r>
            <a:r>
              <a:rPr lang="en-US" sz="1470" dirty="0" err="1">
                <a:solidFill>
                  <a:srgbClr val="D8D8D8">
                    <a:lumMod val="10000"/>
                  </a:srgbClr>
                </a:solidFill>
                <a:latin typeface="Arial" panose="020B0604020202020204" pitchFamily="34" charset="0"/>
                <a:cs typeface="Arial" panose="020B0604020202020204" pitchFamily="34" charset="0"/>
              </a:rPr>
              <a:t>vous</a:t>
            </a:r>
            <a:r>
              <a:rPr lang="en-US" sz="1470" dirty="0">
                <a:solidFill>
                  <a:srgbClr val="D8D8D8">
                    <a:lumMod val="10000"/>
                  </a:srgbClr>
                </a:solidFill>
                <a:latin typeface="Arial" panose="020B0604020202020204" pitchFamily="34" charset="0"/>
                <a:cs typeface="Arial" panose="020B0604020202020204" pitchFamily="34" charset="0"/>
              </a:rPr>
              <a:t> </a:t>
            </a:r>
            <a:r>
              <a:rPr lang="en-US" sz="1470" dirty="0" err="1">
                <a:solidFill>
                  <a:srgbClr val="D8D8D8">
                    <a:lumMod val="10000"/>
                  </a:srgbClr>
                </a:solidFill>
                <a:latin typeface="Arial" panose="020B0604020202020204" pitchFamily="34" charset="0"/>
                <a:cs typeface="Arial" panose="020B0604020202020204" pitchFamily="34" charset="0"/>
              </a:rPr>
              <a:t>avez</a:t>
            </a:r>
            <a:r>
              <a:rPr lang="en-US" sz="1470" dirty="0">
                <a:solidFill>
                  <a:srgbClr val="D8D8D8">
                    <a:lumMod val="10000"/>
                  </a:srgbClr>
                </a:solidFill>
                <a:latin typeface="Arial" panose="020B0604020202020204" pitchFamily="34" charset="0"/>
                <a:cs typeface="Arial" panose="020B0604020202020204" pitchFamily="34" charset="0"/>
              </a:rPr>
              <a:t> des suggestions pour de </a:t>
            </a:r>
            <a:r>
              <a:rPr lang="en-US" sz="1470" dirty="0" err="1">
                <a:solidFill>
                  <a:srgbClr val="D8D8D8">
                    <a:lumMod val="10000"/>
                  </a:srgbClr>
                </a:solidFill>
                <a:latin typeface="Arial" panose="020B0604020202020204" pitchFamily="34" charset="0"/>
                <a:cs typeface="Arial" panose="020B0604020202020204" pitchFamily="34" charset="0"/>
              </a:rPr>
              <a:t>nouvelles</a:t>
            </a:r>
            <a:r>
              <a:rPr lang="en-US" sz="1470" dirty="0">
                <a:solidFill>
                  <a:srgbClr val="D8D8D8">
                    <a:lumMod val="10000"/>
                  </a:srgbClr>
                </a:solidFill>
                <a:latin typeface="Arial" panose="020B0604020202020204" pitchFamily="34" charset="0"/>
                <a:cs typeface="Arial" panose="020B0604020202020204" pitchFamily="34" charset="0"/>
              </a:rPr>
              <a:t> formations </a:t>
            </a:r>
            <a:r>
              <a:rPr lang="en-US" sz="1470" dirty="0" err="1">
                <a:solidFill>
                  <a:srgbClr val="D8D8D8">
                    <a:lumMod val="10000"/>
                  </a:srgbClr>
                </a:solidFill>
                <a:latin typeface="Arial" panose="020B0604020202020204" pitchFamily="34" charset="0"/>
                <a:cs typeface="Arial" panose="020B0604020202020204" pitchFamily="34" charset="0"/>
              </a:rPr>
              <a:t>ou</a:t>
            </a:r>
            <a:r>
              <a:rPr lang="en-US" sz="1470" dirty="0">
                <a:solidFill>
                  <a:srgbClr val="D8D8D8">
                    <a:lumMod val="10000"/>
                  </a:srgbClr>
                </a:solidFill>
                <a:latin typeface="Arial" panose="020B0604020202020204" pitchFamily="34" charset="0"/>
                <a:cs typeface="Arial" panose="020B0604020202020204" pitchFamily="34" charset="0"/>
              </a:rPr>
              <a:t> </a:t>
            </a:r>
            <a:r>
              <a:rPr lang="en-US" sz="1470" dirty="0" err="1">
                <a:solidFill>
                  <a:srgbClr val="D8D8D8">
                    <a:lumMod val="10000"/>
                  </a:srgbClr>
                </a:solidFill>
                <a:latin typeface="Arial" panose="020B0604020202020204" pitchFamily="34" charset="0"/>
                <a:cs typeface="Arial" panose="020B0604020202020204" pitchFamily="34" charset="0"/>
              </a:rPr>
              <a:t>voulez</a:t>
            </a:r>
            <a:r>
              <a:rPr lang="en-US" sz="1470" dirty="0">
                <a:solidFill>
                  <a:srgbClr val="D8D8D8">
                    <a:lumMod val="10000"/>
                  </a:srgbClr>
                </a:solidFill>
                <a:latin typeface="Arial" panose="020B0604020202020204" pitchFamily="34" charset="0"/>
                <a:cs typeface="Arial" panose="020B0604020202020204" pitchFamily="34" charset="0"/>
              </a:rPr>
              <a:t> </a:t>
            </a:r>
            <a:r>
              <a:rPr lang="en-US" sz="1470" dirty="0" err="1">
                <a:solidFill>
                  <a:srgbClr val="D8D8D8">
                    <a:lumMod val="10000"/>
                  </a:srgbClr>
                </a:solidFill>
                <a:latin typeface="Arial" panose="020B0604020202020204" pitchFamily="34" charset="0"/>
                <a:cs typeface="Arial" panose="020B0604020202020204" pitchFamily="34" charset="0"/>
              </a:rPr>
              <a:t>une</a:t>
            </a:r>
            <a:r>
              <a:rPr lang="en-US" sz="1470" dirty="0">
                <a:solidFill>
                  <a:srgbClr val="D8D8D8">
                    <a:lumMod val="10000"/>
                  </a:srgbClr>
                </a:solidFill>
                <a:latin typeface="Arial" panose="020B0604020202020204" pitchFamily="34" charset="0"/>
                <a:cs typeface="Arial" panose="020B0604020202020204" pitchFamily="34" charset="0"/>
              </a:rPr>
              <a:t> formation </a:t>
            </a:r>
            <a:r>
              <a:rPr lang="en-US" sz="1470" dirty="0" err="1">
                <a:solidFill>
                  <a:srgbClr val="D8D8D8">
                    <a:lumMod val="10000"/>
                  </a:srgbClr>
                </a:solidFill>
                <a:latin typeface="Arial" panose="020B0604020202020204" pitchFamily="34" charset="0"/>
                <a:cs typeface="Arial" panose="020B0604020202020204" pitchFamily="34" charset="0"/>
              </a:rPr>
              <a:t>specifique</a:t>
            </a:r>
            <a:r>
              <a:rPr lang="en-US" sz="1470" dirty="0">
                <a:solidFill>
                  <a:srgbClr val="D8D8D8">
                    <a:lumMod val="10000"/>
                  </a:srgbClr>
                </a:solidFill>
                <a:latin typeface="Arial" panose="020B0604020202020204" pitchFamily="34" charset="0"/>
                <a:cs typeface="Arial" panose="020B0604020202020204" pitchFamily="34" charset="0"/>
              </a:rPr>
              <a:t> pour </a:t>
            </a:r>
            <a:r>
              <a:rPr lang="en-US" sz="1470" dirty="0" err="1">
                <a:solidFill>
                  <a:srgbClr val="D8D8D8">
                    <a:lumMod val="10000"/>
                  </a:srgbClr>
                </a:solidFill>
                <a:latin typeface="Arial" panose="020B0604020202020204" pitchFamily="34" charset="0"/>
                <a:cs typeface="Arial" panose="020B0604020202020204" pitchFamily="34" charset="0"/>
              </a:rPr>
              <a:t>votre</a:t>
            </a:r>
            <a:r>
              <a:rPr lang="en-US" sz="1470" dirty="0">
                <a:solidFill>
                  <a:srgbClr val="D8D8D8">
                    <a:lumMod val="10000"/>
                  </a:srgbClr>
                </a:solidFill>
                <a:latin typeface="Arial" panose="020B0604020202020204" pitchFamily="34" charset="0"/>
                <a:cs typeface="Arial" panose="020B0604020202020204" pitchFamily="34" charset="0"/>
              </a:rPr>
              <a:t> pays, </a:t>
            </a:r>
            <a:r>
              <a:rPr lang="en-US" sz="1470" dirty="0" err="1">
                <a:solidFill>
                  <a:srgbClr val="D8D8D8">
                    <a:lumMod val="10000"/>
                  </a:srgbClr>
                </a:solidFill>
                <a:latin typeface="Arial" panose="020B0604020202020204" pitchFamily="34" charset="0"/>
                <a:cs typeface="Arial" panose="020B0604020202020204" pitchFamily="34" charset="0"/>
              </a:rPr>
              <a:t>prenez</a:t>
            </a:r>
            <a:r>
              <a:rPr lang="en-US" sz="1470" dirty="0">
                <a:solidFill>
                  <a:srgbClr val="D8D8D8">
                    <a:lumMod val="10000"/>
                  </a:srgbClr>
                </a:solidFill>
                <a:latin typeface="Arial" panose="020B0604020202020204" pitchFamily="34" charset="0"/>
                <a:cs typeface="Arial" panose="020B0604020202020204" pitchFamily="34" charset="0"/>
              </a:rPr>
              <a:t> contact avec nous </a:t>
            </a:r>
            <a:r>
              <a:rPr lang="en-US" sz="1470" dirty="0" err="1">
                <a:solidFill>
                  <a:srgbClr val="D8D8D8">
                    <a:lumMod val="10000"/>
                  </a:srgbClr>
                </a:solidFill>
                <a:latin typeface="Arial" panose="020B0604020202020204" pitchFamily="34" charset="0"/>
                <a:cs typeface="Arial" panose="020B0604020202020204" pitchFamily="34" charset="0"/>
              </a:rPr>
              <a:t>en</a:t>
            </a:r>
            <a:r>
              <a:rPr lang="en-US" sz="1470" dirty="0">
                <a:solidFill>
                  <a:srgbClr val="D8D8D8">
                    <a:lumMod val="10000"/>
                  </a:srgbClr>
                </a:solidFill>
                <a:latin typeface="Arial" panose="020B0604020202020204" pitchFamily="34" charset="0"/>
                <a:cs typeface="Arial" panose="020B0604020202020204" pitchFamily="34" charset="0"/>
              </a:rPr>
              <a:t> nous </a:t>
            </a:r>
            <a:r>
              <a:rPr lang="en-US" sz="1470" dirty="0" err="1">
                <a:solidFill>
                  <a:srgbClr val="D8D8D8">
                    <a:lumMod val="10000"/>
                  </a:srgbClr>
                </a:solidFill>
                <a:latin typeface="Arial" panose="020B0604020202020204" pitchFamily="34" charset="0"/>
                <a:cs typeface="Arial" panose="020B0604020202020204" pitchFamily="34" charset="0"/>
              </a:rPr>
              <a:t>écrivant</a:t>
            </a:r>
            <a:r>
              <a:rPr lang="en-US" sz="1470" dirty="0">
                <a:solidFill>
                  <a:srgbClr val="D8D8D8">
                    <a:lumMod val="10000"/>
                  </a:srgbClr>
                </a:solidFill>
                <a:latin typeface="Arial" panose="020B0604020202020204" pitchFamily="34" charset="0"/>
                <a:cs typeface="Arial" panose="020B0604020202020204" pitchFamily="34" charset="0"/>
              </a:rPr>
              <a:t> </a:t>
            </a:r>
            <a:r>
              <a:rPr lang="en-US" sz="1470" dirty="0" err="1">
                <a:solidFill>
                  <a:srgbClr val="D8D8D8">
                    <a:lumMod val="10000"/>
                  </a:srgbClr>
                </a:solidFill>
                <a:latin typeface="Arial" panose="020B0604020202020204" pitchFamily="34" charset="0"/>
                <a:cs typeface="Arial" panose="020B0604020202020204" pitchFamily="34" charset="0"/>
              </a:rPr>
              <a:t>à</a:t>
            </a:r>
            <a:r>
              <a:rPr lang="en-US" sz="1470" dirty="0">
                <a:solidFill>
                  <a:srgbClr val="D8D8D8">
                    <a:lumMod val="10000"/>
                  </a:srgbClr>
                </a:solidFill>
                <a:latin typeface="Arial" panose="020B0604020202020204" pitchFamily="34" charset="0"/>
                <a:cs typeface="Arial" panose="020B0604020202020204" pitchFamily="34" charset="0"/>
              </a:rPr>
              <a:t> </a:t>
            </a:r>
            <a:r>
              <a:rPr lang="en-US" sz="1470" dirty="0">
                <a:solidFill>
                  <a:srgbClr val="D8D8D8">
                    <a:lumMod val="10000"/>
                  </a:srgbClr>
                </a:solidFill>
                <a:latin typeface="Arial" panose="020B0604020202020204" pitchFamily="34" charset="0"/>
                <a:cs typeface="Arial" panose="020B0604020202020204" pitchFamily="34" charset="0"/>
                <a:hlinkClick r:id="rId4"/>
              </a:rPr>
              <a:t>scorecardhub@alma2030.org</a:t>
            </a:r>
            <a:endParaRPr lang="en-US" sz="1470" dirty="0">
              <a:solidFill>
                <a:srgbClr val="D8D8D8">
                  <a:lumMod val="10000"/>
                </a:srgbClr>
              </a:solidFill>
              <a:latin typeface="Arial" panose="020B0604020202020204" pitchFamily="34" charset="0"/>
              <a:cs typeface="Arial" panose="020B0604020202020204" pitchFamily="34" charset="0"/>
            </a:endParaRPr>
          </a:p>
          <a:p>
            <a:pPr defTabSz="896112" fontAlgn="auto">
              <a:spcBef>
                <a:spcPts val="196"/>
              </a:spcBef>
              <a:spcAft>
                <a:spcPts val="392"/>
              </a:spcAft>
            </a:pPr>
            <a:endParaRPr lang="en-US" sz="1470" dirty="0">
              <a:solidFill>
                <a:srgbClr val="D8D8D8">
                  <a:lumMod val="10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531813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6"/>
            <a:ext cx="8065294" cy="977287"/>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GB" sz="2352" dirty="0"/>
              <a:t>Des resources pour </a:t>
            </a:r>
            <a:r>
              <a:rPr lang="en-GB" sz="2352" dirty="0" err="1"/>
              <a:t>vous</a:t>
            </a:r>
            <a:r>
              <a:rPr lang="en-GB" sz="2352" dirty="0"/>
              <a:t> assister avec </a:t>
            </a:r>
            <a:r>
              <a:rPr lang="en-GB" sz="2352" dirty="0" err="1"/>
              <a:t>vos</a:t>
            </a:r>
            <a:r>
              <a:rPr lang="en-GB" sz="2352" dirty="0"/>
              <a:t> </a:t>
            </a:r>
            <a:r>
              <a:rPr lang="en-GB" sz="2352" dirty="0" err="1"/>
              <a:t>cartes</a:t>
            </a:r>
            <a:r>
              <a:rPr lang="en-GB" sz="2352" dirty="0"/>
              <a:t> de score 
</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defTabSz="672067" fontAlgn="auto">
              <a:spcAft>
                <a:spcPts val="0"/>
              </a:spcAft>
            </a:pPr>
            <a:r>
              <a:rPr lang="en-US" sz="2352" b="0" dirty="0">
                <a:solidFill>
                  <a:prstClr val="black">
                    <a:lumMod val="65000"/>
                    <a:lumOff val="35000"/>
                  </a:prstClr>
                </a:solidFill>
              </a:rPr>
              <a:t>Guides et </a:t>
            </a:r>
            <a:r>
              <a:rPr lang="en-US" sz="2352" b="0" dirty="0" err="1">
                <a:solidFill>
                  <a:prstClr val="black">
                    <a:lumMod val="65000"/>
                    <a:lumOff val="35000"/>
                  </a:prstClr>
                </a:solidFill>
              </a:rPr>
              <a:t>boîtes</a:t>
            </a:r>
            <a:r>
              <a:rPr lang="en-US" sz="2352" b="0" dirty="0">
                <a:solidFill>
                  <a:prstClr val="black">
                    <a:lumMod val="65000"/>
                    <a:lumOff val="35000"/>
                  </a:prstClr>
                </a:solidFill>
              </a:rPr>
              <a:t> </a:t>
            </a:r>
            <a:r>
              <a:rPr lang="en-US" sz="2352" b="0" dirty="0" err="1">
                <a:solidFill>
                  <a:prstClr val="black">
                    <a:lumMod val="65000"/>
                    <a:lumOff val="35000"/>
                  </a:prstClr>
                </a:solidFill>
              </a:rPr>
              <a:t>à</a:t>
            </a:r>
            <a:r>
              <a:rPr lang="en-US" sz="2352" b="0" dirty="0">
                <a:solidFill>
                  <a:prstClr val="black">
                    <a:lumMod val="65000"/>
                    <a:lumOff val="35000"/>
                  </a:prstClr>
                </a:solidFill>
              </a:rPr>
              <a:t> </a:t>
            </a:r>
            <a:r>
              <a:rPr lang="en-US" sz="2352" b="0" dirty="0" err="1">
                <a:solidFill>
                  <a:prstClr val="black">
                    <a:lumMod val="65000"/>
                    <a:lumOff val="35000"/>
                  </a:prstClr>
                </a:solidFill>
              </a:rPr>
              <a:t>outils</a:t>
            </a:r>
            <a:endParaRPr lang="en-GB" sz="2352" b="0" dirty="0">
              <a:solidFill>
                <a:prstClr val="black">
                  <a:lumMod val="65000"/>
                  <a:lumOff val="35000"/>
                </a:prstClr>
              </a:solidFill>
            </a:endParaRPr>
          </a:p>
        </p:txBody>
      </p:sp>
      <p:sp>
        <p:nvSpPr>
          <p:cNvPr id="4" name="Text Placeholder 5">
            <a:extLst>
              <a:ext uri="{FF2B5EF4-FFF2-40B4-BE49-F238E27FC236}">
                <a16:creationId xmlns:a16="http://schemas.microsoft.com/office/drawing/2014/main" id="{2B697F64-A873-B64F-8F79-CD36E601FD53}"/>
              </a:ext>
            </a:extLst>
          </p:cNvPr>
          <p:cNvSpPr txBox="1">
            <a:spLocks/>
          </p:cNvSpPr>
          <p:nvPr/>
        </p:nvSpPr>
        <p:spPr>
          <a:xfrm>
            <a:off x="461524" y="1820629"/>
            <a:ext cx="4006487" cy="4298252"/>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672067" fontAlgn="auto">
              <a:lnSpc>
                <a:spcPct val="100000"/>
              </a:lnSpc>
              <a:spcBef>
                <a:spcPts val="196"/>
              </a:spcBef>
              <a:spcAft>
                <a:spcPts val="392"/>
              </a:spcAft>
            </a:pPr>
            <a:r>
              <a:rPr lang="en-US" sz="1470" b="1" dirty="0">
                <a:solidFill>
                  <a:srgbClr val="D8D8D8">
                    <a:lumMod val="10000"/>
                  </a:srgbClr>
                </a:solidFill>
              </a:rPr>
              <a:t>Des guides </a:t>
            </a:r>
            <a:r>
              <a:rPr lang="en-US" sz="1470" dirty="0" err="1">
                <a:solidFill>
                  <a:srgbClr val="D8D8D8">
                    <a:lumMod val="10000"/>
                  </a:srgbClr>
                </a:solidFill>
              </a:rPr>
              <a:t>sont</a:t>
            </a:r>
            <a:r>
              <a:rPr lang="en-US" sz="1470" dirty="0">
                <a:solidFill>
                  <a:srgbClr val="D8D8D8">
                    <a:lumMod val="10000"/>
                  </a:srgbClr>
                </a:solidFill>
              </a:rPr>
              <a:t> </a:t>
            </a:r>
            <a:r>
              <a:rPr lang="en-US" sz="1470" dirty="0" err="1">
                <a:solidFill>
                  <a:srgbClr val="D8D8D8">
                    <a:lumMod val="10000"/>
                  </a:srgbClr>
                </a:solidFill>
              </a:rPr>
              <a:t>disponibles</a:t>
            </a:r>
            <a:r>
              <a:rPr lang="en-US" sz="1470" dirty="0">
                <a:solidFill>
                  <a:srgbClr val="D8D8D8">
                    <a:lumMod val="10000"/>
                  </a:srgbClr>
                </a:solidFill>
              </a:rPr>
              <a:t> pour aider les pays </a:t>
            </a:r>
            <a:r>
              <a:rPr lang="en-US" sz="1470" dirty="0" err="1">
                <a:solidFill>
                  <a:srgbClr val="D8D8D8">
                    <a:lumMod val="10000"/>
                  </a:srgbClr>
                </a:solidFill>
              </a:rPr>
              <a:t>à</a:t>
            </a:r>
            <a:r>
              <a:rPr lang="en-US" sz="1470" dirty="0">
                <a:solidFill>
                  <a:srgbClr val="D8D8D8">
                    <a:lumMod val="10000"/>
                  </a:srgbClr>
                </a:solidFill>
              </a:rPr>
              <a:t> </a:t>
            </a:r>
            <a:r>
              <a:rPr lang="en-US" sz="1470" dirty="0" err="1">
                <a:solidFill>
                  <a:srgbClr val="D8D8D8">
                    <a:lumMod val="10000"/>
                  </a:srgbClr>
                </a:solidFill>
              </a:rPr>
              <a:t>créer</a:t>
            </a:r>
            <a:r>
              <a:rPr lang="en-US" sz="1470" dirty="0">
                <a:solidFill>
                  <a:srgbClr val="D8D8D8">
                    <a:lumMod val="10000"/>
                  </a:srgbClr>
                </a:solidFill>
              </a:rPr>
              <a:t>, </a:t>
            </a:r>
            <a:r>
              <a:rPr lang="en-US" sz="1470" dirty="0" err="1">
                <a:solidFill>
                  <a:srgbClr val="D8D8D8">
                    <a:lumMod val="10000"/>
                  </a:srgbClr>
                </a:solidFill>
              </a:rPr>
              <a:t>analyser</a:t>
            </a:r>
            <a:r>
              <a:rPr lang="en-US" sz="1470" dirty="0">
                <a:solidFill>
                  <a:srgbClr val="D8D8D8">
                    <a:lumMod val="10000"/>
                  </a:srgbClr>
                </a:solidFill>
              </a:rPr>
              <a:t> et </a:t>
            </a:r>
            <a:r>
              <a:rPr lang="en-US" sz="1470" dirty="0" err="1">
                <a:solidFill>
                  <a:srgbClr val="D8D8D8">
                    <a:lumMod val="10000"/>
                  </a:srgbClr>
                </a:solidFill>
              </a:rPr>
              <a:t>améliorer</a:t>
            </a:r>
            <a:r>
              <a:rPr lang="en-US" sz="1470" dirty="0">
                <a:solidFill>
                  <a:srgbClr val="D8D8D8">
                    <a:lumMod val="10000"/>
                  </a:srgbClr>
                </a:solidFill>
              </a:rPr>
              <a:t> </a:t>
            </a:r>
            <a:r>
              <a:rPr lang="en-US" sz="1470" dirty="0" err="1">
                <a:solidFill>
                  <a:srgbClr val="D8D8D8">
                    <a:lumMod val="10000"/>
                  </a:srgbClr>
                </a:solidFill>
              </a:rPr>
              <a:t>leurs</a:t>
            </a:r>
            <a:r>
              <a:rPr lang="en-US" sz="1470" dirty="0">
                <a:solidFill>
                  <a:srgbClr val="D8D8D8">
                    <a:lumMod val="10000"/>
                  </a:srgbClr>
                </a:solidFill>
              </a:rPr>
              <a:t> </a:t>
            </a:r>
            <a:r>
              <a:rPr lang="en-US" sz="1470" dirty="0" err="1">
                <a:solidFill>
                  <a:srgbClr val="D8D8D8">
                    <a:lumMod val="10000"/>
                  </a:srgbClr>
                </a:solidFill>
              </a:rPr>
              <a:t>cartes</a:t>
            </a:r>
            <a:r>
              <a:rPr lang="en-US" sz="1470" dirty="0">
                <a:solidFill>
                  <a:srgbClr val="D8D8D8">
                    <a:lumMod val="10000"/>
                  </a:srgbClr>
                </a:solidFill>
              </a:rPr>
              <a:t> de score. Nous </a:t>
            </a:r>
            <a:r>
              <a:rPr lang="en-US" sz="1470" dirty="0" err="1">
                <a:solidFill>
                  <a:srgbClr val="D8D8D8">
                    <a:lumMod val="10000"/>
                  </a:srgbClr>
                </a:solidFill>
              </a:rPr>
              <a:t>avons</a:t>
            </a:r>
            <a:r>
              <a:rPr lang="en-US" sz="1470" dirty="0">
                <a:solidFill>
                  <a:srgbClr val="D8D8D8">
                    <a:lumMod val="10000"/>
                  </a:srgbClr>
                </a:solidFill>
              </a:rPr>
              <a:t> déjà mis </a:t>
            </a:r>
            <a:r>
              <a:rPr lang="en-US" sz="1470" dirty="0" err="1">
                <a:solidFill>
                  <a:srgbClr val="D8D8D8">
                    <a:lumMod val="10000"/>
                  </a:srgbClr>
                </a:solidFill>
              </a:rPr>
              <a:t>en</a:t>
            </a:r>
            <a:r>
              <a:rPr lang="en-US" sz="1470" dirty="0">
                <a:solidFill>
                  <a:srgbClr val="D8D8D8">
                    <a:lumMod val="10000"/>
                  </a:srgbClr>
                </a:solidFill>
              </a:rPr>
              <a:t> </a:t>
            </a:r>
            <a:r>
              <a:rPr lang="en-US" sz="1470" dirty="0" err="1">
                <a:solidFill>
                  <a:srgbClr val="D8D8D8">
                    <a:lumMod val="10000"/>
                  </a:srgbClr>
                </a:solidFill>
              </a:rPr>
              <a:t>lignes</a:t>
            </a:r>
            <a:r>
              <a:rPr lang="en-US" sz="1470" dirty="0">
                <a:solidFill>
                  <a:srgbClr val="D8D8D8">
                    <a:lumMod val="10000"/>
                  </a:srgbClr>
                </a:solidFill>
              </a:rPr>
              <a:t> les guides </a:t>
            </a:r>
            <a:r>
              <a:rPr lang="en-US" sz="1470" dirty="0" err="1">
                <a:solidFill>
                  <a:srgbClr val="D8D8D8">
                    <a:lumMod val="10000"/>
                  </a:srgbClr>
                </a:solidFill>
              </a:rPr>
              <a:t>suivants</a:t>
            </a:r>
            <a:r>
              <a:rPr lang="en-US" sz="1470" dirty="0">
                <a:solidFill>
                  <a:srgbClr val="D8D8D8">
                    <a:lumMod val="10000"/>
                  </a:srgbClr>
                </a:solidFill>
              </a:rPr>
              <a:t>:</a:t>
            </a:r>
          </a:p>
          <a:p>
            <a:pPr defTabSz="672067" fontAlgn="auto">
              <a:lnSpc>
                <a:spcPct val="100000"/>
              </a:lnSpc>
              <a:spcBef>
                <a:spcPts val="196"/>
              </a:spcBef>
              <a:spcAft>
                <a:spcPts val="392"/>
              </a:spcAft>
            </a:pPr>
            <a:endParaRPr lang="en-US" sz="1470" b="1" dirty="0">
              <a:solidFill>
                <a:srgbClr val="D8D8D8">
                  <a:lumMod val="10000"/>
                </a:srgbClr>
              </a:solidFill>
            </a:endParaRPr>
          </a:p>
          <a:p>
            <a:pPr defTabSz="672067" fontAlgn="auto">
              <a:lnSpc>
                <a:spcPct val="100000"/>
              </a:lnSpc>
              <a:spcBef>
                <a:spcPts val="196"/>
              </a:spcBef>
              <a:spcAft>
                <a:spcPts val="392"/>
              </a:spcAft>
            </a:pPr>
            <a:r>
              <a:rPr lang="en-US" sz="1470" b="1" dirty="0">
                <a:solidFill>
                  <a:srgbClr val="D8D8D8">
                    <a:lumMod val="10000"/>
                  </a:srgbClr>
                </a:solidFill>
              </a:rPr>
              <a:t>
	</a:t>
            </a:r>
          </a:p>
          <a:p>
            <a:pPr defTabSz="672067" fontAlgn="auto">
              <a:lnSpc>
                <a:spcPct val="100000"/>
              </a:lnSpc>
              <a:spcBef>
                <a:spcPts val="196"/>
              </a:spcBef>
              <a:spcAft>
                <a:spcPts val="392"/>
              </a:spcAft>
            </a:pPr>
            <a:endParaRPr lang="en-US" sz="1470" b="1" dirty="0">
              <a:solidFill>
                <a:srgbClr val="D8D8D8">
                  <a:lumMod val="10000"/>
                </a:srgbClr>
              </a:solidFill>
            </a:endParaRPr>
          </a:p>
          <a:p>
            <a:pPr defTabSz="672067" fontAlgn="auto">
              <a:lnSpc>
                <a:spcPct val="100000"/>
              </a:lnSpc>
              <a:spcBef>
                <a:spcPts val="196"/>
              </a:spcBef>
              <a:spcAft>
                <a:spcPts val="392"/>
              </a:spcAft>
            </a:pPr>
            <a:endParaRPr lang="en-US" sz="1470" b="1" dirty="0">
              <a:solidFill>
                <a:srgbClr val="D8D8D8">
                  <a:lumMod val="10000"/>
                </a:srgbClr>
              </a:solidFill>
            </a:endParaRPr>
          </a:p>
          <a:p>
            <a:pPr defTabSz="672067" fontAlgn="auto">
              <a:lnSpc>
                <a:spcPct val="100000"/>
              </a:lnSpc>
              <a:spcBef>
                <a:spcPts val="196"/>
              </a:spcBef>
              <a:spcAft>
                <a:spcPts val="392"/>
              </a:spcAft>
            </a:pPr>
            <a:r>
              <a:rPr lang="en-US" sz="1470" b="1" dirty="0">
                <a:solidFill>
                  <a:srgbClr val="D8D8D8">
                    <a:lumMod val="10000"/>
                  </a:srgbClr>
                </a:solidFill>
              </a:rPr>
              <a:t>
</a:t>
            </a:r>
            <a:r>
              <a:rPr lang="en-US" sz="1470" dirty="0">
                <a:solidFill>
                  <a:srgbClr val="D8D8D8">
                    <a:lumMod val="10000"/>
                  </a:srgbClr>
                </a:solidFill>
              </a:rPr>
              <a:t>Nous </a:t>
            </a:r>
            <a:r>
              <a:rPr lang="en-US" sz="1470" dirty="0" err="1">
                <a:solidFill>
                  <a:srgbClr val="D8D8D8">
                    <a:lumMod val="10000"/>
                  </a:srgbClr>
                </a:solidFill>
              </a:rPr>
              <a:t>travaillons</a:t>
            </a:r>
            <a:r>
              <a:rPr lang="en-US" sz="1470" dirty="0">
                <a:solidFill>
                  <a:srgbClr val="D8D8D8">
                    <a:lumMod val="10000"/>
                  </a:srgbClr>
                </a:solidFill>
              </a:rPr>
              <a:t> sur de nouveaux guides pour aider les pays, par </a:t>
            </a:r>
            <a:r>
              <a:rPr lang="en-US" sz="1470" dirty="0" err="1">
                <a:solidFill>
                  <a:srgbClr val="D8D8D8">
                    <a:lumMod val="10000"/>
                  </a:srgbClr>
                </a:solidFill>
              </a:rPr>
              <a:t>exemple</a:t>
            </a:r>
            <a:r>
              <a:rPr lang="en-US" sz="1470" dirty="0">
                <a:solidFill>
                  <a:srgbClr val="D8D8D8">
                    <a:lumMod val="10000"/>
                  </a:srgbClr>
                </a:solidFill>
              </a:rPr>
              <a:t>, comment lire et </a:t>
            </a:r>
            <a:r>
              <a:rPr lang="en-US" sz="1470" dirty="0" err="1">
                <a:solidFill>
                  <a:srgbClr val="D8D8D8">
                    <a:lumMod val="10000"/>
                  </a:srgbClr>
                </a:solidFill>
              </a:rPr>
              <a:t>analyser</a:t>
            </a:r>
            <a:r>
              <a:rPr lang="en-US" sz="1470" dirty="0">
                <a:solidFill>
                  <a:srgbClr val="D8D8D8">
                    <a:lumMod val="10000"/>
                  </a:srgbClr>
                </a:solidFill>
              </a:rPr>
              <a:t> </a:t>
            </a:r>
            <a:r>
              <a:rPr lang="en-US" sz="1470" dirty="0" err="1">
                <a:solidFill>
                  <a:srgbClr val="D8D8D8">
                    <a:lumMod val="10000"/>
                  </a:srgbClr>
                </a:solidFill>
              </a:rPr>
              <a:t>une</a:t>
            </a:r>
            <a:r>
              <a:rPr lang="en-US" sz="1470" dirty="0">
                <a:solidFill>
                  <a:srgbClr val="D8D8D8">
                    <a:lumMod val="10000"/>
                  </a:srgbClr>
                </a:solidFill>
              </a:rPr>
              <a:t> carte de score, comment </a:t>
            </a:r>
            <a:r>
              <a:rPr lang="en-US" sz="1470" dirty="0" err="1">
                <a:solidFill>
                  <a:srgbClr val="D8D8D8">
                    <a:lumMod val="10000"/>
                  </a:srgbClr>
                </a:solidFill>
              </a:rPr>
              <a:t>utiliser</a:t>
            </a:r>
            <a:r>
              <a:rPr lang="en-US" sz="1470" dirty="0">
                <a:solidFill>
                  <a:srgbClr val="D8D8D8">
                    <a:lumMod val="10000"/>
                  </a:srgbClr>
                </a:solidFill>
              </a:rPr>
              <a:t> la carte pour mobiliser des resources etc.</a:t>
            </a:r>
            <a:r>
              <a:rPr lang="en-US" sz="1470" b="1" dirty="0">
                <a:solidFill>
                  <a:srgbClr val="D8D8D8">
                    <a:lumMod val="10000"/>
                  </a:srgbClr>
                </a:solidFill>
              </a:rPr>
              <a:t>
</a:t>
            </a:r>
            <a:endParaRPr lang="en-US" sz="1470" dirty="0">
              <a:solidFill>
                <a:srgbClr val="D8D8D8">
                  <a:lumMod val="10000"/>
                </a:srgbClr>
              </a:solidFill>
            </a:endParaRPr>
          </a:p>
        </p:txBody>
      </p:sp>
      <p:pic>
        <p:nvPicPr>
          <p:cNvPr id="5" name="Picture 4">
            <a:extLst>
              <a:ext uri="{FF2B5EF4-FFF2-40B4-BE49-F238E27FC236}">
                <a16:creationId xmlns:a16="http://schemas.microsoft.com/office/drawing/2014/main" id="{F76D5F1A-6394-7143-A0F6-8D615E3D410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91910" y="1820630"/>
            <a:ext cx="3408004" cy="2526954"/>
          </a:xfrm>
          <a:prstGeom prst="rect">
            <a:avLst/>
          </a:prstGeom>
        </p:spPr>
      </p:pic>
      <p:sp>
        <p:nvSpPr>
          <p:cNvPr id="2" name="Rectangle 1">
            <a:extLst>
              <a:ext uri="{FF2B5EF4-FFF2-40B4-BE49-F238E27FC236}">
                <a16:creationId xmlns:a16="http://schemas.microsoft.com/office/drawing/2014/main" id="{202A6B28-3F95-244E-A936-DB16B21A62CF}"/>
              </a:ext>
            </a:extLst>
          </p:cNvPr>
          <p:cNvSpPr/>
          <p:nvPr/>
        </p:nvSpPr>
        <p:spPr>
          <a:xfrm>
            <a:off x="448073" y="2785850"/>
            <a:ext cx="4233100" cy="1675843"/>
          </a:xfrm>
          <a:prstGeom prst="rect">
            <a:avLst/>
          </a:prstGeom>
        </p:spPr>
        <p:txBody>
          <a:bodyPr wrap="square">
            <a:spAutoFit/>
          </a:bodyPr>
          <a:lstStyle/>
          <a:p>
            <a:pPr marL="280035" indent="-280035" defTabSz="896112" fontAlgn="auto">
              <a:spcBef>
                <a:spcPts val="0"/>
              </a:spcBef>
              <a:spcAft>
                <a:spcPts val="0"/>
              </a:spcAft>
              <a:buFont typeface="Arial" panose="020B0604020202020204" pitchFamily="34" charset="0"/>
              <a:buChar char="•"/>
            </a:pPr>
            <a:r>
              <a:rPr lang="en-US" sz="1470" b="1" dirty="0">
                <a:solidFill>
                  <a:srgbClr val="D8D8D8">
                    <a:lumMod val="10000"/>
                  </a:srgbClr>
                </a:solidFill>
                <a:latin typeface="Calibri" panose="020F0502020204030204"/>
              </a:rPr>
              <a:t>Introduction aux </a:t>
            </a:r>
            <a:r>
              <a:rPr lang="en-US" sz="1470" b="1" dirty="0" err="1">
                <a:solidFill>
                  <a:srgbClr val="D8D8D8">
                    <a:lumMod val="10000"/>
                  </a:srgbClr>
                </a:solidFill>
                <a:latin typeface="Calibri" panose="020F0502020204030204"/>
              </a:rPr>
              <a:t>cartes</a:t>
            </a:r>
            <a:r>
              <a:rPr lang="en-US" sz="1470" b="1" dirty="0">
                <a:solidFill>
                  <a:srgbClr val="D8D8D8">
                    <a:lumMod val="10000"/>
                  </a:srgbClr>
                </a:solidFill>
                <a:latin typeface="Calibri" panose="020F0502020204030204"/>
              </a:rPr>
              <a:t> de score </a:t>
            </a:r>
            <a:r>
              <a:rPr lang="en-US" sz="1470" b="1" dirty="0" err="1">
                <a:solidFill>
                  <a:srgbClr val="D8D8D8">
                    <a:lumMod val="10000"/>
                  </a:srgbClr>
                </a:solidFill>
                <a:latin typeface="Calibri" panose="020F0502020204030204"/>
              </a:rPr>
              <a:t>nationales</a:t>
            </a:r>
            <a:r>
              <a:rPr lang="en-US" sz="1470" b="1" dirty="0">
                <a:solidFill>
                  <a:srgbClr val="D8D8D8">
                    <a:lumMod val="10000"/>
                  </a:srgbClr>
                </a:solidFill>
                <a:latin typeface="Calibri" panose="020F0502020204030204"/>
              </a:rPr>
              <a:t>
Comment </a:t>
            </a:r>
            <a:r>
              <a:rPr lang="en-US" sz="1470" b="1" dirty="0" err="1">
                <a:solidFill>
                  <a:srgbClr val="D8D8D8">
                    <a:lumMod val="10000"/>
                  </a:srgbClr>
                </a:solidFill>
                <a:latin typeface="Calibri" panose="020F0502020204030204"/>
              </a:rPr>
              <a:t>créer</a:t>
            </a:r>
            <a:r>
              <a:rPr lang="en-US" sz="1470" b="1" dirty="0">
                <a:solidFill>
                  <a:srgbClr val="D8D8D8">
                    <a:lumMod val="10000"/>
                  </a:srgbClr>
                </a:solidFill>
                <a:latin typeface="Calibri" panose="020F0502020204030204"/>
              </a:rPr>
              <a:t> </a:t>
            </a:r>
            <a:r>
              <a:rPr lang="en-US" sz="1470" b="1" dirty="0" err="1">
                <a:solidFill>
                  <a:srgbClr val="D8D8D8">
                    <a:lumMod val="10000"/>
                  </a:srgbClr>
                </a:solidFill>
                <a:latin typeface="Calibri" panose="020F0502020204030204"/>
              </a:rPr>
              <a:t>une</a:t>
            </a:r>
            <a:r>
              <a:rPr lang="en-US" sz="1470" b="1" dirty="0">
                <a:solidFill>
                  <a:srgbClr val="D8D8D8">
                    <a:lumMod val="10000"/>
                  </a:srgbClr>
                </a:solidFill>
                <a:latin typeface="Calibri" panose="020F0502020204030204"/>
              </a:rPr>
              <a:t> nouvelle carte de score </a:t>
            </a:r>
            <a:r>
              <a:rPr lang="en-US" sz="1470" b="1" dirty="0" err="1">
                <a:solidFill>
                  <a:srgbClr val="D8D8D8">
                    <a:lumMod val="10000"/>
                  </a:srgbClr>
                </a:solidFill>
                <a:latin typeface="Calibri" panose="020F0502020204030204"/>
              </a:rPr>
              <a:t>nationale</a:t>
            </a:r>
            <a:r>
              <a:rPr lang="en-US" sz="1470" b="1" dirty="0">
                <a:solidFill>
                  <a:srgbClr val="D8D8D8">
                    <a:lumMod val="10000"/>
                  </a:srgbClr>
                </a:solidFill>
                <a:latin typeface="Calibri" panose="020F0502020204030204"/>
              </a:rPr>
              <a:t>
Introduction aux </a:t>
            </a:r>
            <a:r>
              <a:rPr lang="en-US" sz="1470" b="1" dirty="0" err="1">
                <a:solidFill>
                  <a:srgbClr val="D8D8D8">
                    <a:lumMod val="10000"/>
                  </a:srgbClr>
                </a:solidFill>
                <a:latin typeface="Calibri" panose="020F0502020204030204"/>
              </a:rPr>
              <a:t>cartes</a:t>
            </a:r>
            <a:r>
              <a:rPr lang="en-US" sz="1470" b="1" dirty="0">
                <a:solidFill>
                  <a:srgbClr val="D8D8D8">
                    <a:lumMod val="10000"/>
                  </a:srgbClr>
                </a:solidFill>
                <a:latin typeface="Calibri" panose="020F0502020204030204"/>
              </a:rPr>
              <a:t> de score </a:t>
            </a:r>
            <a:r>
              <a:rPr lang="en-US" sz="1470" b="1" dirty="0" err="1">
                <a:solidFill>
                  <a:srgbClr val="D8D8D8">
                    <a:lumMod val="10000"/>
                  </a:srgbClr>
                </a:solidFill>
                <a:latin typeface="Calibri" panose="020F0502020204030204"/>
              </a:rPr>
              <a:t>communautaires</a:t>
            </a:r>
            <a:r>
              <a:rPr lang="en-US" sz="1470" b="1" dirty="0">
                <a:solidFill>
                  <a:srgbClr val="D8D8D8">
                    <a:lumMod val="10000"/>
                  </a:srgbClr>
                </a:solidFill>
                <a:latin typeface="Calibri" panose="020F0502020204030204"/>
              </a:rPr>
              <a:t>
</a:t>
            </a:r>
            <a:r>
              <a:rPr lang="en-US" sz="1470" b="1" dirty="0" err="1">
                <a:solidFill>
                  <a:srgbClr val="D8D8D8">
                    <a:lumMod val="10000"/>
                  </a:srgbClr>
                </a:solidFill>
                <a:latin typeface="Calibri" panose="020F0502020204030204"/>
              </a:rPr>
              <a:t>Créer</a:t>
            </a:r>
            <a:r>
              <a:rPr lang="en-US" sz="1470" b="1" dirty="0">
                <a:solidFill>
                  <a:srgbClr val="D8D8D8">
                    <a:lumMod val="10000"/>
                  </a:srgbClr>
                </a:solidFill>
                <a:latin typeface="Calibri" panose="020F0502020204030204"/>
              </a:rPr>
              <a:t> </a:t>
            </a:r>
            <a:r>
              <a:rPr lang="en-US" sz="1470" b="1" dirty="0" err="1">
                <a:solidFill>
                  <a:srgbClr val="D8D8D8">
                    <a:lumMod val="10000"/>
                  </a:srgbClr>
                </a:solidFill>
                <a:latin typeface="Calibri" panose="020F0502020204030204"/>
              </a:rPr>
              <a:t>une</a:t>
            </a:r>
            <a:r>
              <a:rPr lang="en-US" sz="1470" b="1" dirty="0">
                <a:solidFill>
                  <a:srgbClr val="D8D8D8">
                    <a:lumMod val="10000"/>
                  </a:srgbClr>
                </a:solidFill>
                <a:latin typeface="Calibri" panose="020F0502020204030204"/>
              </a:rPr>
              <a:t> nouvelle carte de score </a:t>
            </a:r>
            <a:r>
              <a:rPr lang="en-US" sz="1470" b="1" dirty="0" err="1">
                <a:solidFill>
                  <a:srgbClr val="D8D8D8">
                    <a:lumMod val="10000"/>
                  </a:srgbClr>
                </a:solidFill>
                <a:latin typeface="Calibri" panose="020F0502020204030204"/>
              </a:rPr>
              <a:t>communautaire</a:t>
            </a:r>
            <a:endParaRPr lang="en-US" sz="1764" dirty="0">
              <a:solidFill>
                <a:prstClr val="black"/>
              </a:solidFill>
              <a:latin typeface="Calibri" panose="020F0502020204030204"/>
            </a:endParaRPr>
          </a:p>
        </p:txBody>
      </p:sp>
      <p:sp>
        <p:nvSpPr>
          <p:cNvPr id="7" name="Rectangle 6">
            <a:extLst>
              <a:ext uri="{FF2B5EF4-FFF2-40B4-BE49-F238E27FC236}">
                <a16:creationId xmlns:a16="http://schemas.microsoft.com/office/drawing/2014/main" id="{F1AA1B21-8289-FF43-BE9C-C9333A29A480}"/>
              </a:ext>
            </a:extLst>
          </p:cNvPr>
          <p:cNvSpPr/>
          <p:nvPr/>
        </p:nvSpPr>
        <p:spPr>
          <a:xfrm>
            <a:off x="365532" y="5601127"/>
            <a:ext cx="8134381" cy="844568"/>
          </a:xfrm>
          <a:prstGeom prst="rect">
            <a:avLst/>
          </a:prstGeom>
        </p:spPr>
        <p:txBody>
          <a:bodyPr wrap="square">
            <a:spAutoFit/>
          </a:bodyPr>
          <a:lstStyle/>
          <a:p>
            <a:pPr defTabSz="896112" fontAlgn="auto">
              <a:spcBef>
                <a:spcPts val="196"/>
              </a:spcBef>
              <a:spcAft>
                <a:spcPts val="392"/>
              </a:spcAft>
            </a:pPr>
            <a:r>
              <a:rPr lang="en-US" sz="1470" dirty="0">
                <a:solidFill>
                  <a:srgbClr val="D8D8D8">
                    <a:lumMod val="10000"/>
                  </a:srgbClr>
                </a:solidFill>
                <a:latin typeface="Arial" panose="020B0604020202020204" pitchFamily="34" charset="0"/>
                <a:cs typeface="Arial" panose="020B0604020202020204" pitchFamily="34" charset="0"/>
              </a:rPr>
              <a:t>Si </a:t>
            </a:r>
            <a:r>
              <a:rPr lang="en-US" sz="1470" dirty="0" err="1">
                <a:solidFill>
                  <a:srgbClr val="D8D8D8">
                    <a:lumMod val="10000"/>
                  </a:srgbClr>
                </a:solidFill>
                <a:latin typeface="Arial" panose="020B0604020202020204" pitchFamily="34" charset="0"/>
                <a:cs typeface="Arial" panose="020B0604020202020204" pitchFamily="34" charset="0"/>
              </a:rPr>
              <a:t>vous</a:t>
            </a:r>
            <a:r>
              <a:rPr lang="en-US" sz="1470" dirty="0">
                <a:solidFill>
                  <a:srgbClr val="D8D8D8">
                    <a:lumMod val="10000"/>
                  </a:srgbClr>
                </a:solidFill>
                <a:latin typeface="Arial" panose="020B0604020202020204" pitchFamily="34" charset="0"/>
                <a:cs typeface="Arial" panose="020B0604020202020204" pitchFamily="34" charset="0"/>
              </a:rPr>
              <a:t> </a:t>
            </a:r>
            <a:r>
              <a:rPr lang="en-US" sz="1470" dirty="0" err="1">
                <a:solidFill>
                  <a:srgbClr val="D8D8D8">
                    <a:lumMod val="10000"/>
                  </a:srgbClr>
                </a:solidFill>
                <a:latin typeface="Arial" panose="020B0604020202020204" pitchFamily="34" charset="0"/>
                <a:cs typeface="Arial" panose="020B0604020202020204" pitchFamily="34" charset="0"/>
              </a:rPr>
              <a:t>avez</a:t>
            </a:r>
            <a:r>
              <a:rPr lang="en-US" sz="1470" dirty="0">
                <a:solidFill>
                  <a:srgbClr val="D8D8D8">
                    <a:lumMod val="10000"/>
                  </a:srgbClr>
                </a:solidFill>
                <a:latin typeface="Arial" panose="020B0604020202020204" pitchFamily="34" charset="0"/>
                <a:cs typeface="Arial" panose="020B0604020202020204" pitchFamily="34" charset="0"/>
              </a:rPr>
              <a:t> des suggestions pour de nouveaux guides, </a:t>
            </a:r>
            <a:r>
              <a:rPr lang="en-US" sz="1470" dirty="0" err="1">
                <a:solidFill>
                  <a:srgbClr val="D8D8D8">
                    <a:lumMod val="10000"/>
                  </a:srgbClr>
                </a:solidFill>
                <a:latin typeface="Arial" panose="020B0604020202020204" pitchFamily="34" charset="0"/>
                <a:cs typeface="Arial" panose="020B0604020202020204" pitchFamily="34" charset="0"/>
              </a:rPr>
              <a:t>prenez</a:t>
            </a:r>
            <a:r>
              <a:rPr lang="en-US" sz="1470" dirty="0">
                <a:solidFill>
                  <a:srgbClr val="D8D8D8">
                    <a:lumMod val="10000"/>
                  </a:srgbClr>
                </a:solidFill>
                <a:latin typeface="Arial" panose="020B0604020202020204" pitchFamily="34" charset="0"/>
                <a:cs typeface="Arial" panose="020B0604020202020204" pitchFamily="34" charset="0"/>
              </a:rPr>
              <a:t> contact avec nous </a:t>
            </a:r>
            <a:r>
              <a:rPr lang="en-US" sz="1470" dirty="0" err="1">
                <a:solidFill>
                  <a:srgbClr val="D8D8D8">
                    <a:lumMod val="10000"/>
                  </a:srgbClr>
                </a:solidFill>
                <a:latin typeface="Arial" panose="020B0604020202020204" pitchFamily="34" charset="0"/>
                <a:cs typeface="Arial" panose="020B0604020202020204" pitchFamily="34" charset="0"/>
              </a:rPr>
              <a:t>en</a:t>
            </a:r>
            <a:r>
              <a:rPr lang="en-US" sz="1470" dirty="0">
                <a:solidFill>
                  <a:srgbClr val="D8D8D8">
                    <a:lumMod val="10000"/>
                  </a:srgbClr>
                </a:solidFill>
                <a:latin typeface="Arial" panose="020B0604020202020204" pitchFamily="34" charset="0"/>
                <a:cs typeface="Arial" panose="020B0604020202020204" pitchFamily="34" charset="0"/>
              </a:rPr>
              <a:t> nous </a:t>
            </a:r>
            <a:r>
              <a:rPr lang="en-US" sz="1470" dirty="0" err="1">
                <a:solidFill>
                  <a:srgbClr val="D8D8D8">
                    <a:lumMod val="10000"/>
                  </a:srgbClr>
                </a:solidFill>
                <a:latin typeface="Arial" panose="020B0604020202020204" pitchFamily="34" charset="0"/>
                <a:cs typeface="Arial" panose="020B0604020202020204" pitchFamily="34" charset="0"/>
              </a:rPr>
              <a:t>écrivant</a:t>
            </a:r>
            <a:r>
              <a:rPr lang="en-US" sz="1470" dirty="0">
                <a:solidFill>
                  <a:srgbClr val="D8D8D8">
                    <a:lumMod val="10000"/>
                  </a:srgbClr>
                </a:solidFill>
                <a:latin typeface="Arial" panose="020B0604020202020204" pitchFamily="34" charset="0"/>
                <a:cs typeface="Arial" panose="020B0604020202020204" pitchFamily="34" charset="0"/>
              </a:rPr>
              <a:t> </a:t>
            </a:r>
            <a:r>
              <a:rPr lang="en-US" sz="1470" dirty="0" err="1">
                <a:solidFill>
                  <a:srgbClr val="D8D8D8">
                    <a:lumMod val="10000"/>
                  </a:srgbClr>
                </a:solidFill>
                <a:latin typeface="Arial" panose="020B0604020202020204" pitchFamily="34" charset="0"/>
                <a:cs typeface="Arial" panose="020B0604020202020204" pitchFamily="34" charset="0"/>
              </a:rPr>
              <a:t>à</a:t>
            </a:r>
            <a:r>
              <a:rPr lang="en-US" sz="1470" dirty="0">
                <a:solidFill>
                  <a:srgbClr val="D8D8D8">
                    <a:lumMod val="10000"/>
                  </a:srgbClr>
                </a:solidFill>
                <a:latin typeface="Arial" panose="020B0604020202020204" pitchFamily="34" charset="0"/>
                <a:cs typeface="Arial" panose="020B0604020202020204" pitchFamily="34" charset="0"/>
              </a:rPr>
              <a:t> </a:t>
            </a:r>
            <a:r>
              <a:rPr lang="en-US" sz="1470" dirty="0">
                <a:solidFill>
                  <a:srgbClr val="D8D8D8">
                    <a:lumMod val="10000"/>
                  </a:srgbClr>
                </a:solidFill>
                <a:latin typeface="Arial" panose="020B0604020202020204" pitchFamily="34" charset="0"/>
                <a:cs typeface="Arial" panose="020B0604020202020204" pitchFamily="34" charset="0"/>
                <a:hlinkClick r:id="rId3"/>
              </a:rPr>
              <a:t>scorecardhub@alma2030.org</a:t>
            </a:r>
            <a:r>
              <a:rPr lang="en-US" sz="1470" dirty="0">
                <a:solidFill>
                  <a:srgbClr val="D8D8D8">
                    <a:lumMod val="10000"/>
                  </a:srgbClr>
                </a:solidFill>
                <a:latin typeface="Arial" panose="020B0604020202020204" pitchFamily="34" charset="0"/>
                <a:cs typeface="Arial" panose="020B0604020202020204" pitchFamily="34" charset="0"/>
              </a:rPr>
              <a:t>. </a:t>
            </a:r>
          </a:p>
          <a:p>
            <a:pPr defTabSz="896112" fontAlgn="auto">
              <a:spcBef>
                <a:spcPts val="196"/>
              </a:spcBef>
              <a:spcAft>
                <a:spcPts val="392"/>
              </a:spcAft>
            </a:pPr>
            <a:endParaRPr lang="en-US" sz="1470" dirty="0">
              <a:solidFill>
                <a:srgbClr val="D8D8D8">
                  <a:lumMod val="10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8145757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325763"/>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GB" sz="2352" dirty="0" err="1"/>
              <a:t>Quelques</a:t>
            </a:r>
            <a:r>
              <a:rPr lang="en-GB" sz="2352" dirty="0"/>
              <a:t> liens </a:t>
            </a:r>
            <a:r>
              <a:rPr lang="en-GB" sz="2352" dirty="0" err="1"/>
              <a:t>utiles</a:t>
            </a:r>
            <a:endParaRPr lang="en-GB" sz="2352" dirty="0"/>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defTabSz="672067" fontAlgn="auto">
              <a:spcAft>
                <a:spcPts val="0"/>
              </a:spcAft>
            </a:pPr>
            <a:r>
              <a:rPr lang="en-US" sz="2352" b="0" dirty="0" err="1">
                <a:solidFill>
                  <a:prstClr val="black">
                    <a:lumMod val="65000"/>
                    <a:lumOff val="35000"/>
                  </a:prstClr>
                </a:solidFill>
              </a:rPr>
              <a:t>Autres</a:t>
            </a:r>
            <a:r>
              <a:rPr lang="en-US" sz="2352" b="0" dirty="0">
                <a:solidFill>
                  <a:prstClr val="black">
                    <a:lumMod val="65000"/>
                    <a:lumOff val="35000"/>
                  </a:prstClr>
                </a:solidFill>
              </a:rPr>
              <a:t> resources</a:t>
            </a:r>
            <a:endParaRPr lang="en-GB" sz="2352" b="0" dirty="0">
              <a:solidFill>
                <a:prstClr val="black">
                  <a:lumMod val="65000"/>
                  <a:lumOff val="35000"/>
                </a:prstClr>
              </a:solidFill>
            </a:endParaRPr>
          </a:p>
        </p:txBody>
      </p:sp>
      <p:sp>
        <p:nvSpPr>
          <p:cNvPr id="4" name="Text Placeholder 5">
            <a:extLst>
              <a:ext uri="{FF2B5EF4-FFF2-40B4-BE49-F238E27FC236}">
                <a16:creationId xmlns:a16="http://schemas.microsoft.com/office/drawing/2014/main" id="{4BCD1EC9-8F0A-BA4F-B093-0C5196AF923A}"/>
              </a:ext>
            </a:extLst>
          </p:cNvPr>
          <p:cNvSpPr txBox="1">
            <a:spLocks/>
          </p:cNvSpPr>
          <p:nvPr/>
        </p:nvSpPr>
        <p:spPr>
          <a:xfrm>
            <a:off x="538364" y="1444111"/>
            <a:ext cx="4006487" cy="5042919"/>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0035" indent="-280035" defTabSz="672067" fontAlgn="auto">
              <a:lnSpc>
                <a:spcPct val="100000"/>
              </a:lnSpc>
              <a:spcBef>
                <a:spcPts val="196"/>
              </a:spcBef>
              <a:spcAft>
                <a:spcPts val="392"/>
              </a:spcAft>
              <a:buFont typeface="Arial" panose="020B0604020202020204" pitchFamily="34" charset="0"/>
              <a:buChar char="•"/>
            </a:pPr>
            <a:r>
              <a:rPr lang="en-US" sz="1800" dirty="0" err="1"/>
              <a:t>Vous</a:t>
            </a:r>
            <a:r>
              <a:rPr lang="en-US" sz="1800" dirty="0"/>
              <a:t> </a:t>
            </a:r>
            <a:r>
              <a:rPr lang="en-US" sz="1800" dirty="0" err="1"/>
              <a:t>pouvez</a:t>
            </a:r>
            <a:r>
              <a:rPr lang="en-US" sz="1800" dirty="0"/>
              <a:t> </a:t>
            </a:r>
            <a:r>
              <a:rPr lang="en-US" sz="1800" dirty="0" err="1"/>
              <a:t>télécharger</a:t>
            </a:r>
            <a:r>
              <a:rPr lang="en-US" sz="1800" dirty="0"/>
              <a:t> </a:t>
            </a:r>
            <a:r>
              <a:rPr lang="en-US" sz="1800" dirty="0" err="1"/>
              <a:t>nos</a:t>
            </a:r>
            <a:r>
              <a:rPr lang="en-US" sz="1800" dirty="0"/>
              <a:t> formations: </a:t>
            </a:r>
            <a:r>
              <a:rPr lang="en-US" sz="1800" dirty="0">
                <a:hlinkClick r:id="rId2">
                  <a:extLst>
                    <a:ext uri="{A12FA001-AC4F-418D-AE19-62706E023703}">
                      <ahyp:hlinkClr xmlns:ahyp="http://schemas.microsoft.com/office/drawing/2018/hyperlinkcolor" val="tx"/>
                    </a:ext>
                  </a:extLst>
                </a:hlinkClick>
              </a:rPr>
              <a:t>https://scorecardhub.org/guides-and-toolkits/download-course-content-to-access-when-you-do-not-have-an-internet-connection/</a:t>
            </a:r>
            <a:endParaRPr lang="en-US" sz="1800" dirty="0"/>
          </a:p>
          <a:p>
            <a:pPr marL="280035" indent="-280035" defTabSz="672067" fontAlgn="auto">
              <a:lnSpc>
                <a:spcPct val="100000"/>
              </a:lnSpc>
              <a:spcBef>
                <a:spcPts val="196"/>
              </a:spcBef>
              <a:spcAft>
                <a:spcPts val="392"/>
              </a:spcAft>
              <a:buFont typeface="Arial" panose="020B0604020202020204" pitchFamily="34" charset="0"/>
              <a:buChar char="•"/>
            </a:pPr>
            <a:endParaRPr lang="en-US" sz="1800" dirty="0">
              <a:hlinkClick r:id="rId2">
                <a:extLst>
                  <a:ext uri="{A12FA001-AC4F-418D-AE19-62706E023703}">
                    <ahyp:hlinkClr xmlns:ahyp="http://schemas.microsoft.com/office/drawing/2018/hyperlinkcolor" val="tx"/>
                  </a:ext>
                </a:extLst>
              </a:hlinkClick>
            </a:endParaRPr>
          </a:p>
          <a:p>
            <a:pPr marL="280035" indent="-280035" defTabSz="672067" fontAlgn="auto">
              <a:lnSpc>
                <a:spcPct val="100000"/>
              </a:lnSpc>
              <a:spcBef>
                <a:spcPts val="196"/>
              </a:spcBef>
              <a:spcAft>
                <a:spcPts val="392"/>
              </a:spcAft>
              <a:buFont typeface="Arial" panose="020B0604020202020204" pitchFamily="34" charset="0"/>
              <a:buChar char="•"/>
            </a:pPr>
            <a:r>
              <a:rPr lang="en-US" sz="1800" dirty="0" err="1"/>
              <a:t>Vous</a:t>
            </a:r>
            <a:r>
              <a:rPr lang="en-US" sz="1800" dirty="0"/>
              <a:t> </a:t>
            </a:r>
            <a:r>
              <a:rPr lang="en-US" sz="1800" dirty="0" err="1"/>
              <a:t>pouvez</a:t>
            </a:r>
            <a:r>
              <a:rPr lang="en-US" sz="1800" dirty="0"/>
              <a:t> consulter </a:t>
            </a:r>
            <a:r>
              <a:rPr lang="en-US" sz="1800" dirty="0" err="1"/>
              <a:t>toutes</a:t>
            </a:r>
            <a:r>
              <a:rPr lang="en-US" sz="1800" dirty="0"/>
              <a:t> les </a:t>
            </a:r>
            <a:r>
              <a:rPr lang="en-US" sz="1800" dirty="0" err="1"/>
              <a:t>cartes</a:t>
            </a:r>
            <a:r>
              <a:rPr lang="en-US" sz="1800" dirty="0"/>
              <a:t> de score des pays. </a:t>
            </a:r>
            <a:r>
              <a:rPr lang="en-US" sz="1800" dirty="0">
                <a:hlinkClick r:id="rId3">
                  <a:extLst>
                    <a:ext uri="{A12FA001-AC4F-418D-AE19-62706E023703}">
                      <ahyp:hlinkClr xmlns:ahyp="http://schemas.microsoft.com/office/drawing/2018/hyperlinkcolor" val="tx"/>
                    </a:ext>
                  </a:extLst>
                </a:hlinkClick>
              </a:rPr>
              <a:t>https://scorecardhub.org/fr/cartes-de-score/</a:t>
            </a:r>
            <a:endParaRPr lang="en-US" sz="1800" dirty="0"/>
          </a:p>
          <a:p>
            <a:pPr defTabSz="672067" fontAlgn="auto">
              <a:lnSpc>
                <a:spcPct val="100000"/>
              </a:lnSpc>
              <a:spcBef>
                <a:spcPts val="196"/>
              </a:spcBef>
              <a:spcAft>
                <a:spcPts val="392"/>
              </a:spcAft>
            </a:pPr>
            <a:endParaRPr lang="en-US" sz="1800" dirty="0"/>
          </a:p>
          <a:p>
            <a:pPr marL="280035" indent="-280035" defTabSz="672067" fontAlgn="auto">
              <a:lnSpc>
                <a:spcPct val="100000"/>
              </a:lnSpc>
              <a:spcBef>
                <a:spcPts val="196"/>
              </a:spcBef>
              <a:spcAft>
                <a:spcPts val="392"/>
              </a:spcAft>
              <a:buFont typeface="Arial" panose="020B0604020202020204" pitchFamily="34" charset="0"/>
              <a:buChar char="•"/>
            </a:pPr>
            <a:r>
              <a:rPr lang="en-US" sz="1800" dirty="0" err="1"/>
              <a:t>Vous</a:t>
            </a:r>
            <a:r>
              <a:rPr lang="en-US" sz="1800" dirty="0"/>
              <a:t> </a:t>
            </a:r>
            <a:r>
              <a:rPr lang="en-US" sz="1800" dirty="0" err="1"/>
              <a:t>pouvez</a:t>
            </a:r>
            <a:r>
              <a:rPr lang="en-US" sz="1800" dirty="0"/>
              <a:t> consulter </a:t>
            </a:r>
            <a:r>
              <a:rPr lang="en-US" sz="1800" dirty="0" err="1"/>
              <a:t>toutes</a:t>
            </a:r>
            <a:r>
              <a:rPr lang="en-US" sz="1800" dirty="0"/>
              <a:t> les </a:t>
            </a:r>
            <a:r>
              <a:rPr lang="en-US" sz="1800" dirty="0" err="1"/>
              <a:t>bonnes</a:t>
            </a:r>
            <a:r>
              <a:rPr lang="en-US" sz="1800" dirty="0"/>
              <a:t> pratiques </a:t>
            </a:r>
            <a:r>
              <a:rPr lang="en-US" sz="1800" dirty="0" err="1"/>
              <a:t>ici</a:t>
            </a:r>
            <a:r>
              <a:rPr lang="en-US" sz="1800" dirty="0"/>
              <a:t>: </a:t>
            </a:r>
            <a:r>
              <a:rPr lang="en-US" sz="1800" dirty="0">
                <a:hlinkClick r:id="rId4">
                  <a:extLst>
                    <a:ext uri="{A12FA001-AC4F-418D-AE19-62706E023703}">
                      <ahyp:hlinkClr xmlns:ahyp="http://schemas.microsoft.com/office/drawing/2018/hyperlinkcolor" val="tx"/>
                    </a:ext>
                  </a:extLst>
                </a:hlinkClick>
              </a:rPr>
              <a:t>https://scorecardhub.org/fr/bonnes-pratiques</a:t>
            </a:r>
            <a:r>
              <a:rPr lang="en-US" sz="1470" dirty="0">
                <a:solidFill>
                  <a:srgbClr val="7030A0"/>
                </a:solidFill>
                <a:hlinkClick r:id="rId4">
                  <a:extLst>
                    <a:ext uri="{A12FA001-AC4F-418D-AE19-62706E023703}">
                      <ahyp:hlinkClr xmlns:ahyp="http://schemas.microsoft.com/office/drawing/2018/hyperlinkcolor" val="tx"/>
                    </a:ext>
                  </a:extLst>
                </a:hlinkClick>
              </a:rPr>
              <a:t>/</a:t>
            </a:r>
            <a:endParaRPr lang="en-US" sz="1470" dirty="0">
              <a:solidFill>
                <a:srgbClr val="D8D8D8">
                  <a:lumMod val="10000"/>
                </a:srgbClr>
              </a:solidFill>
            </a:endParaRPr>
          </a:p>
          <a:p>
            <a:pPr marL="280035" indent="-280035" defTabSz="672067" fontAlgn="auto">
              <a:lnSpc>
                <a:spcPct val="100000"/>
              </a:lnSpc>
              <a:spcBef>
                <a:spcPts val="196"/>
              </a:spcBef>
              <a:spcAft>
                <a:spcPts val="392"/>
              </a:spcAft>
              <a:buFont typeface="Arial" panose="020B0604020202020204" pitchFamily="34" charset="0"/>
              <a:buChar char="•"/>
            </a:pPr>
            <a:endParaRPr lang="en-US" sz="1470" dirty="0">
              <a:solidFill>
                <a:srgbClr val="D8D8D8">
                  <a:lumMod val="10000"/>
                </a:srgbClr>
              </a:solidFill>
            </a:endParaRPr>
          </a:p>
        </p:txBody>
      </p:sp>
      <p:pic>
        <p:nvPicPr>
          <p:cNvPr id="7" name="Picture 6">
            <a:extLst>
              <a:ext uri="{FF2B5EF4-FFF2-40B4-BE49-F238E27FC236}">
                <a16:creationId xmlns:a16="http://schemas.microsoft.com/office/drawing/2014/main" id="{10D94E3C-0612-0F41-B2A5-EB4DBC3768C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091910" y="1820629"/>
            <a:ext cx="3526303" cy="2723652"/>
          </a:xfrm>
          <a:prstGeom prst="rect">
            <a:avLst/>
          </a:prstGeom>
        </p:spPr>
      </p:pic>
    </p:spTree>
    <p:extLst>
      <p:ext uri="{BB962C8B-B14F-4D97-AF65-F5344CB8AC3E}">
        <p14:creationId xmlns:p14="http://schemas.microsoft.com/office/powerpoint/2010/main" val="118423922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325763"/>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GB" sz="2352" dirty="0"/>
              <a:t>Nous </a:t>
            </a:r>
            <a:r>
              <a:rPr lang="en-GB" sz="2352" dirty="0" err="1"/>
              <a:t>allons</a:t>
            </a:r>
            <a:r>
              <a:rPr lang="en-GB" sz="2352" dirty="0"/>
              <a:t> </a:t>
            </a:r>
            <a:r>
              <a:rPr lang="en-GB" sz="2352" dirty="0" err="1"/>
              <a:t>maintenant</a:t>
            </a:r>
            <a:r>
              <a:rPr lang="en-GB" sz="2352" dirty="0"/>
              <a:t> faire </a:t>
            </a:r>
            <a:r>
              <a:rPr lang="en-GB" sz="2352" dirty="0" err="1"/>
              <a:t>une</a:t>
            </a:r>
            <a:r>
              <a:rPr lang="en-GB" sz="2352" dirty="0"/>
              <a:t> demo du site</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defTabSz="672067" fontAlgn="auto">
              <a:spcAft>
                <a:spcPts val="0"/>
              </a:spcAft>
            </a:pPr>
            <a:r>
              <a:rPr lang="en-US" sz="2352" b="0" dirty="0">
                <a:solidFill>
                  <a:prstClr val="black">
                    <a:lumMod val="65000"/>
                    <a:lumOff val="35000"/>
                  </a:prstClr>
                </a:solidFill>
              </a:rPr>
              <a:t>Demonstration</a:t>
            </a:r>
            <a:endParaRPr lang="en-GB" sz="2352" b="0" dirty="0">
              <a:solidFill>
                <a:prstClr val="black">
                  <a:lumMod val="65000"/>
                  <a:lumOff val="35000"/>
                </a:prstClr>
              </a:solidFill>
            </a:endParaRPr>
          </a:p>
        </p:txBody>
      </p:sp>
      <p:sp>
        <p:nvSpPr>
          <p:cNvPr id="2" name="Rectangle 1">
            <a:extLst>
              <a:ext uri="{FF2B5EF4-FFF2-40B4-BE49-F238E27FC236}">
                <a16:creationId xmlns:a16="http://schemas.microsoft.com/office/drawing/2014/main" id="{D80630F5-9F8B-3D46-A70A-3C12C899ACFB}"/>
              </a:ext>
            </a:extLst>
          </p:cNvPr>
          <p:cNvSpPr/>
          <p:nvPr/>
        </p:nvSpPr>
        <p:spPr>
          <a:xfrm>
            <a:off x="341950" y="1910399"/>
            <a:ext cx="8065294" cy="3183668"/>
          </a:xfrm>
          <a:prstGeom prst="rect">
            <a:avLst/>
          </a:prstGeom>
          <a:solidFill>
            <a:schemeClr val="accent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r>
              <a:rPr lang="en-US" sz="4312" b="1" dirty="0">
                <a:solidFill>
                  <a:prstClr val="black"/>
                </a:solidFill>
                <a:latin typeface="Arial" panose="020B0604020202020204" pitchFamily="34" charset="0"/>
                <a:cs typeface="Arial" panose="020B0604020202020204" pitchFamily="34" charset="0"/>
              </a:rPr>
              <a:t>https://scorecardhub.org/fr/</a:t>
            </a:r>
          </a:p>
        </p:txBody>
      </p:sp>
    </p:spTree>
    <p:extLst>
      <p:ext uri="{BB962C8B-B14F-4D97-AF65-F5344CB8AC3E}">
        <p14:creationId xmlns:p14="http://schemas.microsoft.com/office/powerpoint/2010/main" val="72511550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idx="4294967295"/>
          </p:nvPr>
        </p:nvSpPr>
        <p:spPr>
          <a:xfrm>
            <a:off x="447278" y="783530"/>
            <a:ext cx="8066088" cy="325438"/>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GB" sz="2352" dirty="0" err="1"/>
              <a:t>Créer</a:t>
            </a:r>
            <a:r>
              <a:rPr lang="en-GB" sz="2352" dirty="0"/>
              <a:t> un </a:t>
            </a:r>
            <a:r>
              <a:rPr lang="en-GB" sz="2352" dirty="0" err="1"/>
              <a:t>compte</a:t>
            </a:r>
            <a:endParaRPr lang="en-GB" sz="2352" dirty="0"/>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defTabSz="672067" fontAlgn="auto">
              <a:spcAft>
                <a:spcPts val="0"/>
              </a:spcAft>
            </a:pPr>
            <a:r>
              <a:rPr lang="en-US" sz="2352" b="0" dirty="0" err="1">
                <a:solidFill>
                  <a:prstClr val="black">
                    <a:lumMod val="65000"/>
                    <a:lumOff val="35000"/>
                  </a:prstClr>
                </a:solidFill>
              </a:rPr>
              <a:t>Exercice</a:t>
            </a:r>
            <a:r>
              <a:rPr lang="en-US" sz="2352" b="0" dirty="0">
                <a:solidFill>
                  <a:prstClr val="black">
                    <a:lumMod val="65000"/>
                    <a:lumOff val="35000"/>
                  </a:prstClr>
                </a:solidFill>
              </a:rPr>
              <a:t> de </a:t>
            </a:r>
            <a:r>
              <a:rPr lang="en-US" sz="2352" b="0" dirty="0" err="1">
                <a:solidFill>
                  <a:prstClr val="black">
                    <a:lumMod val="65000"/>
                    <a:lumOff val="35000"/>
                  </a:prstClr>
                </a:solidFill>
              </a:rPr>
              <a:t>compréhension</a:t>
            </a:r>
            <a:endParaRPr lang="en-GB" sz="2352" b="0" dirty="0">
              <a:solidFill>
                <a:prstClr val="black">
                  <a:lumMod val="65000"/>
                  <a:lumOff val="35000"/>
                </a:prstClr>
              </a:solidFill>
            </a:endParaRPr>
          </a:p>
        </p:txBody>
      </p:sp>
      <p:sp>
        <p:nvSpPr>
          <p:cNvPr id="4" name="Rectangle 3">
            <a:extLst>
              <a:ext uri="{FF2B5EF4-FFF2-40B4-BE49-F238E27FC236}">
                <a16:creationId xmlns:a16="http://schemas.microsoft.com/office/drawing/2014/main" id="{CF2FA215-2A09-0747-8D51-1DF001CA8EDF}"/>
              </a:ext>
            </a:extLst>
          </p:cNvPr>
          <p:cNvSpPr/>
          <p:nvPr/>
        </p:nvSpPr>
        <p:spPr>
          <a:xfrm>
            <a:off x="557103" y="1332622"/>
            <a:ext cx="8065294" cy="4620856"/>
          </a:xfrm>
          <a:prstGeom prst="rect">
            <a:avLst/>
          </a:prstGeom>
          <a:solidFill>
            <a:schemeClr val="accent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211688" rtlCol="0" anchor="ctr"/>
          <a:lstStyle/>
          <a:p>
            <a:pPr marL="504063" indent="-504063" defTabSz="896112" fontAlgn="auto">
              <a:spcBef>
                <a:spcPts val="588"/>
              </a:spcBef>
              <a:spcAft>
                <a:spcPts val="588"/>
              </a:spcAft>
              <a:buFontTx/>
              <a:buAutoNum type="arabicPeriod"/>
            </a:pPr>
            <a:endParaRPr lang="en-US" sz="3136" b="1" dirty="0">
              <a:solidFill>
                <a:prstClr val="black"/>
              </a:solidFill>
              <a:latin typeface="Arial" panose="020B0604020202020204" pitchFamily="34" charset="0"/>
              <a:cs typeface="Arial" panose="020B0604020202020204" pitchFamily="34" charset="0"/>
            </a:endParaRPr>
          </a:p>
          <a:p>
            <a:pPr marL="504063" indent="-504063" defTabSz="896112" fontAlgn="auto">
              <a:spcBef>
                <a:spcPts val="588"/>
              </a:spcBef>
              <a:spcAft>
                <a:spcPts val="588"/>
              </a:spcAft>
              <a:buFontTx/>
              <a:buAutoNum type="arabicPeriod"/>
            </a:pPr>
            <a:r>
              <a:rPr lang="en-US" sz="2500" b="1" dirty="0">
                <a:solidFill>
                  <a:prstClr val="black"/>
                </a:solidFill>
                <a:latin typeface="Arial" panose="020B0604020202020204" pitchFamily="34" charset="0"/>
                <a:cs typeface="Arial" panose="020B0604020202020204" pitchFamily="34" charset="0"/>
              </a:rPr>
              <a:t>Aller sur le site </a:t>
            </a:r>
            <a:r>
              <a:rPr lang="en-US" sz="2500" b="1" dirty="0">
                <a:solidFill>
                  <a:schemeClr val="accent5">
                    <a:lumMod val="50000"/>
                    <a:lumOff val="50000"/>
                  </a:schemeClr>
                </a:solidFill>
                <a:latin typeface="Arial" panose="020B0604020202020204" pitchFamily="34" charset="0"/>
                <a:cs typeface="Arial" panose="020B0604020202020204" pitchFamily="34" charset="0"/>
                <a:hlinkClick r:id="rId2">
                  <a:extLst>
                    <a:ext uri="{A12FA001-AC4F-418D-AE19-62706E023703}">
                      <ahyp:hlinkClr xmlns:ahyp="http://schemas.microsoft.com/office/drawing/2018/hyperlinkcolor" val="tx"/>
                    </a:ext>
                  </a:extLst>
                </a:hlinkClick>
              </a:rPr>
              <a:t>https://scorecardhub.org/fr/</a:t>
            </a:r>
            <a:endParaRPr lang="en-US" sz="2500" b="1" dirty="0">
              <a:solidFill>
                <a:schemeClr val="accent5">
                  <a:lumMod val="50000"/>
                  <a:lumOff val="50000"/>
                </a:schemeClr>
              </a:solidFill>
              <a:latin typeface="Arial" panose="020B0604020202020204" pitchFamily="34" charset="0"/>
              <a:cs typeface="Arial" panose="020B0604020202020204" pitchFamily="34" charset="0"/>
            </a:endParaRPr>
          </a:p>
          <a:p>
            <a:pPr marL="457200" indent="-457200" defTabSz="896112" fontAlgn="auto">
              <a:spcBef>
                <a:spcPts val="588"/>
              </a:spcBef>
              <a:spcAft>
                <a:spcPts val="588"/>
              </a:spcAft>
              <a:buFont typeface="+mj-lt"/>
              <a:buAutoNum type="arabicPeriod"/>
            </a:pPr>
            <a:r>
              <a:rPr lang="en-US" sz="2500" b="1" dirty="0">
                <a:solidFill>
                  <a:prstClr val="black"/>
                </a:solidFill>
                <a:latin typeface="Arial" panose="020B0604020202020204" pitchFamily="34" charset="0"/>
                <a:cs typeface="Arial" panose="020B0604020202020204" pitchFamily="34" charset="0"/>
              </a:rPr>
              <a:t>Cliquer sur Formations</a:t>
            </a:r>
          </a:p>
          <a:p>
            <a:pPr marL="457200" indent="-457200" defTabSz="896112" fontAlgn="auto">
              <a:spcBef>
                <a:spcPts val="588"/>
              </a:spcBef>
              <a:spcAft>
                <a:spcPts val="588"/>
              </a:spcAft>
              <a:buFont typeface="+mj-lt"/>
              <a:buAutoNum type="arabicPeriod"/>
            </a:pPr>
            <a:r>
              <a:rPr lang="en-US" sz="2500" b="1" dirty="0" err="1">
                <a:solidFill>
                  <a:prstClr val="black"/>
                </a:solidFill>
                <a:latin typeface="Arial" panose="020B0604020202020204" pitchFamily="34" charset="0"/>
                <a:cs typeface="Arial" panose="020B0604020202020204" pitchFamily="34" charset="0"/>
              </a:rPr>
              <a:t>Créer</a:t>
            </a:r>
            <a:r>
              <a:rPr lang="en-US" sz="2500" b="1" dirty="0">
                <a:solidFill>
                  <a:prstClr val="black"/>
                </a:solidFill>
                <a:latin typeface="Arial" panose="020B0604020202020204" pitchFamily="34" charset="0"/>
                <a:cs typeface="Arial" panose="020B0604020202020204" pitchFamily="34" charset="0"/>
              </a:rPr>
              <a:t> un </a:t>
            </a:r>
            <a:r>
              <a:rPr lang="en-US" sz="2500" b="1" dirty="0" err="1">
                <a:solidFill>
                  <a:prstClr val="black"/>
                </a:solidFill>
                <a:latin typeface="Arial" panose="020B0604020202020204" pitchFamily="34" charset="0"/>
                <a:cs typeface="Arial" panose="020B0604020202020204" pitchFamily="34" charset="0"/>
              </a:rPr>
              <a:t>Compte</a:t>
            </a:r>
            <a:endParaRPr lang="en-US" sz="2500" b="1" dirty="0">
              <a:solidFill>
                <a:prstClr val="black"/>
              </a:solidFill>
              <a:latin typeface="Arial" panose="020B0604020202020204" pitchFamily="34" charset="0"/>
              <a:cs typeface="Arial" panose="020B0604020202020204" pitchFamily="34" charset="0"/>
            </a:endParaRPr>
          </a:p>
          <a:p>
            <a:pPr marL="457200" indent="-457200" defTabSz="896112" fontAlgn="auto">
              <a:spcBef>
                <a:spcPts val="588"/>
              </a:spcBef>
              <a:spcAft>
                <a:spcPts val="588"/>
              </a:spcAft>
              <a:buFont typeface="+mj-lt"/>
              <a:buAutoNum type="arabicPeriod"/>
            </a:pPr>
            <a:r>
              <a:rPr lang="fr-FR" sz="2500" b="1" i="0" dirty="0">
                <a:solidFill>
                  <a:srgbClr val="0B0C0C"/>
                </a:solidFill>
                <a:effectLst/>
                <a:latin typeface="d-din"/>
              </a:rPr>
              <a:t>Renforcer et améliorer une carte de score</a:t>
            </a:r>
          </a:p>
          <a:p>
            <a:pPr defTabSz="896112" fontAlgn="auto">
              <a:spcBef>
                <a:spcPts val="588"/>
              </a:spcBef>
              <a:spcAft>
                <a:spcPts val="588"/>
              </a:spcAft>
            </a:pPr>
            <a:endParaRPr lang="en-US" sz="4312" b="1" dirty="0">
              <a:solidFill>
                <a:prstClr val="black"/>
              </a:solidFill>
              <a:latin typeface="Arial" panose="020B0604020202020204" pitchFamily="34" charset="0"/>
              <a:cs typeface="Arial" panose="020B0604020202020204" pitchFamily="34" charset="0"/>
            </a:endParaRPr>
          </a:p>
          <a:p>
            <a:pPr defTabSz="896112" fontAlgn="auto">
              <a:spcBef>
                <a:spcPts val="588"/>
              </a:spcBef>
              <a:spcAft>
                <a:spcPts val="588"/>
              </a:spcAft>
            </a:pPr>
            <a:endParaRPr lang="en-US" sz="4312" b="1"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6250288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74669" y="4243090"/>
            <a:ext cx="6858728" cy="1457579"/>
          </a:xfrm>
        </p:spPr>
        <p:txBody>
          <a:bodyPr/>
          <a:lstStyle/>
          <a:p>
            <a:pPr algn="ctr"/>
            <a:r>
              <a:rPr lang="fr-FR" sz="3200" dirty="0">
                <a:solidFill>
                  <a:schemeClr val="tx1"/>
                </a:solidFill>
              </a:rPr>
              <a:t>Prochaines étapes </a:t>
            </a:r>
            <a:br>
              <a:rPr lang="fr-FR" sz="3136" dirty="0">
                <a:solidFill>
                  <a:schemeClr val="tx1"/>
                </a:solidFill>
              </a:rPr>
            </a:br>
            <a:br>
              <a:rPr lang="fr-FR" sz="3136" dirty="0">
                <a:solidFill>
                  <a:schemeClr val="tx1"/>
                </a:solidFill>
              </a:rPr>
            </a:br>
            <a:endParaRPr lang="en-US" sz="3136" dirty="0">
              <a:solidFill>
                <a:schemeClr val="tx1"/>
              </a:solidFill>
            </a:endParaRPr>
          </a:p>
        </p:txBody>
      </p:sp>
      <p:sp>
        <p:nvSpPr>
          <p:cNvPr id="3" name="Subtitle 2"/>
          <p:cNvSpPr>
            <a:spLocks noGrp="1"/>
          </p:cNvSpPr>
          <p:nvPr>
            <p:ph type="subTitle" idx="1"/>
          </p:nvPr>
        </p:nvSpPr>
        <p:spPr>
          <a:xfrm>
            <a:off x="3561352" y="5352240"/>
            <a:ext cx="2355102" cy="338554"/>
          </a:xfrm>
        </p:spPr>
        <p:txBody>
          <a:bodyPr/>
          <a:lstStyle/>
          <a:p>
            <a:r>
              <a:rPr lang="en-US" dirty="0" err="1"/>
              <a:t>Juin</a:t>
            </a:r>
            <a:r>
              <a:rPr lang="en-US" dirty="0"/>
              <a:t> 2021</a:t>
            </a: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7" name="Picture 6">
            <a:extLst>
              <a:ext uri="{FF2B5EF4-FFF2-40B4-BE49-F238E27FC236}">
                <a16:creationId xmlns:a16="http://schemas.microsoft.com/office/drawing/2014/main" id="{66A24F24-47A6-47CA-97F3-CD3432245E7F}"/>
              </a:ext>
            </a:extLst>
          </p:cNvPr>
          <p:cNvPicPr>
            <a:picLocks noChangeAspect="1"/>
          </p:cNvPicPr>
          <p:nvPr/>
        </p:nvPicPr>
        <p:blipFill>
          <a:blip r:embed="rId3"/>
          <a:stretch>
            <a:fillRect/>
          </a:stretch>
        </p:blipFill>
        <p:spPr>
          <a:xfrm>
            <a:off x="2798190" y="1030681"/>
            <a:ext cx="3011685" cy="3036071"/>
          </a:xfrm>
          <a:prstGeom prst="rect">
            <a:avLst/>
          </a:prstGeom>
        </p:spPr>
      </p:pic>
    </p:spTree>
    <p:extLst>
      <p:ext uri="{BB962C8B-B14F-4D97-AF65-F5344CB8AC3E}">
        <p14:creationId xmlns:p14="http://schemas.microsoft.com/office/powerpoint/2010/main" val="235197019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295412" y="526094"/>
            <a:ext cx="6654067" cy="292388"/>
          </a:xfrm>
        </p:spPr>
        <p:txBody>
          <a:bodyPr vert="horz" wrap="square" lIns="0" tIns="0" rIns="0" bIns="0" numCol="1" anchor="t" anchorCtr="0" compatLnSpc="1">
            <a:prstTxWarp prst="textNoShape">
              <a:avLst/>
            </a:prstTxWarp>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Prochaines étapes</a:t>
            </a:r>
          </a:p>
        </p:txBody>
      </p:sp>
      <p:graphicFrame>
        <p:nvGraphicFramePr>
          <p:cNvPr id="93" name="Table 3">
            <a:extLst>
              <a:ext uri="{FF2B5EF4-FFF2-40B4-BE49-F238E27FC236}">
                <a16:creationId xmlns:a16="http://schemas.microsoft.com/office/drawing/2014/main" id="{3675E753-C2BA-3242-8B8B-BA022E279ACF}"/>
              </a:ext>
            </a:extLst>
          </p:cNvPr>
          <p:cNvGraphicFramePr>
            <a:graphicFrameLocks noGrp="1"/>
          </p:cNvGraphicFramePr>
          <p:nvPr>
            <p:extLst>
              <p:ext uri="{D42A27DB-BD31-4B8C-83A1-F6EECF244321}">
                <p14:modId xmlns:p14="http://schemas.microsoft.com/office/powerpoint/2010/main" val="2467757100"/>
              </p:ext>
            </p:extLst>
          </p:nvPr>
        </p:nvGraphicFramePr>
        <p:xfrm>
          <a:off x="0" y="1316758"/>
          <a:ext cx="8822747" cy="4928793"/>
        </p:xfrm>
        <a:graphic>
          <a:graphicData uri="http://schemas.openxmlformats.org/drawingml/2006/table">
            <a:tbl>
              <a:tblPr firstRow="1" bandRow="1">
                <a:tableStyleId>{00A15C55-8517-42AA-B614-E9B94910E393}</a:tableStyleId>
              </a:tblPr>
              <a:tblGrid>
                <a:gridCol w="5721531">
                  <a:extLst>
                    <a:ext uri="{9D8B030D-6E8A-4147-A177-3AD203B41FA5}">
                      <a16:colId xmlns:a16="http://schemas.microsoft.com/office/drawing/2014/main" val="2611999183"/>
                    </a:ext>
                  </a:extLst>
                </a:gridCol>
                <a:gridCol w="1718683">
                  <a:extLst>
                    <a:ext uri="{9D8B030D-6E8A-4147-A177-3AD203B41FA5}">
                      <a16:colId xmlns:a16="http://schemas.microsoft.com/office/drawing/2014/main" val="1074355463"/>
                    </a:ext>
                  </a:extLst>
                </a:gridCol>
                <a:gridCol w="1382533">
                  <a:extLst>
                    <a:ext uri="{9D8B030D-6E8A-4147-A177-3AD203B41FA5}">
                      <a16:colId xmlns:a16="http://schemas.microsoft.com/office/drawing/2014/main" val="2352721037"/>
                    </a:ext>
                  </a:extLst>
                </a:gridCol>
              </a:tblGrid>
              <a:tr h="627301">
                <a:tc>
                  <a:txBody>
                    <a:bodyPr/>
                    <a:lstStyle/>
                    <a:p>
                      <a:r>
                        <a:rPr lang="fr-FR" sz="1800" dirty="0"/>
                        <a:t>Activité</a:t>
                      </a:r>
                    </a:p>
                  </a:txBody>
                  <a:tcPr marL="89614" marR="89614" marT="44807" marB="448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sz="1800"/>
                        <a:t>Responsable</a:t>
                      </a:r>
                    </a:p>
                  </a:txBody>
                  <a:tcPr marL="89614" marR="89614" marT="44807" marB="448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sz="1800"/>
                        <a:t>Échéance</a:t>
                      </a:r>
                    </a:p>
                  </a:txBody>
                  <a:tcPr marL="89614" marR="89614" marT="44807" marB="448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3965487"/>
                  </a:ext>
                </a:extLst>
              </a:tr>
              <a:tr h="627301">
                <a:tc>
                  <a:txBody>
                    <a:bodyPr/>
                    <a:lstStyle/>
                    <a:p>
                      <a:pPr marL="342900" indent="-342900">
                        <a:buFont typeface="Arial" panose="020B0604020202020204" pitchFamily="34" charset="0"/>
                        <a:buChar char="•"/>
                      </a:pPr>
                      <a:endParaRPr lang="fr-FR" sz="1800" dirty="0"/>
                    </a:p>
                  </a:txBody>
                  <a:tcPr marL="89614" marR="89614" marT="44807" marB="448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89614" marR="89614" marT="44807" marB="448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a:p>
                  </a:txBody>
                  <a:tcPr marL="89614" marR="89614" marT="44807" marB="448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56896864"/>
                  </a:ext>
                </a:extLst>
              </a:tr>
              <a:tr h="627301">
                <a:tc>
                  <a:txBody>
                    <a:bodyPr/>
                    <a:lstStyle/>
                    <a:p>
                      <a:pPr marL="342900" marR="0" lvl="0" indent="-342900" algn="l" defTabSz="93296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fr-FR" sz="1800" dirty="0"/>
                    </a:p>
                  </a:txBody>
                  <a:tcPr marL="89614" marR="89614" marT="44807" marB="448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89614" marR="89614" marT="44807" marB="448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89614" marR="89614" marT="44807" marB="448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69611412"/>
                  </a:ext>
                </a:extLst>
              </a:tr>
              <a:tr h="896144">
                <a:tc>
                  <a:txBody>
                    <a:bodyPr/>
                    <a:lstStyle/>
                    <a:p>
                      <a:pPr marL="342900" indent="-342900">
                        <a:buFont typeface="Arial" panose="020B0604020202020204" pitchFamily="34" charset="0"/>
                        <a:buChar char="•"/>
                      </a:pPr>
                      <a:endParaRPr lang="fr-FR" sz="1800" dirty="0"/>
                    </a:p>
                  </a:txBody>
                  <a:tcPr marL="89614" marR="89614" marT="44807" marB="448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89614" marR="89614" marT="44807" marB="448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89614" marR="89614" marT="44807" marB="448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7209230"/>
                  </a:ext>
                </a:extLst>
              </a:tr>
              <a:tr h="896144">
                <a:tc>
                  <a:txBody>
                    <a:bodyPr/>
                    <a:lstStyle/>
                    <a:p>
                      <a:pPr marL="342900" indent="-342900">
                        <a:buFont typeface="Arial" panose="020B0604020202020204" pitchFamily="34" charset="0"/>
                        <a:buChar char="•"/>
                      </a:pPr>
                      <a:endParaRPr lang="fr-FR" sz="1800" dirty="0"/>
                    </a:p>
                  </a:txBody>
                  <a:tcPr marL="89614" marR="89614" marT="44807" marB="448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89614" marR="89614" marT="44807" marB="448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89614" marR="89614" marT="44807" marB="448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86857818"/>
                  </a:ext>
                </a:extLst>
              </a:tr>
              <a:tr h="627301">
                <a:tc>
                  <a:txBody>
                    <a:bodyPr/>
                    <a:lstStyle/>
                    <a:p>
                      <a:pPr marL="342900" indent="-342900">
                        <a:buFont typeface="Arial" panose="020B0604020202020204" pitchFamily="34" charset="0"/>
                        <a:buChar char="•"/>
                      </a:pPr>
                      <a:endParaRPr lang="fr-FR" sz="1800" dirty="0"/>
                    </a:p>
                  </a:txBody>
                  <a:tcPr marL="89614" marR="89614" marT="44807" marB="448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89614" marR="89614" marT="44807" marB="448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89614" marR="89614" marT="44807" marB="448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66693088"/>
                  </a:ext>
                </a:extLst>
              </a:tr>
              <a:tr h="627301">
                <a:tc>
                  <a:txBody>
                    <a:bodyPr/>
                    <a:lstStyle/>
                    <a:p>
                      <a:pPr marL="342900" indent="-342900">
                        <a:buFont typeface="Arial" panose="020B0604020202020204" pitchFamily="34" charset="0"/>
                        <a:buChar char="•"/>
                      </a:pPr>
                      <a:endParaRPr lang="fr-FR" sz="1800" dirty="0"/>
                    </a:p>
                  </a:txBody>
                  <a:tcPr marL="89614" marR="89614" marT="44807" marB="448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89614" marR="89614" marT="44807" marB="448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89614" marR="89614" marT="44807" marB="448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89548721"/>
                  </a:ext>
                </a:extLst>
              </a:tr>
            </a:tbl>
          </a:graphicData>
        </a:graphic>
      </p:graphicFrame>
    </p:spTree>
    <p:extLst>
      <p:ext uri="{BB962C8B-B14F-4D97-AF65-F5344CB8AC3E}">
        <p14:creationId xmlns:p14="http://schemas.microsoft.com/office/powerpoint/2010/main" val="20499443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854" y="1787"/>
          <a:ext cx="1587" cy="1587"/>
        </p:xfrm>
        <a:graphic>
          <a:graphicData uri="http://schemas.openxmlformats.org/presentationml/2006/ole">
            <mc:AlternateContent xmlns:mc="http://schemas.openxmlformats.org/markup-compatibility/2006">
              <mc:Choice xmlns:v="urn:schemas-microsoft-com:vml" Requires="v">
                <p:oleObj spid="_x0000_s12289" name="think-cell Slide" r:id="rId4" imgW="360" imgH="360" progId="TCLayout.ActiveDocument.1">
                  <p:embed/>
                </p:oleObj>
              </mc:Choice>
              <mc:Fallback>
                <p:oleObj name="think-cell Slide" r:id="rId4" imgW="360" imgH="360" progId="TCLayout.ActiveDocument.1">
                  <p:embed/>
                  <p:pic>
                    <p:nvPicPr>
                      <p:cNvPr id="14" name="Object 1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54" y="1787"/>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 name="Rectangle 14">
            <a:extLst>
              <a:ext uri="{FF2B5EF4-FFF2-40B4-BE49-F238E27FC236}">
                <a16:creationId xmlns:a16="http://schemas.microsoft.com/office/drawing/2014/main" id="{917C398F-6FA6-AC4B-B21D-F0416A4A4C62}"/>
              </a:ext>
            </a:extLst>
          </p:cNvPr>
          <p:cNvSpPr>
            <a:spLocks noChangeArrowheads="1"/>
          </p:cNvSpPr>
          <p:nvPr/>
        </p:nvSpPr>
        <p:spPr bwMode="gray">
          <a:xfrm>
            <a:off x="252521" y="783855"/>
            <a:ext cx="8516611" cy="2078615"/>
          </a:xfrm>
          <a:prstGeom prst="rect">
            <a:avLst/>
          </a:prstGeom>
          <a:solidFill>
            <a:schemeClr val="bg1"/>
          </a:solidFill>
          <a:ln w="19050">
            <a:solidFill>
              <a:schemeClr val="accent1"/>
            </a:solidFill>
            <a:miter lim="800000"/>
            <a:headEnd/>
            <a:tailEnd/>
          </a:ln>
          <a:effectLst>
            <a:outerShdw blurRad="50800" dist="38100" dir="2700000" algn="tl" rotWithShape="0">
              <a:prstClr val="black">
                <a:alpha val="40000"/>
              </a:prstClr>
            </a:outerShdw>
          </a:effectLst>
        </p:spPr>
        <p:txBody>
          <a:bodyPr wrap="none" anchor="ctr"/>
          <a:lstStyle/>
          <a:p>
            <a:pPr defTabSz="896112" fontAlgn="auto">
              <a:spcBef>
                <a:spcPts val="0"/>
              </a:spcBef>
              <a:spcAft>
                <a:spcPts val="0"/>
              </a:spcAft>
              <a:defRPr/>
            </a:pPr>
            <a:endParaRPr lang="en-US" sz="1470" dirty="0">
              <a:solidFill>
                <a:prstClr val="black"/>
              </a:solidFill>
              <a:latin typeface="Arial"/>
            </a:endParaRPr>
          </a:p>
        </p:txBody>
      </p:sp>
      <p:sp>
        <p:nvSpPr>
          <p:cNvPr id="41" name="Rectangle 8">
            <a:extLst>
              <a:ext uri="{FF2B5EF4-FFF2-40B4-BE49-F238E27FC236}">
                <a16:creationId xmlns:a16="http://schemas.microsoft.com/office/drawing/2014/main" id="{2FEE8CDE-65CD-F84F-8637-033C1A922409}"/>
              </a:ext>
            </a:extLst>
          </p:cNvPr>
          <p:cNvSpPr txBox="1"/>
          <p:nvPr/>
        </p:nvSpPr>
        <p:spPr>
          <a:xfrm>
            <a:off x="348595" y="887777"/>
            <a:ext cx="8266360" cy="1831271"/>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375983" lvl="2" indent="-285750" defTabSz="877443" fontAlgn="auto">
              <a:spcBef>
                <a:spcPts val="1200"/>
              </a:spcBef>
              <a:spcAft>
                <a:spcPts val="0"/>
              </a:spcAft>
              <a:buClr>
                <a:srgbClr val="39302A"/>
              </a:buClr>
              <a:buSzPct val="119999"/>
              <a:buFont typeface="Arial" panose="020B0604020202020204" pitchFamily="34" charset="0"/>
              <a:buChar char="•"/>
              <a:defRPr/>
            </a:pPr>
            <a:r>
              <a:rPr lang="fr-FR" sz="1650" dirty="0">
                <a:solidFill>
                  <a:prstClr val="black"/>
                </a:solidFill>
                <a:ea typeface="Arial"/>
                <a:cs typeface="Arial"/>
                <a:sym typeface="Arial"/>
              </a:rPr>
              <a:t>Un </a:t>
            </a:r>
            <a:r>
              <a:rPr lang="fr-FR" sz="1650" b="1" dirty="0">
                <a:solidFill>
                  <a:schemeClr val="accent5"/>
                </a:solidFill>
                <a:ea typeface="Arial"/>
                <a:cs typeface="Arial"/>
                <a:sym typeface="Arial"/>
              </a:rPr>
              <a:t>système de gestion en ligne</a:t>
            </a:r>
            <a:r>
              <a:rPr lang="fr-FR" sz="1650" dirty="0">
                <a:solidFill>
                  <a:prstClr val="black"/>
                </a:solidFill>
                <a:ea typeface="Arial"/>
                <a:cs typeface="Arial"/>
                <a:sym typeface="Arial"/>
              </a:rPr>
              <a:t> avec des couleurs pour aider les pays à suivre la performance des indicateurs prioritaires du plan stratégique.</a:t>
            </a:r>
          </a:p>
          <a:p>
            <a:pPr marL="375983" lvl="2" indent="-285750" defTabSz="877443" fontAlgn="auto">
              <a:spcBef>
                <a:spcPts val="1200"/>
              </a:spcBef>
              <a:spcAft>
                <a:spcPts val="0"/>
              </a:spcAft>
              <a:buClr>
                <a:srgbClr val="39302A"/>
              </a:buClr>
              <a:buSzPct val="119999"/>
              <a:buFont typeface="Arial" panose="020B0604020202020204" pitchFamily="34" charset="0"/>
              <a:buChar char="•"/>
              <a:defRPr/>
            </a:pPr>
            <a:r>
              <a:rPr lang="fr-FR" sz="1650" dirty="0">
                <a:solidFill>
                  <a:prstClr val="black"/>
                </a:solidFill>
                <a:ea typeface="Arial"/>
                <a:cs typeface="Arial"/>
                <a:sym typeface="Arial"/>
              </a:rPr>
              <a:t>Utilise les </a:t>
            </a:r>
            <a:r>
              <a:rPr lang="fr-FR" sz="1650" b="1" dirty="0">
                <a:solidFill>
                  <a:schemeClr val="accent5"/>
                </a:solidFill>
                <a:ea typeface="Arial"/>
                <a:cs typeface="Arial"/>
                <a:sym typeface="Arial"/>
              </a:rPr>
              <a:t>données trimestrielles existantes </a:t>
            </a:r>
            <a:r>
              <a:rPr lang="fr-FR" sz="1650" dirty="0">
                <a:solidFill>
                  <a:prstClr val="black"/>
                </a:solidFill>
                <a:ea typeface="Arial"/>
                <a:cs typeface="Arial"/>
                <a:sym typeface="Arial"/>
              </a:rPr>
              <a:t>provenant de sources de routine comme DHIS2 pour informer les actions.</a:t>
            </a:r>
          </a:p>
          <a:p>
            <a:pPr marL="375983" lvl="2" indent="-285750" defTabSz="877443" fontAlgn="auto">
              <a:spcBef>
                <a:spcPts val="1200"/>
              </a:spcBef>
              <a:spcAft>
                <a:spcPts val="0"/>
              </a:spcAft>
              <a:buClr>
                <a:srgbClr val="39302A"/>
              </a:buClr>
              <a:buSzPct val="119999"/>
              <a:buFont typeface="Arial" panose="020B0604020202020204" pitchFamily="34" charset="0"/>
              <a:buChar char="•"/>
              <a:defRPr/>
            </a:pPr>
            <a:r>
              <a:rPr lang="fr-FR" sz="1650" dirty="0">
                <a:solidFill>
                  <a:prstClr val="black"/>
                </a:solidFill>
                <a:ea typeface="Arial"/>
                <a:cs typeface="Arial"/>
                <a:sym typeface="Arial"/>
              </a:rPr>
              <a:t>Facilite </a:t>
            </a:r>
            <a:r>
              <a:rPr lang="fr-FR" sz="1650" b="1" dirty="0">
                <a:solidFill>
                  <a:schemeClr val="accent4">
                    <a:lumMod val="75000"/>
                  </a:schemeClr>
                </a:solidFill>
                <a:ea typeface="Arial"/>
                <a:cs typeface="Arial"/>
                <a:sym typeface="Arial"/>
              </a:rPr>
              <a:t>l'action, la redevabilité et le plaidoyer </a:t>
            </a:r>
            <a:r>
              <a:rPr lang="fr-FR" sz="1650" dirty="0">
                <a:solidFill>
                  <a:prstClr val="black"/>
                </a:solidFill>
                <a:ea typeface="Arial"/>
                <a:cs typeface="Arial"/>
                <a:sym typeface="Arial"/>
              </a:rPr>
              <a:t>aux niveaux national, et sous-national.</a:t>
            </a:r>
            <a:endParaRPr lang="en-US" sz="1650" dirty="0">
              <a:solidFill>
                <a:prstClr val="black"/>
              </a:solidFill>
              <a:latin typeface="Arial"/>
              <a:ea typeface="Arial"/>
              <a:cs typeface="Arial"/>
              <a:sym typeface="Arial"/>
            </a:endParaRPr>
          </a:p>
        </p:txBody>
      </p:sp>
      <p:sp>
        <p:nvSpPr>
          <p:cNvPr id="4" name="Rectangle 3">
            <a:extLst>
              <a:ext uri="{FF2B5EF4-FFF2-40B4-BE49-F238E27FC236}">
                <a16:creationId xmlns:a16="http://schemas.microsoft.com/office/drawing/2014/main" id="{3DEBE83D-8DCB-489A-9314-524B14E0408A}"/>
              </a:ext>
            </a:extLst>
          </p:cNvPr>
          <p:cNvSpPr/>
          <p:nvPr/>
        </p:nvSpPr>
        <p:spPr>
          <a:xfrm>
            <a:off x="252521" y="3010048"/>
            <a:ext cx="8537097" cy="338554"/>
          </a:xfrm>
          <a:prstGeom prst="rect">
            <a:avLst/>
          </a:prstGeom>
        </p:spPr>
        <p:txBody>
          <a:bodyPr wrap="square">
            <a:spAutoFit/>
          </a:bodyPr>
          <a:lstStyle/>
          <a:p>
            <a:pPr marL="0" lvl="1" defTabSz="877443" fontAlgn="auto">
              <a:spcBef>
                <a:spcPts val="600"/>
              </a:spcBef>
              <a:spcAft>
                <a:spcPts val="0"/>
              </a:spcAft>
              <a:buClr>
                <a:srgbClr val="39302A"/>
              </a:buClr>
              <a:defRPr/>
            </a:pPr>
            <a:r>
              <a:rPr lang="fr-FR" b="1" dirty="0">
                <a:solidFill>
                  <a:prstClr val="black"/>
                </a:solidFill>
                <a:latin typeface="Arial"/>
                <a:ea typeface="Arial"/>
                <a:cs typeface="Arial"/>
                <a:sym typeface="Arial"/>
              </a:rPr>
              <a:t>T1 2021: Burundi</a:t>
            </a:r>
            <a:endParaRPr lang="en-US" b="1" dirty="0">
              <a:solidFill>
                <a:prstClr val="black"/>
              </a:solidFill>
              <a:latin typeface="Arial"/>
              <a:ea typeface="Arial"/>
              <a:cs typeface="Arial"/>
              <a:sym typeface="Arial"/>
            </a:endParaRPr>
          </a:p>
        </p:txBody>
      </p:sp>
      <p:sp>
        <p:nvSpPr>
          <p:cNvPr id="7" name="Rectangle 6">
            <a:extLst>
              <a:ext uri="{FF2B5EF4-FFF2-40B4-BE49-F238E27FC236}">
                <a16:creationId xmlns:a16="http://schemas.microsoft.com/office/drawing/2014/main" id="{FC6EC022-94C2-4A7F-B38B-358ECEF5AA87}"/>
              </a:ext>
            </a:extLst>
          </p:cNvPr>
          <p:cNvSpPr/>
          <p:nvPr/>
        </p:nvSpPr>
        <p:spPr>
          <a:xfrm>
            <a:off x="364570" y="372387"/>
            <a:ext cx="8537097" cy="369332"/>
          </a:xfrm>
          <a:prstGeom prst="rect">
            <a:avLst/>
          </a:prstGeom>
        </p:spPr>
        <p:txBody>
          <a:bodyPr wrap="square">
            <a:spAutoFit/>
          </a:bodyPr>
          <a:lstStyle/>
          <a:p>
            <a:pPr marL="0" lvl="1" defTabSz="877443" fontAlgn="auto">
              <a:spcBef>
                <a:spcPts val="600"/>
              </a:spcBef>
              <a:spcAft>
                <a:spcPts val="0"/>
              </a:spcAft>
              <a:buClr>
                <a:srgbClr val="39302A"/>
              </a:buClr>
              <a:defRPr/>
            </a:pPr>
            <a:r>
              <a:rPr lang="fr-FR" sz="1800" b="1" dirty="0">
                <a:solidFill>
                  <a:prstClr val="black"/>
                </a:solidFill>
                <a:latin typeface="Arial"/>
                <a:ea typeface="Arial"/>
                <a:cs typeface="Arial"/>
                <a:sym typeface="Arial"/>
              </a:rPr>
              <a:t>La carte de score est ...</a:t>
            </a:r>
            <a:endParaRPr lang="en-US" sz="1800" b="1" dirty="0">
              <a:solidFill>
                <a:prstClr val="black"/>
              </a:solidFill>
              <a:latin typeface="Arial"/>
              <a:ea typeface="Arial"/>
              <a:cs typeface="Arial"/>
              <a:sym typeface="Arial"/>
            </a:endParaRPr>
          </a:p>
        </p:txBody>
      </p:sp>
      <p:pic>
        <p:nvPicPr>
          <p:cNvPr id="3" name="Picture 2">
            <a:extLst>
              <a:ext uri="{FF2B5EF4-FFF2-40B4-BE49-F238E27FC236}">
                <a16:creationId xmlns:a16="http://schemas.microsoft.com/office/drawing/2014/main" id="{699C66F7-A191-4374-90AC-233659AC33B6}"/>
              </a:ext>
            </a:extLst>
          </p:cNvPr>
          <p:cNvPicPr>
            <a:picLocks noChangeAspect="1"/>
          </p:cNvPicPr>
          <p:nvPr/>
        </p:nvPicPr>
        <p:blipFill>
          <a:blip r:embed="rId6"/>
          <a:stretch>
            <a:fillRect/>
          </a:stretch>
        </p:blipFill>
        <p:spPr>
          <a:xfrm>
            <a:off x="0" y="3508174"/>
            <a:ext cx="8961438" cy="2870581"/>
          </a:xfrm>
          <a:prstGeom prst="rect">
            <a:avLst/>
          </a:prstGeom>
        </p:spPr>
      </p:pic>
    </p:spTree>
    <p:extLst>
      <p:ext uri="{BB962C8B-B14F-4D97-AF65-F5344CB8AC3E}">
        <p14:creationId xmlns:p14="http://schemas.microsoft.com/office/powerpoint/2010/main" val="19539384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PRESENTATIONDONOTDELETE" val="&lt;?xml version=&quot;1.0&quot; encoding=&quot;UTF-16&quot; standalone=&quot;yes&quot;?&gt;&#10;&lt;root reqver=&quot;21047&quot;&gt;&lt;version val=&quot;23231&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1-%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bNumberIsYear val=&quot;0&quot;/&gt;&lt;m_strFormatTime&gt;%m&lt;/m_strFormatTime&gt;&lt;/m_precDefaultMonth&gt;&lt;m_precDefaultWeek&gt;&lt;m_bNumberIsYear val=&quot;0&quot;/&gt;&lt;m_strFormatTime&gt;%4&lt;/m_strFormatTime&gt;&lt;/m_precDefaultWeek&gt;&lt;m_precDefaultDay&gt;&lt;m_bNumberIsYear val=&quot;0&quot;/&gt;&lt;m_strFormatTime&gt;%a&lt;/m_strFormatTime&gt;&lt;/m_precDefaultDay&gt;&lt;m_mruColor&gt;&lt;m_vecMRU length=&quot;4&quot;&gt;&lt;elem m_fUsage=&quot;2.71000000000000000000E+000&quot;&gt;&lt;m_msothmcolidx val=&quot;0&quot;/&gt;&lt;m_rgb r=&quot;ff&quot; g=&quot;ff&quot; b=&quot;8c&quot;/&gt;&lt;m_ppcolschidx tagver0=&quot;23004&quot; tagname0=&quot;m_ppcolschidxUNRECOGNIZED&quot; val=&quot;0&quot;/&gt;&lt;m_nBrightness val=&quot;0&quot;/&gt;&lt;/elem&gt;&lt;elem m_fUsage=&quot;1.18754100000000020000E+000&quot;&gt;&lt;m_msothmcolidx val=&quot;0&quot;/&gt;&lt;m_rgb r=&quot;0&quot; g=&quot;68&quot; b=&quot;2f&quot;/&gt;&lt;m_ppcolschidx tagver0=&quot;23004&quot; tagname0=&quot;m_ppcolschidxUNRECOGNIZED&quot; val=&quot;0&quot;/&gt;&lt;m_nBrightness val=&quot;0&quot;/&gt;&lt;/elem&gt;&lt;elem m_fUsage=&quot;1.06878690000000010000E+000&quot;&gt;&lt;m_msothmcolidx val=&quot;0&quot;/&gt;&lt;m_rgb r=&quot;35&quot; g=&quot;ec&quot; b=&quot;0&quot;/&gt;&lt;m_ppcolschidx tagver0=&quot;23004&quot; tagname0=&quot;m_ppcolschidxUNRECOGNIZED&quot; val=&quot;0&quot;/&gt;&lt;m_nBrightness val=&quot;0&quot;/&gt;&lt;/elem&gt;&lt;elem m_fUsage=&quot;7.29000000000000090000E-001&quot;&gt;&lt;m_msothmcolidx val=&quot;0&quot;/&gt;&lt;m_rgb r=&quot;eb&quot; g=&quot;eb&quot; b=&quot;eb&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 name="THINKCELLUNDODONOTDELETE" val="0"/>
  <p:tag name="ISNEWSLIDENUMBER" val="False"/>
  <p:tag name="PREVIOUSNAME" val="C:\Users\Stephen Rooke\Nomadesk\ALMA-Malaria-Elimination\02 Facilitator's Guide\Malaria Control and Elimination Facilitators Guide vF.pptx"/>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lir7aTkQbky8DS44gXJJHQ"/>
</p:tagLst>
</file>

<file path=ppt/tags/tag100.xml><?xml version="1.0" encoding="utf-8"?>
<p:tagLst xmlns:a="http://schemas.openxmlformats.org/drawingml/2006/main" xmlns:r="http://schemas.openxmlformats.org/officeDocument/2006/relationships" xmlns:p="http://schemas.openxmlformats.org/presentationml/2006/main">
  <p:tag name="NAME" val="Rectangle"/>
  <p:tag name="THINKCELLSHAPEDONOTDELETE" val="p_ogjH7u0N0OZtF1KwCwSCA"/>
</p:tagLst>
</file>

<file path=ppt/tags/tag101.xml><?xml version="1.0" encoding="utf-8"?>
<p:tagLst xmlns:a="http://schemas.openxmlformats.org/drawingml/2006/main" xmlns:r="http://schemas.openxmlformats.org/officeDocument/2006/relationships" xmlns:p="http://schemas.openxmlformats.org/presentationml/2006/main">
  <p:tag name="NAME" val="Rectangle"/>
  <p:tag name="THINKCELLSHAPEDONOTDELETE" val="pi6VxqIN.1kCbeTdq8a6s2A"/>
</p:tagLst>
</file>

<file path=ppt/tags/tag102.xml><?xml version="1.0" encoding="utf-8"?>
<p:tagLst xmlns:a="http://schemas.openxmlformats.org/drawingml/2006/main" xmlns:r="http://schemas.openxmlformats.org/officeDocument/2006/relationships" xmlns:p="http://schemas.openxmlformats.org/presentationml/2006/main">
  <p:tag name="NAME" val="Rectangle"/>
  <p:tag name="THINKCELLSHAPEDONOTDELETE" val="p7gxBM8fI90eubAERljS5vQ"/>
</p:tagLst>
</file>

<file path=ppt/tags/tag103.xml><?xml version="1.0" encoding="utf-8"?>
<p:tagLst xmlns:a="http://schemas.openxmlformats.org/drawingml/2006/main" xmlns:r="http://schemas.openxmlformats.org/officeDocument/2006/relationships" xmlns:p="http://schemas.openxmlformats.org/presentationml/2006/main">
  <p:tag name="NAME" val="Rectangle"/>
  <p:tag name="THINKCELLSHAPEDONOTDELETE" val="pFsoak70XmECOEq1JijkQlw"/>
</p:tagLst>
</file>

<file path=ppt/tags/tag104.xml><?xml version="1.0" encoding="utf-8"?>
<p:tagLst xmlns:a="http://schemas.openxmlformats.org/drawingml/2006/main" xmlns:r="http://schemas.openxmlformats.org/officeDocument/2006/relationships" xmlns:p="http://schemas.openxmlformats.org/presentationml/2006/main">
  <p:tag name="NAME" val="Rectangle"/>
  <p:tag name="THINKCELLSHAPEDONOTDELETE" val="pEJFMMaEdnEC0Ja_hCRObFQ"/>
</p:tagLst>
</file>

<file path=ppt/tags/tag105.xml><?xml version="1.0" encoding="utf-8"?>
<p:tagLst xmlns:a="http://schemas.openxmlformats.org/drawingml/2006/main" xmlns:r="http://schemas.openxmlformats.org/officeDocument/2006/relationships" xmlns:p="http://schemas.openxmlformats.org/presentationml/2006/main">
  <p:tag name="NAME" val="Rectangle"/>
  <p:tag name="THINKCELLSHAPEDONOTDELETE" val="pYaYk1F8s7ECtT_UqecTTBA"/>
</p:tagLst>
</file>

<file path=ppt/tags/tag106.xml><?xml version="1.0" encoding="utf-8"?>
<p:tagLst xmlns:a="http://schemas.openxmlformats.org/drawingml/2006/main" xmlns:r="http://schemas.openxmlformats.org/officeDocument/2006/relationships" xmlns:p="http://schemas.openxmlformats.org/presentationml/2006/main">
  <p:tag name="NAME" val="Rectangle"/>
  <p:tag name="THINKCELLSHAPEDONOTDELETE" val="ph89TaxM0QUaXZCN26BLQiQ"/>
</p:tagLst>
</file>

<file path=ppt/tags/tag107.xml><?xml version="1.0" encoding="utf-8"?>
<p:tagLst xmlns:a="http://schemas.openxmlformats.org/drawingml/2006/main" xmlns:r="http://schemas.openxmlformats.org/officeDocument/2006/relationships" xmlns:p="http://schemas.openxmlformats.org/presentationml/2006/main">
  <p:tag name="NAME" val="Rectangle"/>
  <p:tag name="THINKCELLSHAPEDONOTDELETE" val="pJa.y0www8k.jTKX8Ieu1Ng"/>
</p:tagLst>
</file>

<file path=ppt/tags/tag108.xml><?xml version="1.0" encoding="utf-8"?>
<p:tagLst xmlns:a="http://schemas.openxmlformats.org/drawingml/2006/main" xmlns:r="http://schemas.openxmlformats.org/officeDocument/2006/relationships" xmlns:p="http://schemas.openxmlformats.org/presentationml/2006/main">
  <p:tag name="NAME" val="Rectangle"/>
  <p:tag name="THINKCELLSHAPEDONOTDELETE" val="pGVIMMqmTl0Ki54tq69eJjQ"/>
</p:tagLst>
</file>

<file path=ppt/tags/tag109.xml><?xml version="1.0" encoding="utf-8"?>
<p:tagLst xmlns:a="http://schemas.openxmlformats.org/drawingml/2006/main" xmlns:r="http://schemas.openxmlformats.org/officeDocument/2006/relationships" xmlns:p="http://schemas.openxmlformats.org/presentationml/2006/main">
  <p:tag name="NAME" val="Rectangle"/>
  <p:tag name="THINKCELLSHAPEDONOTDELETE" val="paUJPsw8sXUqNXAG.S8.oG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7C5BcuGO0aESZet3QktEg"/>
</p:tagLst>
</file>

<file path=ppt/tags/tag110.xml><?xml version="1.0" encoding="utf-8"?>
<p:tagLst xmlns:a="http://schemas.openxmlformats.org/drawingml/2006/main" xmlns:r="http://schemas.openxmlformats.org/officeDocument/2006/relationships" xmlns:p="http://schemas.openxmlformats.org/presentationml/2006/main">
  <p:tag name="NAME" val="Rectangle"/>
  <p:tag name="THINKCELLSHAPEDONOTDELETE" val="pNCYkvgciDUO50346unsu6g"/>
</p:tagLst>
</file>

<file path=ppt/tags/tag111.xml><?xml version="1.0" encoding="utf-8"?>
<p:tagLst xmlns:a="http://schemas.openxmlformats.org/drawingml/2006/main" xmlns:r="http://schemas.openxmlformats.org/officeDocument/2006/relationships" xmlns:p="http://schemas.openxmlformats.org/presentationml/2006/main">
  <p:tag name="NAME" val="Rectangle"/>
  <p:tag name="THINKCELLSHAPEDONOTDELETE" val="pTmyVuVG7d0GH3n9SY_tKLA"/>
</p:tagLst>
</file>

<file path=ppt/tags/tag112.xml><?xml version="1.0" encoding="utf-8"?>
<p:tagLst xmlns:a="http://schemas.openxmlformats.org/drawingml/2006/main" xmlns:r="http://schemas.openxmlformats.org/officeDocument/2006/relationships" xmlns:p="http://schemas.openxmlformats.org/presentationml/2006/main">
  <p:tag name="NAME" val="Rectangle"/>
  <p:tag name="THINKCELLSHAPEDONOTDELETE" val="pCeeFEKoAAUufKXAq6QB23g"/>
</p:tagLst>
</file>

<file path=ppt/tags/tag113.xml><?xml version="1.0" encoding="utf-8"?>
<p:tagLst xmlns:a="http://schemas.openxmlformats.org/drawingml/2006/main" xmlns:r="http://schemas.openxmlformats.org/officeDocument/2006/relationships" xmlns:p="http://schemas.openxmlformats.org/presentationml/2006/main">
  <p:tag name="NAME" val="Rectangle"/>
  <p:tag name="THINKCELLSHAPEDONOTDELETE" val="pHJ6RCSxb5kangyD9TFgZ9w"/>
</p:tagLst>
</file>

<file path=ppt/tags/tag114.xml><?xml version="1.0" encoding="utf-8"?>
<p:tagLst xmlns:a="http://schemas.openxmlformats.org/drawingml/2006/main" xmlns:r="http://schemas.openxmlformats.org/officeDocument/2006/relationships" xmlns:p="http://schemas.openxmlformats.org/presentationml/2006/main">
  <p:tag name="NAME" val="Rectangle"/>
  <p:tag name="THINKCELLSHAPEDONOTDELETE" val="pzfRhB0QeOkSKU0DSLINyug"/>
</p:tagLst>
</file>

<file path=ppt/tags/tag115.xml><?xml version="1.0" encoding="utf-8"?>
<p:tagLst xmlns:a="http://schemas.openxmlformats.org/drawingml/2006/main" xmlns:r="http://schemas.openxmlformats.org/officeDocument/2006/relationships" xmlns:p="http://schemas.openxmlformats.org/presentationml/2006/main">
  <p:tag name="NAME" val="Rectangle"/>
  <p:tag name="THINKCELLSHAPEDONOTDELETE" val="pV4nYtwVgT0qcDU5xYce1fQ"/>
</p:tagLst>
</file>

<file path=ppt/tags/tag116.xml><?xml version="1.0" encoding="utf-8"?>
<p:tagLst xmlns:a="http://schemas.openxmlformats.org/drawingml/2006/main" xmlns:r="http://schemas.openxmlformats.org/officeDocument/2006/relationships" xmlns:p="http://schemas.openxmlformats.org/presentationml/2006/main">
  <p:tag name="NAME" val="Rectangle"/>
  <p:tag name="THINKCELLSHAPEDONOTDELETE" val="piXodIacvWkiAaZ2AjuSSdw"/>
</p:tagLst>
</file>

<file path=ppt/tags/tag117.xml><?xml version="1.0" encoding="utf-8"?>
<p:tagLst xmlns:a="http://schemas.openxmlformats.org/drawingml/2006/main" xmlns:r="http://schemas.openxmlformats.org/officeDocument/2006/relationships" xmlns:p="http://schemas.openxmlformats.org/presentationml/2006/main">
  <p:tag name="NAME" val="Rectangle"/>
  <p:tag name="THINKCELLSHAPEDONOTDELETE" val="pUkFcrQQ470yz2pyUKr.nZA"/>
</p:tagLst>
</file>

<file path=ppt/tags/tag118.xml><?xml version="1.0" encoding="utf-8"?>
<p:tagLst xmlns:a="http://schemas.openxmlformats.org/drawingml/2006/main" xmlns:r="http://schemas.openxmlformats.org/officeDocument/2006/relationships" xmlns:p="http://schemas.openxmlformats.org/presentationml/2006/main">
  <p:tag name="NAME" val="Rectangle"/>
  <p:tag name="THINKCELLSHAPEDONOTDELETE" val="pImKQvfhtNEC5HPzdpuwi3Q"/>
</p:tagLst>
</file>

<file path=ppt/tags/tag119.xml><?xml version="1.0" encoding="utf-8"?>
<p:tagLst xmlns:a="http://schemas.openxmlformats.org/drawingml/2006/main" xmlns:r="http://schemas.openxmlformats.org/officeDocument/2006/relationships" xmlns:p="http://schemas.openxmlformats.org/presentationml/2006/main">
  <p:tag name="NAME" val="Rectangle"/>
  <p:tag name="THINKCELLSHAPEDONOTDELETE" val="pUpX4CF08K0O8zrDthufh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ClmFVkhXUif8fzf71t8UA"/>
</p:tagLst>
</file>

<file path=ppt/tags/tag120.xml><?xml version="1.0" encoding="utf-8"?>
<p:tagLst xmlns:a="http://schemas.openxmlformats.org/drawingml/2006/main" xmlns:r="http://schemas.openxmlformats.org/officeDocument/2006/relationships" xmlns:p="http://schemas.openxmlformats.org/presentationml/2006/main">
  <p:tag name="NAME" val="Rectangle"/>
  <p:tag name="THINKCELLSHAPEDONOTDELETE" val="p8E5Vm63GI02M3j2TQU9Z3Q"/>
</p:tagLst>
</file>

<file path=ppt/tags/tag121.xml><?xml version="1.0" encoding="utf-8"?>
<p:tagLst xmlns:a="http://schemas.openxmlformats.org/drawingml/2006/main" xmlns:r="http://schemas.openxmlformats.org/officeDocument/2006/relationships" xmlns:p="http://schemas.openxmlformats.org/presentationml/2006/main">
  <p:tag name="NAME" val="Rectangle"/>
  <p:tag name="THINKCELLSHAPEDONOTDELETE" val="p.SoYaRI0Gk.OzgI6OIzWbA"/>
</p:tagLst>
</file>

<file path=ppt/tags/tag122.xml><?xml version="1.0" encoding="utf-8"?>
<p:tagLst xmlns:a="http://schemas.openxmlformats.org/drawingml/2006/main" xmlns:r="http://schemas.openxmlformats.org/officeDocument/2006/relationships" xmlns:p="http://schemas.openxmlformats.org/presentationml/2006/main">
  <p:tag name="NAME" val="Rectangle"/>
  <p:tag name="THINKCELLSHAPEDONOTDELETE" val="pGEWuhHCogkOe0x1eTLq7yg"/>
</p:tagLst>
</file>

<file path=ppt/tags/tag123.xml><?xml version="1.0" encoding="utf-8"?>
<p:tagLst xmlns:a="http://schemas.openxmlformats.org/drawingml/2006/main" xmlns:r="http://schemas.openxmlformats.org/officeDocument/2006/relationships" xmlns:p="http://schemas.openxmlformats.org/presentationml/2006/main">
  <p:tag name="NAME" val="Rectangle"/>
  <p:tag name="THINKCELLSHAPEDONOTDELETE" val="pxYmXmEPcskS3kizueuxL8w"/>
</p:tagLst>
</file>

<file path=ppt/tags/tag124.xml><?xml version="1.0" encoding="utf-8"?>
<p:tagLst xmlns:a="http://schemas.openxmlformats.org/drawingml/2006/main" xmlns:r="http://schemas.openxmlformats.org/officeDocument/2006/relationships" xmlns:p="http://schemas.openxmlformats.org/presentationml/2006/main">
  <p:tag name="NAME" val="Rectangle"/>
  <p:tag name="THINKCELLSHAPEDONOTDELETE" val="pQjGaeRD8BU2AG2uXKVVicg"/>
</p:tagLst>
</file>

<file path=ppt/tags/tag125.xml><?xml version="1.0" encoding="utf-8"?>
<p:tagLst xmlns:a="http://schemas.openxmlformats.org/drawingml/2006/main" xmlns:r="http://schemas.openxmlformats.org/officeDocument/2006/relationships" xmlns:p="http://schemas.openxmlformats.org/presentationml/2006/main">
  <p:tag name="TIMING" val="|22.5|20.5|38.6"/>
</p:tagLst>
</file>

<file path=ppt/tags/tag126.xml><?xml version="1.0" encoding="utf-8"?>
<p:tagLst xmlns:a="http://schemas.openxmlformats.org/drawingml/2006/main" xmlns:r="http://schemas.openxmlformats.org/officeDocument/2006/relationships" xmlns:p="http://schemas.openxmlformats.org/presentationml/2006/main">
  <p:tag name="TIMING" val="|6.8"/>
</p:tagLst>
</file>

<file path=ppt/tags/tag127.xml><?xml version="1.0" encoding="utf-8"?>
<p:tagLst xmlns:a="http://schemas.openxmlformats.org/drawingml/2006/main" xmlns:r="http://schemas.openxmlformats.org/officeDocument/2006/relationships" xmlns:p="http://schemas.openxmlformats.org/presentationml/2006/main">
  <p:tag name="TIMING" val="|39.9|11|15"/>
</p:tagLst>
</file>

<file path=ppt/tags/tag128.xml><?xml version="1.0" encoding="utf-8"?>
<p:tagLst xmlns:a="http://schemas.openxmlformats.org/drawingml/2006/main" xmlns:r="http://schemas.openxmlformats.org/officeDocument/2006/relationships" xmlns:p="http://schemas.openxmlformats.org/presentationml/2006/main">
  <p:tag name="NAME" val="Rectangle"/>
</p:tagLst>
</file>

<file path=ppt/tags/tag129.xml><?xml version="1.0" encoding="utf-8"?>
<p:tagLst xmlns:a="http://schemas.openxmlformats.org/drawingml/2006/main" xmlns:r="http://schemas.openxmlformats.org/officeDocument/2006/relationships" xmlns:p="http://schemas.openxmlformats.org/presentationml/2006/main">
  <p:tag name="NAME" val="Rectangl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ir7aTkQbky8DS44gXJJHQ"/>
</p:tagLst>
</file>

<file path=ppt/tags/tag130.xml><?xml version="1.0" encoding="utf-8"?>
<p:tagLst xmlns:a="http://schemas.openxmlformats.org/drawingml/2006/main" xmlns:r="http://schemas.openxmlformats.org/officeDocument/2006/relationships" xmlns:p="http://schemas.openxmlformats.org/presentationml/2006/main">
  <p:tag name="NAME" val="Rectangle"/>
</p:tagLst>
</file>

<file path=ppt/tags/tag131.xml><?xml version="1.0" encoding="utf-8"?>
<p:tagLst xmlns:a="http://schemas.openxmlformats.org/drawingml/2006/main" xmlns:r="http://schemas.openxmlformats.org/officeDocument/2006/relationships" xmlns:p="http://schemas.openxmlformats.org/presentationml/2006/main">
  <p:tag name="NAME" val="Rectangle"/>
</p:tagLst>
</file>

<file path=ppt/tags/tag132.xml><?xml version="1.0" encoding="utf-8"?>
<p:tagLst xmlns:a="http://schemas.openxmlformats.org/drawingml/2006/main" xmlns:r="http://schemas.openxmlformats.org/officeDocument/2006/relationships" xmlns:p="http://schemas.openxmlformats.org/presentationml/2006/main">
  <p:tag name="NAME" val="Rectangle"/>
</p:tagLst>
</file>

<file path=ppt/tags/tag133.xml><?xml version="1.0" encoding="utf-8"?>
<p:tagLst xmlns:a="http://schemas.openxmlformats.org/drawingml/2006/main" xmlns:r="http://schemas.openxmlformats.org/officeDocument/2006/relationships" xmlns:p="http://schemas.openxmlformats.org/presentationml/2006/main">
  <p:tag name="RESIZE" val="Yes"/>
</p:tagLst>
</file>

<file path=ppt/tags/tag134.xml><?xml version="1.0" encoding="utf-8"?>
<p:tagLst xmlns:a="http://schemas.openxmlformats.org/drawingml/2006/main" xmlns:r="http://schemas.openxmlformats.org/officeDocument/2006/relationships" xmlns:p="http://schemas.openxmlformats.org/presentationml/2006/main">
  <p:tag name="NAME" val="SingleBoat"/>
</p:tagLst>
</file>

<file path=ppt/tags/tag135.xml><?xml version="1.0" encoding="utf-8"?>
<p:tagLst xmlns:a="http://schemas.openxmlformats.org/drawingml/2006/main" xmlns:r="http://schemas.openxmlformats.org/officeDocument/2006/relationships" xmlns:p="http://schemas.openxmlformats.org/presentationml/2006/main">
  <p:tag name="NAME" val="SingleBoat"/>
</p:tagLst>
</file>

<file path=ppt/tags/tag136.xml><?xml version="1.0" encoding="utf-8"?>
<p:tagLst xmlns:a="http://schemas.openxmlformats.org/drawingml/2006/main" xmlns:r="http://schemas.openxmlformats.org/officeDocument/2006/relationships" xmlns:p="http://schemas.openxmlformats.org/presentationml/2006/main">
  <p:tag name="NAME" val="SingleBoat"/>
</p:tagLst>
</file>

<file path=ppt/tags/tag137.xml><?xml version="1.0" encoding="utf-8"?>
<p:tagLst xmlns:a="http://schemas.openxmlformats.org/drawingml/2006/main" xmlns:r="http://schemas.openxmlformats.org/officeDocument/2006/relationships" xmlns:p="http://schemas.openxmlformats.org/presentationml/2006/main">
  <p:tag name="NAME" val="SingleBoat"/>
</p:tagLst>
</file>

<file path=ppt/tags/tag138.xml><?xml version="1.0" encoding="utf-8"?>
<p:tagLst xmlns:a="http://schemas.openxmlformats.org/drawingml/2006/main" xmlns:r="http://schemas.openxmlformats.org/officeDocument/2006/relationships" xmlns:p="http://schemas.openxmlformats.org/presentationml/2006/main">
  <p:tag name="NAME" val="SingleBoat"/>
</p:tagLst>
</file>

<file path=ppt/tags/tag139.xml><?xml version="1.0" encoding="utf-8"?>
<p:tagLst xmlns:a="http://schemas.openxmlformats.org/drawingml/2006/main" xmlns:r="http://schemas.openxmlformats.org/officeDocument/2006/relationships" xmlns:p="http://schemas.openxmlformats.org/presentationml/2006/main">
  <p:tag name="NAME" val="SingleBoatShap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ClmFVkhXUif8fzf71t8UA"/>
</p:tagLst>
</file>

<file path=ppt/tags/tag140.xml><?xml version="1.0" encoding="utf-8"?>
<p:tagLst xmlns:a="http://schemas.openxmlformats.org/drawingml/2006/main" xmlns:r="http://schemas.openxmlformats.org/officeDocument/2006/relationships" xmlns:p="http://schemas.openxmlformats.org/presentationml/2006/main">
  <p:tag name="NAME" val="SingleBoatText"/>
</p:tagLst>
</file>

<file path=ppt/tags/tag141.xml><?xml version="1.0" encoding="utf-8"?>
<p:tagLst xmlns:a="http://schemas.openxmlformats.org/drawingml/2006/main" xmlns:r="http://schemas.openxmlformats.org/officeDocument/2006/relationships" xmlns:p="http://schemas.openxmlformats.org/presentationml/2006/main">
  <p:tag name="NAME" val="SingleBoatShape"/>
</p:tagLst>
</file>

<file path=ppt/tags/tag142.xml><?xml version="1.0" encoding="utf-8"?>
<p:tagLst xmlns:a="http://schemas.openxmlformats.org/drawingml/2006/main" xmlns:r="http://schemas.openxmlformats.org/officeDocument/2006/relationships" xmlns:p="http://schemas.openxmlformats.org/presentationml/2006/main">
  <p:tag name="NAME" val="SingleBoatText"/>
</p:tagLst>
</file>

<file path=ppt/tags/tag143.xml><?xml version="1.0" encoding="utf-8"?>
<p:tagLst xmlns:a="http://schemas.openxmlformats.org/drawingml/2006/main" xmlns:r="http://schemas.openxmlformats.org/officeDocument/2006/relationships" xmlns:p="http://schemas.openxmlformats.org/presentationml/2006/main">
  <p:tag name="NAME" val="SingleBoatShape"/>
</p:tagLst>
</file>

<file path=ppt/tags/tag144.xml><?xml version="1.0" encoding="utf-8"?>
<p:tagLst xmlns:a="http://schemas.openxmlformats.org/drawingml/2006/main" xmlns:r="http://schemas.openxmlformats.org/officeDocument/2006/relationships" xmlns:p="http://schemas.openxmlformats.org/presentationml/2006/main">
  <p:tag name="NAME" val="SingleBoatText"/>
</p:tagLst>
</file>

<file path=ppt/tags/tag145.xml><?xml version="1.0" encoding="utf-8"?>
<p:tagLst xmlns:a="http://schemas.openxmlformats.org/drawingml/2006/main" xmlns:r="http://schemas.openxmlformats.org/officeDocument/2006/relationships" xmlns:p="http://schemas.openxmlformats.org/presentationml/2006/main">
  <p:tag name="NAME" val="SingleBoatShape"/>
</p:tagLst>
</file>

<file path=ppt/tags/tag146.xml><?xml version="1.0" encoding="utf-8"?>
<p:tagLst xmlns:a="http://schemas.openxmlformats.org/drawingml/2006/main" xmlns:r="http://schemas.openxmlformats.org/officeDocument/2006/relationships" xmlns:p="http://schemas.openxmlformats.org/presentationml/2006/main">
  <p:tag name="NAME" val="SingleBoatText"/>
</p:tagLst>
</file>

<file path=ppt/tags/tag147.xml><?xml version="1.0" encoding="utf-8"?>
<p:tagLst xmlns:a="http://schemas.openxmlformats.org/drawingml/2006/main" xmlns:r="http://schemas.openxmlformats.org/officeDocument/2006/relationships" xmlns:p="http://schemas.openxmlformats.org/presentationml/2006/main">
  <p:tag name="NAME" val="SingleBoatShape"/>
</p:tagLst>
</file>

<file path=ppt/tags/tag148.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Dm0xV.ekcESYaOmyz5YfBQ"/>
</p:tagLst>
</file>

<file path=ppt/tags/tag149.xml><?xml version="1.0" encoding="utf-8"?>
<p:tagLst xmlns:a="http://schemas.openxmlformats.org/drawingml/2006/main" xmlns:r="http://schemas.openxmlformats.org/officeDocument/2006/relationships" xmlns:p="http://schemas.openxmlformats.org/presentationml/2006/main">
  <p:tag name="NOPREFERENCE" val="Fals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AXG9AqSobkCuBBGCbjX0Vg"/>
  <p:tag name="RESIZE" val="Yes"/>
</p:tagLst>
</file>

<file path=ppt/tags/tag152.xml><?xml version="1.0" encoding="utf-8"?>
<p:tagLst xmlns:a="http://schemas.openxmlformats.org/drawingml/2006/main" xmlns:r="http://schemas.openxmlformats.org/officeDocument/2006/relationships" xmlns:p="http://schemas.openxmlformats.org/presentationml/2006/main">
  <p:tag name="RESIZE" val="Yes"/>
  <p:tag name="THINKCELLSHAPEDONOTDELETE" val="pizQWkJSIe0qMj3bhwCOv0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xzhDj2vhEUSVKSsGwSiY7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Xd.OIm7v80mAsxK5LjODTg"/>
</p:tagLst>
</file>

<file path=ppt/tags/tag155.xml><?xml version="1.0" encoding="utf-8"?>
<p:tagLst xmlns:a="http://schemas.openxmlformats.org/drawingml/2006/main" xmlns:r="http://schemas.openxmlformats.org/officeDocument/2006/relationships" xmlns:p="http://schemas.openxmlformats.org/presentationml/2006/main">
  <p:tag name="NAME" val="Rectangl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SNFhBuWA_kWYRnHJSNcNaw"/>
</p:tagLst>
</file>

<file path=ppt/tags/tag157.xml><?xml version="1.0" encoding="utf-8"?>
<p:tagLst xmlns:a="http://schemas.openxmlformats.org/drawingml/2006/main" xmlns:r="http://schemas.openxmlformats.org/officeDocument/2006/relationships" xmlns:p="http://schemas.openxmlformats.org/presentationml/2006/main">
  <p:tag name="NAME" val="Rectangle"/>
</p:tagLst>
</file>

<file path=ppt/tags/tag158.xml><?xml version="1.0" encoding="utf-8"?>
<p:tagLst xmlns:a="http://schemas.openxmlformats.org/drawingml/2006/main" xmlns:r="http://schemas.openxmlformats.org/officeDocument/2006/relationships" xmlns:p="http://schemas.openxmlformats.org/presentationml/2006/main">
  <p:tag name="NAME" val="Rectangle"/>
</p:tagLst>
</file>

<file path=ppt/tags/tag159.xml><?xml version="1.0" encoding="utf-8"?>
<p:tagLst xmlns:a="http://schemas.openxmlformats.org/drawingml/2006/main" xmlns:r="http://schemas.openxmlformats.org/officeDocument/2006/relationships" xmlns:p="http://schemas.openxmlformats.org/presentationml/2006/main">
  <p:tag name="NAME" val="Rectangl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NAME" val="Rectangle"/>
</p:tagLst>
</file>

<file path=ppt/tags/tag161.xml><?xml version="1.0" encoding="utf-8"?>
<p:tagLst xmlns:a="http://schemas.openxmlformats.org/drawingml/2006/main" xmlns:r="http://schemas.openxmlformats.org/officeDocument/2006/relationships" xmlns:p="http://schemas.openxmlformats.org/presentationml/2006/main">
  <p:tag name="NAME" val="Rectangle"/>
</p:tagLst>
</file>

<file path=ppt/tags/tag162.xml><?xml version="1.0" encoding="utf-8"?>
<p:tagLst xmlns:a="http://schemas.openxmlformats.org/drawingml/2006/main" xmlns:r="http://schemas.openxmlformats.org/officeDocument/2006/relationships" xmlns:p="http://schemas.openxmlformats.org/presentationml/2006/main">
  <p:tag name="NAME" val="Rectangle"/>
</p:tagLst>
</file>

<file path=ppt/tags/tag163.xml><?xml version="1.0" encoding="utf-8"?>
<p:tagLst xmlns:a="http://schemas.openxmlformats.org/drawingml/2006/main" xmlns:r="http://schemas.openxmlformats.org/officeDocument/2006/relationships" xmlns:p="http://schemas.openxmlformats.org/presentationml/2006/main">
  <p:tag name="NAME" val="Rectangle"/>
</p:tagLst>
</file>

<file path=ppt/tags/tag164.xml><?xml version="1.0" encoding="utf-8"?>
<p:tagLst xmlns:a="http://schemas.openxmlformats.org/drawingml/2006/main" xmlns:r="http://schemas.openxmlformats.org/officeDocument/2006/relationships" xmlns:p="http://schemas.openxmlformats.org/presentationml/2006/main">
  <p:tag name="NAME" val="Rectangle"/>
</p:tagLst>
</file>

<file path=ppt/tags/tag165.xml><?xml version="1.0" encoding="utf-8"?>
<p:tagLst xmlns:a="http://schemas.openxmlformats.org/drawingml/2006/main" xmlns:r="http://schemas.openxmlformats.org/officeDocument/2006/relationships" xmlns:p="http://schemas.openxmlformats.org/presentationml/2006/main">
  <p:tag name="NAME" val="Rectangle"/>
</p:tagLst>
</file>

<file path=ppt/tags/tag166.xml><?xml version="1.0" encoding="utf-8"?>
<p:tagLst xmlns:a="http://schemas.openxmlformats.org/drawingml/2006/main" xmlns:r="http://schemas.openxmlformats.org/officeDocument/2006/relationships" xmlns:p="http://schemas.openxmlformats.org/presentationml/2006/main">
  <p:tag name="NAME" val="Rectangle"/>
</p:tagLst>
</file>

<file path=ppt/tags/tag167.xml><?xml version="1.0" encoding="utf-8"?>
<p:tagLst xmlns:a="http://schemas.openxmlformats.org/drawingml/2006/main" xmlns:r="http://schemas.openxmlformats.org/officeDocument/2006/relationships" xmlns:p="http://schemas.openxmlformats.org/presentationml/2006/main">
  <p:tag name="NAME" val="Rectangle"/>
</p:tagLst>
</file>

<file path=ppt/tags/tag168.xml><?xml version="1.0" encoding="utf-8"?>
<p:tagLst xmlns:a="http://schemas.openxmlformats.org/drawingml/2006/main" xmlns:r="http://schemas.openxmlformats.org/officeDocument/2006/relationships" xmlns:p="http://schemas.openxmlformats.org/presentationml/2006/main">
  <p:tag name="NAME" val="Rectangle"/>
</p:tagLst>
</file>

<file path=ppt/tags/tag169.xml><?xml version="1.0" encoding="utf-8"?>
<p:tagLst xmlns:a="http://schemas.openxmlformats.org/drawingml/2006/main" xmlns:r="http://schemas.openxmlformats.org/officeDocument/2006/relationships" xmlns:p="http://schemas.openxmlformats.org/presentationml/2006/main">
  <p:tag name="NAME" val="Rectangl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NAME" val="Rectangle"/>
</p:tagLst>
</file>

<file path=ppt/tags/tag171.xml><?xml version="1.0" encoding="utf-8"?>
<p:tagLst xmlns:a="http://schemas.openxmlformats.org/drawingml/2006/main" xmlns:r="http://schemas.openxmlformats.org/officeDocument/2006/relationships" xmlns:p="http://schemas.openxmlformats.org/presentationml/2006/main">
  <p:tag name="NAME" val="Rectangle"/>
</p:tagLst>
</file>

<file path=ppt/tags/tag172.xml><?xml version="1.0" encoding="utf-8"?>
<p:tagLst xmlns:a="http://schemas.openxmlformats.org/drawingml/2006/main" xmlns:r="http://schemas.openxmlformats.org/officeDocument/2006/relationships" xmlns:p="http://schemas.openxmlformats.org/presentationml/2006/main">
  <p:tag name="NAME" val="Rectangle"/>
</p:tagLst>
</file>

<file path=ppt/tags/tag173.xml><?xml version="1.0" encoding="utf-8"?>
<p:tagLst xmlns:a="http://schemas.openxmlformats.org/drawingml/2006/main" xmlns:r="http://schemas.openxmlformats.org/officeDocument/2006/relationships" xmlns:p="http://schemas.openxmlformats.org/presentationml/2006/main">
  <p:tag name="NAME" val="Rectangle"/>
</p:tagLst>
</file>

<file path=ppt/tags/tag174.xml><?xml version="1.0" encoding="utf-8"?>
<p:tagLst xmlns:a="http://schemas.openxmlformats.org/drawingml/2006/main" xmlns:r="http://schemas.openxmlformats.org/officeDocument/2006/relationships" xmlns:p="http://schemas.openxmlformats.org/presentationml/2006/main">
  <p:tag name="NAME" val="Rectangle"/>
</p:tagLst>
</file>

<file path=ppt/tags/tag175.xml><?xml version="1.0" encoding="utf-8"?>
<p:tagLst xmlns:a="http://schemas.openxmlformats.org/drawingml/2006/main" xmlns:r="http://schemas.openxmlformats.org/officeDocument/2006/relationships" xmlns:p="http://schemas.openxmlformats.org/presentationml/2006/main">
  <p:tag name="NAME" val="Rectangle"/>
</p:tagLst>
</file>

<file path=ppt/tags/tag176.xml><?xml version="1.0" encoding="utf-8"?>
<p:tagLst xmlns:a="http://schemas.openxmlformats.org/drawingml/2006/main" xmlns:r="http://schemas.openxmlformats.org/officeDocument/2006/relationships" xmlns:p="http://schemas.openxmlformats.org/presentationml/2006/main">
  <p:tag name="NAME" val="Rectangle"/>
</p:tagLst>
</file>

<file path=ppt/tags/tag177.xml><?xml version="1.0" encoding="utf-8"?>
<p:tagLst xmlns:a="http://schemas.openxmlformats.org/drawingml/2006/main" xmlns:r="http://schemas.openxmlformats.org/officeDocument/2006/relationships" xmlns:p="http://schemas.openxmlformats.org/presentationml/2006/main">
  <p:tag name="NAME" val="Rectangle"/>
</p:tagLst>
</file>

<file path=ppt/tags/tag178.xml><?xml version="1.0" encoding="utf-8"?>
<p:tagLst xmlns:a="http://schemas.openxmlformats.org/drawingml/2006/main" xmlns:r="http://schemas.openxmlformats.org/officeDocument/2006/relationships" xmlns:p="http://schemas.openxmlformats.org/presentationml/2006/main">
  <p:tag name="NAME" val="Rectangle"/>
</p:tagLst>
</file>

<file path=ppt/tags/tag179.xml><?xml version="1.0" encoding="utf-8"?>
<p:tagLst xmlns:a="http://schemas.openxmlformats.org/drawingml/2006/main" xmlns:r="http://schemas.openxmlformats.org/officeDocument/2006/relationships" xmlns:p="http://schemas.openxmlformats.org/presentationml/2006/main">
  <p:tag name="NAME" val="Rectangl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NAME" val="Rectangle"/>
</p:tagLst>
</file>

<file path=ppt/tags/tag181.xml><?xml version="1.0" encoding="utf-8"?>
<p:tagLst xmlns:a="http://schemas.openxmlformats.org/drawingml/2006/main" xmlns:r="http://schemas.openxmlformats.org/officeDocument/2006/relationships" xmlns:p="http://schemas.openxmlformats.org/presentationml/2006/main">
  <p:tag name="NAME" val="Rectangle"/>
</p:tagLst>
</file>

<file path=ppt/tags/tag182.xml><?xml version="1.0" encoding="utf-8"?>
<p:tagLst xmlns:a="http://schemas.openxmlformats.org/drawingml/2006/main" xmlns:r="http://schemas.openxmlformats.org/officeDocument/2006/relationships" xmlns:p="http://schemas.openxmlformats.org/presentationml/2006/main">
  <p:tag name="NAME" val="Rectangle"/>
</p:tagLst>
</file>

<file path=ppt/tags/tag183.xml><?xml version="1.0" encoding="utf-8"?>
<p:tagLst xmlns:a="http://schemas.openxmlformats.org/drawingml/2006/main" xmlns:r="http://schemas.openxmlformats.org/officeDocument/2006/relationships" xmlns:p="http://schemas.openxmlformats.org/presentationml/2006/main">
  <p:tag name="NAME" val="Rectangle"/>
</p:tagLst>
</file>

<file path=ppt/tags/tag184.xml><?xml version="1.0" encoding="utf-8"?>
<p:tagLst xmlns:a="http://schemas.openxmlformats.org/drawingml/2006/main" xmlns:r="http://schemas.openxmlformats.org/officeDocument/2006/relationships" xmlns:p="http://schemas.openxmlformats.org/presentationml/2006/main">
  <p:tag name="NAME" val="Rectangle"/>
</p:tagLst>
</file>

<file path=ppt/tags/tag185.xml><?xml version="1.0" encoding="utf-8"?>
<p:tagLst xmlns:a="http://schemas.openxmlformats.org/drawingml/2006/main" xmlns:r="http://schemas.openxmlformats.org/officeDocument/2006/relationships" xmlns:p="http://schemas.openxmlformats.org/presentationml/2006/main">
  <p:tag name="NAME" val="Rectangle"/>
</p:tagLst>
</file>

<file path=ppt/tags/tag186.xml><?xml version="1.0" encoding="utf-8"?>
<p:tagLst xmlns:a="http://schemas.openxmlformats.org/drawingml/2006/main" xmlns:r="http://schemas.openxmlformats.org/officeDocument/2006/relationships" xmlns:p="http://schemas.openxmlformats.org/presentationml/2006/main">
  <p:tag name="NAME" val="Rectangle"/>
</p:tagLst>
</file>

<file path=ppt/tags/tag187.xml><?xml version="1.0" encoding="utf-8"?>
<p:tagLst xmlns:a="http://schemas.openxmlformats.org/drawingml/2006/main" xmlns:r="http://schemas.openxmlformats.org/officeDocument/2006/relationships" xmlns:p="http://schemas.openxmlformats.org/presentationml/2006/main">
  <p:tag name="NAME" val="Rectangle"/>
</p:tagLst>
</file>

<file path=ppt/tags/tag188.xml><?xml version="1.0" encoding="utf-8"?>
<p:tagLst xmlns:a="http://schemas.openxmlformats.org/drawingml/2006/main" xmlns:r="http://schemas.openxmlformats.org/officeDocument/2006/relationships" xmlns:p="http://schemas.openxmlformats.org/presentationml/2006/main">
  <p:tag name="NAME" val="Rectangle"/>
</p:tagLst>
</file>

<file path=ppt/tags/tag189.xml><?xml version="1.0" encoding="utf-8"?>
<p:tagLst xmlns:a="http://schemas.openxmlformats.org/drawingml/2006/main" xmlns:r="http://schemas.openxmlformats.org/officeDocument/2006/relationships" xmlns:p="http://schemas.openxmlformats.org/presentationml/2006/main">
  <p:tag name="NAME" val="Rectangl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_973zJfK4E2_BE38kGKxXQ"/>
</p:tagLst>
</file>

<file path=ppt/tags/tag190.xml><?xml version="1.0" encoding="utf-8"?>
<p:tagLst xmlns:a="http://schemas.openxmlformats.org/drawingml/2006/main" xmlns:r="http://schemas.openxmlformats.org/officeDocument/2006/relationships" xmlns:p="http://schemas.openxmlformats.org/presentationml/2006/main">
  <p:tag name="NAME" val="Rectangle"/>
</p:tagLst>
</file>

<file path=ppt/tags/tag191.xml><?xml version="1.0" encoding="utf-8"?>
<p:tagLst xmlns:a="http://schemas.openxmlformats.org/drawingml/2006/main" xmlns:r="http://schemas.openxmlformats.org/officeDocument/2006/relationships" xmlns:p="http://schemas.openxmlformats.org/presentationml/2006/main">
  <p:tag name="NAME" val="Rectangle"/>
</p:tagLst>
</file>

<file path=ppt/tags/tag192.xml><?xml version="1.0" encoding="utf-8"?>
<p:tagLst xmlns:a="http://schemas.openxmlformats.org/drawingml/2006/main" xmlns:r="http://schemas.openxmlformats.org/officeDocument/2006/relationships" xmlns:p="http://schemas.openxmlformats.org/presentationml/2006/main">
  <p:tag name="NAME" val="Rectangle"/>
</p:tagLst>
</file>

<file path=ppt/tags/tag193.xml><?xml version="1.0" encoding="utf-8"?>
<p:tagLst xmlns:a="http://schemas.openxmlformats.org/drawingml/2006/main" xmlns:r="http://schemas.openxmlformats.org/officeDocument/2006/relationships" xmlns:p="http://schemas.openxmlformats.org/presentationml/2006/main">
  <p:tag name="NAME" val="Rectangle"/>
</p:tagLst>
</file>

<file path=ppt/tags/tag194.xml><?xml version="1.0" encoding="utf-8"?>
<p:tagLst xmlns:a="http://schemas.openxmlformats.org/drawingml/2006/main" xmlns:r="http://schemas.openxmlformats.org/officeDocument/2006/relationships" xmlns:p="http://schemas.openxmlformats.org/presentationml/2006/main">
  <p:tag name="NAME" val="Rectangle"/>
</p:tagLst>
</file>

<file path=ppt/tags/tag195.xml><?xml version="1.0" encoding="utf-8"?>
<p:tagLst xmlns:a="http://schemas.openxmlformats.org/drawingml/2006/main" xmlns:r="http://schemas.openxmlformats.org/officeDocument/2006/relationships" xmlns:p="http://schemas.openxmlformats.org/presentationml/2006/main">
  <p:tag name="NAME" val="Rectangl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NAME" val="Rectangle"/>
</p:tagLst>
</file>

<file path=ppt/tags/tag198.xml><?xml version="1.0" encoding="utf-8"?>
<p:tagLst xmlns:a="http://schemas.openxmlformats.org/drawingml/2006/main" xmlns:r="http://schemas.openxmlformats.org/officeDocument/2006/relationships" xmlns:p="http://schemas.openxmlformats.org/presentationml/2006/main">
  <p:tag name="NAME" val="Oval"/>
</p:tagLst>
</file>

<file path=ppt/tags/tag199.xml><?xml version="1.0" encoding="utf-8"?>
<p:tagLst xmlns:a="http://schemas.openxmlformats.org/drawingml/2006/main" xmlns:r="http://schemas.openxmlformats.org/officeDocument/2006/relationships" xmlns:p="http://schemas.openxmlformats.org/presentationml/2006/main">
  <p:tag name="NAME" val="Rectangl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Logo"/>
  <p:tag name="THINKCELLSHAPEDONOTDELETE" val="pLUGcVcs1dESGj8MkDYAVjw"/>
</p:tagLst>
</file>

<file path=ppt/tags/tag200.xml><?xml version="1.0" encoding="utf-8"?>
<p:tagLst xmlns:a="http://schemas.openxmlformats.org/drawingml/2006/main" xmlns:r="http://schemas.openxmlformats.org/officeDocument/2006/relationships" xmlns:p="http://schemas.openxmlformats.org/presentationml/2006/main">
  <p:tag name="NAME" val="Oval"/>
</p:tagLst>
</file>

<file path=ppt/tags/tag201.xml><?xml version="1.0" encoding="utf-8"?>
<p:tagLst xmlns:a="http://schemas.openxmlformats.org/drawingml/2006/main" xmlns:r="http://schemas.openxmlformats.org/officeDocument/2006/relationships" xmlns:p="http://schemas.openxmlformats.org/presentationml/2006/main">
  <p:tag name="NAME" val="Arrow"/>
</p:tagLst>
</file>

<file path=ppt/tags/tag202.xml><?xml version="1.0" encoding="utf-8"?>
<p:tagLst xmlns:a="http://schemas.openxmlformats.org/drawingml/2006/main" xmlns:r="http://schemas.openxmlformats.org/officeDocument/2006/relationships" xmlns:p="http://schemas.openxmlformats.org/presentationml/2006/main">
  <p:tag name="NAME" val="Rectangle"/>
</p:tagLst>
</file>

<file path=ppt/tags/tag203.xml><?xml version="1.0" encoding="utf-8"?>
<p:tagLst xmlns:a="http://schemas.openxmlformats.org/drawingml/2006/main" xmlns:r="http://schemas.openxmlformats.org/officeDocument/2006/relationships" xmlns:p="http://schemas.openxmlformats.org/presentationml/2006/main">
  <p:tag name="NAME" val="Rectangle"/>
</p:tagLst>
</file>

<file path=ppt/tags/tag204.xml><?xml version="1.0" encoding="utf-8"?>
<p:tagLst xmlns:a="http://schemas.openxmlformats.org/drawingml/2006/main" xmlns:r="http://schemas.openxmlformats.org/officeDocument/2006/relationships" xmlns:p="http://schemas.openxmlformats.org/presentationml/2006/main">
  <p:tag name="NAME" val="Rectangle"/>
</p:tagLst>
</file>

<file path=ppt/tags/tag205.xml><?xml version="1.0" encoding="utf-8"?>
<p:tagLst xmlns:a="http://schemas.openxmlformats.org/drawingml/2006/main" xmlns:r="http://schemas.openxmlformats.org/officeDocument/2006/relationships" xmlns:p="http://schemas.openxmlformats.org/presentationml/2006/main">
  <p:tag name="NAME" val="Rectangle"/>
</p:tagLst>
</file>

<file path=ppt/tags/tag206.xml><?xml version="1.0" encoding="utf-8"?>
<p:tagLst xmlns:a="http://schemas.openxmlformats.org/drawingml/2006/main" xmlns:r="http://schemas.openxmlformats.org/officeDocument/2006/relationships" xmlns:p="http://schemas.openxmlformats.org/presentationml/2006/main">
  <p:tag name="NAME" val="Rectangle"/>
</p:tagLst>
</file>

<file path=ppt/tags/tag207.xml><?xml version="1.0" encoding="utf-8"?>
<p:tagLst xmlns:a="http://schemas.openxmlformats.org/drawingml/2006/main" xmlns:r="http://schemas.openxmlformats.org/officeDocument/2006/relationships" xmlns:p="http://schemas.openxmlformats.org/presentationml/2006/main">
  <p:tag name="NAME" val="Rectangle"/>
</p:tagLst>
</file>

<file path=ppt/tags/tag208.xml><?xml version="1.0" encoding="utf-8"?>
<p:tagLst xmlns:a="http://schemas.openxmlformats.org/drawingml/2006/main" xmlns:r="http://schemas.openxmlformats.org/officeDocument/2006/relationships" xmlns:p="http://schemas.openxmlformats.org/presentationml/2006/main">
  <p:tag name="NAME" val="Rectangle"/>
</p:tagLst>
</file>

<file path=ppt/tags/tag209.xml><?xml version="1.0" encoding="utf-8"?>
<p:tagLst xmlns:a="http://schemas.openxmlformats.org/drawingml/2006/main" xmlns:r="http://schemas.openxmlformats.org/officeDocument/2006/relationships" xmlns:p="http://schemas.openxmlformats.org/presentationml/2006/main">
  <p:tag name="NAME" val="Rectangl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GgK6xqg.ECq5uE93JxwoA"/>
</p:tagLst>
</file>

<file path=ppt/tags/tag210.xml><?xml version="1.0" encoding="utf-8"?>
<p:tagLst xmlns:a="http://schemas.openxmlformats.org/drawingml/2006/main" xmlns:r="http://schemas.openxmlformats.org/officeDocument/2006/relationships" xmlns:p="http://schemas.openxmlformats.org/presentationml/2006/main">
  <p:tag name="NAME" val="Rectangl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QOLvPBDxPESyw7I8OvcZj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9jR_Y86.P0.53_eTV5MBV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LwjqEsPqOk6m_Hs1Y1dMi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foMoB7vykem_NiZOaLdE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fBUuQjjzy0.Uxj6rbr_o7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7W9YH37MmUmVVI6BhyFBJ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J9BIaZsioUa99A0dMYGJS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95sk_Utt1U.bINCDVae8q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qzosgVHcPEGGG.CYkMcj8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yWwJ74nakmnhUu38CGb0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ckxrnSfzNkiuENs7X3KZS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Xci9RlFIeU28Zv4Nb5hkk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M9AQZ3zr_kqXnveEr9MxJ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eyE8V6l8y0mAfZ6GqLyfA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I9J7fcwl70uIsArTjJRRM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n4z0q8AVoEyjxOPBDfm25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4N1papCZek2oR7OLGr_.v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x9GQNtvjiEy1eEj4j47sM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ZqoBTadjrku5_C4YgEqRm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rKbM2NWdW02ep3.i5q8QT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NAcOsejUUi3frYwLzV6.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BONrleakz0GXIidPTC.X5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y7xXGO.720C35L5QszH8w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NFPCGt.ZmEmuYlfZUv.Av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Gz2y.UCwXkKzSkc.6mIZv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uNtbb9hHUel4zOjelHx7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lXMbFoCOw0mcpOFfJr.H.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iWzx5GXnvEa9JWR6xqv2Y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ueNBX5GZP0u3RyJlmp.IU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tWdxgG5HSEmyEfgF6Vrc2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6N0BmkAJ1UiuFlJ9KSZW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W16cszXl0CV.wJjTeESQ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4z9rpheRoE6xCJOB.PYXm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DNE8kDQJzUWCaaC5l23Gj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eqJfAeeSWEKykFQZpsjzx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EuyAz7p3cUWWrSYeIkh.9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F.IWwjt9xEOGY5vylGSjV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7aLpf9P_qUacv4MuV9xJo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Z.JpGpYbTE2jmj1OlUuJV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eZ9Mv409b06k1957FIDXq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CqhPs4eQ_0eA2bVOFYbIxA"/>
</p:tagLst>
</file>

<file path=ppt/tags/tag249.xml><?xml version="1.0" encoding="utf-8"?>
<p:tagLst xmlns:a="http://schemas.openxmlformats.org/drawingml/2006/main" xmlns:r="http://schemas.openxmlformats.org/officeDocument/2006/relationships" xmlns:p="http://schemas.openxmlformats.org/presentationml/2006/main">
  <p:tag name="NAME" val="Rectangl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CgRFN2tcUS5tFATtbT_Nw"/>
</p:tagLst>
</file>

<file path=ppt/tags/tag250.xml><?xml version="1.0" encoding="utf-8"?>
<p:tagLst xmlns:a="http://schemas.openxmlformats.org/drawingml/2006/main" xmlns:r="http://schemas.openxmlformats.org/officeDocument/2006/relationships" xmlns:p="http://schemas.openxmlformats.org/presentationml/2006/main">
  <p:tag name="NAME" val="Rectangl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eZ9Mv409b06k1957FIDXq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eZ9Mv409b06k1957FIDXq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eZ9Mv409b06k1957FIDXq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CqhPs4eQ_0eA2bVOFYbIx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CqhPs4eQ_0eA2bVOFYbIx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CqhPs4eQ_0eA2bVOFYbIx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eqJfAeeSWEKykFQZpsjzxQ"/>
</p:tagLst>
</file>

<file path=ppt/tags/tag258.xml><?xml version="1.0" encoding="utf-8"?>
<p:tagLst xmlns:a="http://schemas.openxmlformats.org/drawingml/2006/main" xmlns:r="http://schemas.openxmlformats.org/officeDocument/2006/relationships" xmlns:p="http://schemas.openxmlformats.org/presentationml/2006/main">
  <p:tag name="NAME" val="Rectangl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lXMbFoCOw0mcpOFfJr.H.A"/>
</p:tagLst>
</file>

<file path=ppt/tags/tag26.xml><?xml version="1.0" encoding="utf-8"?>
<p:tagLst xmlns:a="http://schemas.openxmlformats.org/drawingml/2006/main" xmlns:r="http://schemas.openxmlformats.org/officeDocument/2006/relationships" xmlns:p="http://schemas.openxmlformats.org/presentationml/2006/main">
  <p:tag name="NAME" val="Logo"/>
  <p:tag name="THINKCELLSHAPEDONOTDELETE" val="pFFL_WnVVJEir6ctmnkx24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iWzx5GXnvEa9JWR6xqv2Y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ueNBX5GZP0u3RyJlmp.IU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DNE8kDQJzUWCaaC5l23Gj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5J13Nb5Db0yF4kxv1yq8X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drg2F0Nq0kmzFSavvrR5Y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g5dzYfV9T0q8LJbLD5OqO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riPMy7Y3BUGMYxfw.AIYKw"/>
</p:tagLst>
</file>

<file path=ppt/tags/tag267.xml><?xml version="1.0" encoding="utf-8"?>
<p:tagLst xmlns:a="http://schemas.openxmlformats.org/drawingml/2006/main" xmlns:r="http://schemas.openxmlformats.org/officeDocument/2006/relationships" xmlns:p="http://schemas.openxmlformats.org/presentationml/2006/main">
  <p:tag name="NAME" val="Rectangle"/>
</p:tagLst>
</file>

<file path=ppt/tags/tag268.xml><?xml version="1.0" encoding="utf-8"?>
<p:tagLst xmlns:a="http://schemas.openxmlformats.org/drawingml/2006/main" xmlns:r="http://schemas.openxmlformats.org/officeDocument/2006/relationships" xmlns:p="http://schemas.openxmlformats.org/presentationml/2006/main">
  <p:tag name="NAME" val="Rectangle"/>
</p:tagLst>
</file>

<file path=ppt/tags/tag269.xml><?xml version="1.0" encoding="utf-8"?>
<p:tagLst xmlns:a="http://schemas.openxmlformats.org/drawingml/2006/main" xmlns:r="http://schemas.openxmlformats.org/officeDocument/2006/relationships" xmlns:p="http://schemas.openxmlformats.org/presentationml/2006/main">
  <p:tag name="NAME" val="Rectangl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lir7aTkQbky8DS44gXJJHQ"/>
</p:tagLst>
</file>

<file path=ppt/tags/tag270.xml><?xml version="1.0" encoding="utf-8"?>
<p:tagLst xmlns:a="http://schemas.openxmlformats.org/drawingml/2006/main" xmlns:r="http://schemas.openxmlformats.org/officeDocument/2006/relationships" xmlns:p="http://schemas.openxmlformats.org/presentationml/2006/main">
  <p:tag name="NAME" val="Rectangle"/>
</p:tagLst>
</file>

<file path=ppt/tags/tag271.xml><?xml version="1.0" encoding="utf-8"?>
<p:tagLst xmlns:a="http://schemas.openxmlformats.org/drawingml/2006/main" xmlns:r="http://schemas.openxmlformats.org/officeDocument/2006/relationships" xmlns:p="http://schemas.openxmlformats.org/presentationml/2006/main">
  <p:tag name="NAME" val="Rectangle"/>
</p:tagLst>
</file>

<file path=ppt/tags/tag272.xml><?xml version="1.0" encoding="utf-8"?>
<p:tagLst xmlns:a="http://schemas.openxmlformats.org/drawingml/2006/main" xmlns:r="http://schemas.openxmlformats.org/officeDocument/2006/relationships" xmlns:p="http://schemas.openxmlformats.org/presentationml/2006/main">
  <p:tag name="TIMING" val="|5.1|6.3|7|10|13.1"/>
</p:tagLst>
</file>

<file path=ppt/tags/tag273.xml><?xml version="1.0" encoding="utf-8"?>
<p:tagLst xmlns:a="http://schemas.openxmlformats.org/drawingml/2006/main" xmlns:r="http://schemas.openxmlformats.org/officeDocument/2006/relationships" xmlns:p="http://schemas.openxmlformats.org/presentationml/2006/main">
  <p:tag name="TIMING" val="|3.8|49.6|28.8|39.1|20.8"/>
</p:tagLst>
</file>

<file path=ppt/tags/tag274.xml><?xml version="1.0" encoding="utf-8"?>
<p:tagLst xmlns:a="http://schemas.openxmlformats.org/drawingml/2006/main" xmlns:r="http://schemas.openxmlformats.org/officeDocument/2006/relationships" xmlns:p="http://schemas.openxmlformats.org/presentationml/2006/main">
  <p:tag name="TIMING" val="|3.8|49.6|28.8|39.1|20.8"/>
</p:tagLst>
</file>

<file path=ppt/tags/tag275.xml><?xml version="1.0" encoding="utf-8"?>
<p:tagLst xmlns:a="http://schemas.openxmlformats.org/drawingml/2006/main" xmlns:r="http://schemas.openxmlformats.org/officeDocument/2006/relationships" xmlns:p="http://schemas.openxmlformats.org/presentationml/2006/main">
  <p:tag name="TIMING" val="|3.8|49.6|28.8|39.1|20.8"/>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7C5BcuGO0aESZet3QktE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ClmFVkhXUif8fzf71t8U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lir7aTkQbky8DS44gXJJH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ClmFVkhXUif8fzf71t8U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OsNM0iR6A0iP6xMoA6gS2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ybV59w8NnUSqA84w7351Z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_973zJfK4E2_BE38kGKxXQ"/>
</p:tagLst>
</file>

<file path=ppt/tags/tag39.xml><?xml version="1.0" encoding="utf-8"?>
<p:tagLst xmlns:a="http://schemas.openxmlformats.org/drawingml/2006/main" xmlns:r="http://schemas.openxmlformats.org/officeDocument/2006/relationships" xmlns:p="http://schemas.openxmlformats.org/presentationml/2006/main">
  <p:tag name="NAME" val="Logo"/>
  <p:tag name="THINKCELLSHAPEDONOTDELETE" val="pLUGcVcs1dESGj8MkDYAV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kGgK6xqg.ECq5uE93Jxwo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yWwJ74nakmnhUu38CGb0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dNAcOsejUUi3frYwLzV6.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UW16cszXl0CV.wJjTeESQ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mCgRFN2tcUS5tFATtbT_Nw"/>
</p:tagLst>
</file>

<file path=ppt/tags/tag45.xml><?xml version="1.0" encoding="utf-8"?>
<p:tagLst xmlns:a="http://schemas.openxmlformats.org/drawingml/2006/main" xmlns:r="http://schemas.openxmlformats.org/officeDocument/2006/relationships" xmlns:p="http://schemas.openxmlformats.org/presentationml/2006/main">
  <p:tag name="NAME" val="Logo"/>
  <p:tag name="THINKCELLSHAPEDONOTDELETE" val="pFFL_WnVVJEir6ctmnkx24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lir7aTkQbky8DS44gXJJH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r7C5BcuGO0aESZet3QktE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fClmFVkhXUif8fzf71t8U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lir7aTkQbky8DS44gXJJH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GgK6xqg.ECq5uE93Jxwo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fClmFVkhXUif8fzf71t8U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OsNM0iR6A0iP6xMoA6gS2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ybV59w8NnUSqA84w7351Z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IMING" val="|44.6"/>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laPNCHDN_0.YnXvVSAqIj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2lSlqDvVeUS.wmykq7s9pQ"/>
</p:tagLst>
</file>

<file path=ppt/tags/tag58.xml><?xml version="1.0" encoding="utf-8"?>
<p:tagLst xmlns:a="http://schemas.openxmlformats.org/drawingml/2006/main" xmlns:r="http://schemas.openxmlformats.org/officeDocument/2006/relationships" xmlns:p="http://schemas.openxmlformats.org/presentationml/2006/main">
  <p:tag name="NAME" val="Rectangle"/>
</p:tagLst>
</file>

<file path=ppt/tags/tag59.xml><?xml version="1.0" encoding="utf-8"?>
<p:tagLst xmlns:a="http://schemas.openxmlformats.org/drawingml/2006/main" xmlns:r="http://schemas.openxmlformats.org/officeDocument/2006/relationships" xmlns:p="http://schemas.openxmlformats.org/presentationml/2006/main">
  <p:tag name="NAME" val="Rectangl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yWwJ74nakmnhUu38CGb0Q"/>
</p:tagLst>
</file>

<file path=ppt/tags/tag60.xml><?xml version="1.0" encoding="utf-8"?>
<p:tagLst xmlns:a="http://schemas.openxmlformats.org/drawingml/2006/main" xmlns:r="http://schemas.openxmlformats.org/officeDocument/2006/relationships" xmlns:p="http://schemas.openxmlformats.org/presentationml/2006/main">
  <p:tag name="NAME" val="Rectangle"/>
</p:tagLst>
</file>

<file path=ppt/tags/tag61.xml><?xml version="1.0" encoding="utf-8"?>
<p:tagLst xmlns:a="http://schemas.openxmlformats.org/drawingml/2006/main" xmlns:r="http://schemas.openxmlformats.org/officeDocument/2006/relationships" xmlns:p="http://schemas.openxmlformats.org/presentationml/2006/main">
  <p:tag name="NAME" val="Rectangl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NAME" val="Rectangle"/>
</p:tagLst>
</file>

<file path=ppt/tags/tag64.xml><?xml version="1.0" encoding="utf-8"?>
<p:tagLst xmlns:a="http://schemas.openxmlformats.org/drawingml/2006/main" xmlns:r="http://schemas.openxmlformats.org/officeDocument/2006/relationships" xmlns:p="http://schemas.openxmlformats.org/presentationml/2006/main">
  <p:tag name="NAME" val="Oval"/>
</p:tagLst>
</file>

<file path=ppt/tags/tag65.xml><?xml version="1.0" encoding="utf-8"?>
<p:tagLst xmlns:a="http://schemas.openxmlformats.org/drawingml/2006/main" xmlns:r="http://schemas.openxmlformats.org/officeDocument/2006/relationships" xmlns:p="http://schemas.openxmlformats.org/presentationml/2006/main">
  <p:tag name="NAME" val="Arrow"/>
</p:tagLst>
</file>

<file path=ppt/tags/tag66.xml><?xml version="1.0" encoding="utf-8"?>
<p:tagLst xmlns:a="http://schemas.openxmlformats.org/drawingml/2006/main" xmlns:r="http://schemas.openxmlformats.org/officeDocument/2006/relationships" xmlns:p="http://schemas.openxmlformats.org/presentationml/2006/main">
  <p:tag name="NAME" val="SingleBoat"/>
</p:tagLst>
</file>

<file path=ppt/tags/tag67.xml><?xml version="1.0" encoding="utf-8"?>
<p:tagLst xmlns:a="http://schemas.openxmlformats.org/drawingml/2006/main" xmlns:r="http://schemas.openxmlformats.org/officeDocument/2006/relationships" xmlns:p="http://schemas.openxmlformats.org/presentationml/2006/main">
  <p:tag name="NAME" val="SingleBoat"/>
</p:tagLst>
</file>

<file path=ppt/tags/tag68.xml><?xml version="1.0" encoding="utf-8"?>
<p:tagLst xmlns:a="http://schemas.openxmlformats.org/drawingml/2006/main" xmlns:r="http://schemas.openxmlformats.org/officeDocument/2006/relationships" xmlns:p="http://schemas.openxmlformats.org/presentationml/2006/main">
  <p:tag name="NAME" val="SingleBoat"/>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jyI1Tcxu6UmKu7c.xfdkR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dNAcOsejUUi3frYwLzV6.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NtcApuZXp0udretulCR7U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NtcApuZXp0udretulCR7UQ"/>
</p:tagLst>
</file>

<file path=ppt/tags/tag72.xml><?xml version="1.0" encoding="utf-8"?>
<p:tagLst xmlns:a="http://schemas.openxmlformats.org/drawingml/2006/main" xmlns:r="http://schemas.openxmlformats.org/officeDocument/2006/relationships" xmlns:p="http://schemas.openxmlformats.org/presentationml/2006/main">
  <p:tag name="NAME" val="Oval"/>
</p:tagLst>
</file>

<file path=ppt/tags/tag73.xml><?xml version="1.0" encoding="utf-8"?>
<p:tagLst xmlns:a="http://schemas.openxmlformats.org/drawingml/2006/main" xmlns:r="http://schemas.openxmlformats.org/officeDocument/2006/relationships" xmlns:p="http://schemas.openxmlformats.org/presentationml/2006/main">
  <p:tag name="NAME" val="Oval"/>
</p:tagLst>
</file>

<file path=ppt/tags/tag74.xml><?xml version="1.0" encoding="utf-8"?>
<p:tagLst xmlns:a="http://schemas.openxmlformats.org/drawingml/2006/main" xmlns:r="http://schemas.openxmlformats.org/officeDocument/2006/relationships" xmlns:p="http://schemas.openxmlformats.org/presentationml/2006/main">
  <p:tag name="NAME" val="Oval"/>
</p:tagLst>
</file>

<file path=ppt/tags/tag75.xml><?xml version="1.0" encoding="utf-8"?>
<p:tagLst xmlns:a="http://schemas.openxmlformats.org/drawingml/2006/main" xmlns:r="http://schemas.openxmlformats.org/officeDocument/2006/relationships" xmlns:p="http://schemas.openxmlformats.org/presentationml/2006/main">
  <p:tag name="NAME" val="SingleBoatShape"/>
</p:tagLst>
</file>

<file path=ppt/tags/tag76.xml><?xml version="1.0" encoding="utf-8"?>
<p:tagLst xmlns:a="http://schemas.openxmlformats.org/drawingml/2006/main" xmlns:r="http://schemas.openxmlformats.org/officeDocument/2006/relationships" xmlns:p="http://schemas.openxmlformats.org/presentationml/2006/main">
  <p:tag name="NAME" val="SingleBoatText"/>
</p:tagLst>
</file>

<file path=ppt/tags/tag77.xml><?xml version="1.0" encoding="utf-8"?>
<p:tagLst xmlns:a="http://schemas.openxmlformats.org/drawingml/2006/main" xmlns:r="http://schemas.openxmlformats.org/officeDocument/2006/relationships" xmlns:p="http://schemas.openxmlformats.org/presentationml/2006/main">
  <p:tag name="NAME" val="SingleBoatShape"/>
</p:tagLst>
</file>

<file path=ppt/tags/tag78.xml><?xml version="1.0" encoding="utf-8"?>
<p:tagLst xmlns:a="http://schemas.openxmlformats.org/drawingml/2006/main" xmlns:r="http://schemas.openxmlformats.org/officeDocument/2006/relationships" xmlns:p="http://schemas.openxmlformats.org/presentationml/2006/main">
  <p:tag name="NAME" val="SingleBoatText"/>
</p:tagLst>
</file>

<file path=ppt/tags/tag79.xml><?xml version="1.0" encoding="utf-8"?>
<p:tagLst xmlns:a="http://schemas.openxmlformats.org/drawingml/2006/main" xmlns:r="http://schemas.openxmlformats.org/officeDocument/2006/relationships" xmlns:p="http://schemas.openxmlformats.org/presentationml/2006/main">
  <p:tag name="NAME" val="SingleBoatShap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W16cszXl0CV.wJjTeESQA"/>
</p:tagLst>
</file>

<file path=ppt/tags/tag80.xml><?xml version="1.0" encoding="utf-8"?>
<p:tagLst xmlns:a="http://schemas.openxmlformats.org/drawingml/2006/main" xmlns:r="http://schemas.openxmlformats.org/officeDocument/2006/relationships" xmlns:p="http://schemas.openxmlformats.org/presentationml/2006/main">
  <p:tag name="NAME" val="SingleBoatText"/>
</p:tagLst>
</file>

<file path=ppt/tags/tag81.xml><?xml version="1.0" encoding="utf-8"?>
<p:tagLst xmlns:a="http://schemas.openxmlformats.org/drawingml/2006/main" xmlns:r="http://schemas.openxmlformats.org/officeDocument/2006/relationships" xmlns:p="http://schemas.openxmlformats.org/presentationml/2006/main">
  <p:tag name="TIMING" val="|21.1|14.6"/>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vb7J7V_hUkWbsdmbKGSfy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ScAar2qmYEyizuIe8uVa_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yUW5di2_rEK21wFD5ErJN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boa0fa0V8EOWIq4K6wQVW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S03okmpjT0eninAsz_O4OQ"/>
</p:tagLst>
</file>

<file path=ppt/tags/tag87.xml><?xml version="1.0" encoding="utf-8"?>
<p:tagLst xmlns:a="http://schemas.openxmlformats.org/drawingml/2006/main" xmlns:r="http://schemas.openxmlformats.org/officeDocument/2006/relationships" xmlns:p="http://schemas.openxmlformats.org/presentationml/2006/main">
  <p:tag name="NAME" val="Rectangle"/>
  <p:tag name="THINKCELLSHAPEDONOTDELETE" val="pC.h_gYbXeEKakibSDUB_9w"/>
</p:tagLst>
</file>

<file path=ppt/tags/tag88.xml><?xml version="1.0" encoding="utf-8"?>
<p:tagLst xmlns:a="http://schemas.openxmlformats.org/drawingml/2006/main" xmlns:r="http://schemas.openxmlformats.org/officeDocument/2006/relationships" xmlns:p="http://schemas.openxmlformats.org/presentationml/2006/main">
  <p:tag name="NAME" val="Rectangle"/>
  <p:tag name="THINKCELLSHAPEDONOTDELETE" val="pYz6Rg7E50E.asmhqe2s6Zg"/>
</p:tagLst>
</file>

<file path=ppt/tags/tag89.xml><?xml version="1.0" encoding="utf-8"?>
<p:tagLst xmlns:a="http://schemas.openxmlformats.org/drawingml/2006/main" xmlns:r="http://schemas.openxmlformats.org/officeDocument/2006/relationships" xmlns:p="http://schemas.openxmlformats.org/presentationml/2006/main">
  <p:tag name="NAME" val="Rectangle"/>
  <p:tag name="THINKCELLSHAPEDONOTDELETE" val="pvsW3Clu_O0.qLQq13C4G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mCgRFN2tcUS5tFATtbT_Nw"/>
</p:tagLst>
</file>

<file path=ppt/tags/tag90.xml><?xml version="1.0" encoding="utf-8"?>
<p:tagLst xmlns:a="http://schemas.openxmlformats.org/drawingml/2006/main" xmlns:r="http://schemas.openxmlformats.org/officeDocument/2006/relationships" xmlns:p="http://schemas.openxmlformats.org/presentationml/2006/main">
  <p:tag name="NAME" val="Rectangle"/>
  <p:tag name="THINKCELLSHAPEDONOTDELETE" val="p.qUZ8IFkskGieUMLdrp3TQ"/>
</p:tagLst>
</file>

<file path=ppt/tags/tag91.xml><?xml version="1.0" encoding="utf-8"?>
<p:tagLst xmlns:a="http://schemas.openxmlformats.org/drawingml/2006/main" xmlns:r="http://schemas.openxmlformats.org/officeDocument/2006/relationships" xmlns:p="http://schemas.openxmlformats.org/presentationml/2006/main">
  <p:tag name="NAME" val="Rectangle"/>
  <p:tag name="THINKCELLSHAPEDONOTDELETE" val="pxhoM.bTHxUGofRq1axyQnA"/>
</p:tagLst>
</file>

<file path=ppt/tags/tag92.xml><?xml version="1.0" encoding="utf-8"?>
<p:tagLst xmlns:a="http://schemas.openxmlformats.org/drawingml/2006/main" xmlns:r="http://schemas.openxmlformats.org/officeDocument/2006/relationships" xmlns:p="http://schemas.openxmlformats.org/presentationml/2006/main">
  <p:tag name="NAME" val="Rectangle"/>
  <p:tag name="THINKCELLSHAPEDONOTDELETE" val="p42k1KNHn70.HSD1XoR2wQQ"/>
</p:tagLst>
</file>

<file path=ppt/tags/tag93.xml><?xml version="1.0" encoding="utf-8"?>
<p:tagLst xmlns:a="http://schemas.openxmlformats.org/drawingml/2006/main" xmlns:r="http://schemas.openxmlformats.org/officeDocument/2006/relationships" xmlns:p="http://schemas.openxmlformats.org/presentationml/2006/main">
  <p:tag name="NAME" val="Rectangle"/>
  <p:tag name="THINKCELLSHAPEDONOTDELETE" val="pzWvCE5NX7U6uajXeEkfo5w"/>
</p:tagLst>
</file>

<file path=ppt/tags/tag94.xml><?xml version="1.0" encoding="utf-8"?>
<p:tagLst xmlns:a="http://schemas.openxmlformats.org/drawingml/2006/main" xmlns:r="http://schemas.openxmlformats.org/officeDocument/2006/relationships" xmlns:p="http://schemas.openxmlformats.org/presentationml/2006/main">
  <p:tag name="NAME" val="Rectangle"/>
  <p:tag name="THINKCELLSHAPEDONOTDELETE" val="pay3bVSZpPEK62BewPzN57g"/>
</p:tagLst>
</file>

<file path=ppt/tags/tag95.xml><?xml version="1.0" encoding="utf-8"?>
<p:tagLst xmlns:a="http://schemas.openxmlformats.org/drawingml/2006/main" xmlns:r="http://schemas.openxmlformats.org/officeDocument/2006/relationships" xmlns:p="http://schemas.openxmlformats.org/presentationml/2006/main">
  <p:tag name="NAME" val="Rectangle"/>
  <p:tag name="THINKCELLSHAPEDONOTDELETE" val="pBMLRLjan30SlaWxxYAQG6w"/>
</p:tagLst>
</file>

<file path=ppt/tags/tag96.xml><?xml version="1.0" encoding="utf-8"?>
<p:tagLst xmlns:a="http://schemas.openxmlformats.org/drawingml/2006/main" xmlns:r="http://schemas.openxmlformats.org/officeDocument/2006/relationships" xmlns:p="http://schemas.openxmlformats.org/presentationml/2006/main">
  <p:tag name="NAME" val="Rectangle"/>
  <p:tag name="THINKCELLSHAPEDONOTDELETE" val="p9KrTux0T9kCngHIQGrPblQ"/>
</p:tagLst>
</file>

<file path=ppt/tags/tag97.xml><?xml version="1.0" encoding="utf-8"?>
<p:tagLst xmlns:a="http://schemas.openxmlformats.org/drawingml/2006/main" xmlns:r="http://schemas.openxmlformats.org/officeDocument/2006/relationships" xmlns:p="http://schemas.openxmlformats.org/presentationml/2006/main">
  <p:tag name="NAME" val="Rectangle"/>
  <p:tag name="THINKCELLSHAPEDONOTDELETE" val="pXxzpDD_5TEGUOb6ZlBwrYw"/>
</p:tagLst>
</file>

<file path=ppt/tags/tag98.xml><?xml version="1.0" encoding="utf-8"?>
<p:tagLst xmlns:a="http://schemas.openxmlformats.org/drawingml/2006/main" xmlns:r="http://schemas.openxmlformats.org/officeDocument/2006/relationships" xmlns:p="http://schemas.openxmlformats.org/presentationml/2006/main">
  <p:tag name="NAME" val="Rectangle"/>
  <p:tag name="THINKCELLSHAPEDONOTDELETE" val="pilPiBZFXQESq6pjChFJ7mg"/>
</p:tagLst>
</file>

<file path=ppt/tags/tag99.xml><?xml version="1.0" encoding="utf-8"?>
<p:tagLst xmlns:a="http://schemas.openxmlformats.org/drawingml/2006/main" xmlns:r="http://schemas.openxmlformats.org/officeDocument/2006/relationships" xmlns:p="http://schemas.openxmlformats.org/presentationml/2006/main">
  <p:tag name="NAME" val="Rectangle"/>
  <p:tag name="THINKCELLSHAPEDONOTDELETE" val="pLHxnxWz9MkuCVrpRRASRRA"/>
</p:tagLst>
</file>

<file path=ppt/theme/theme1.xml><?xml version="1.0" encoding="utf-8"?>
<a:theme xmlns:a="http://schemas.openxmlformats.org/drawingml/2006/main" name="6_Firm Format - English (US)">
  <a:themeElements>
    <a:clrScheme name="ALMA">
      <a:dk1>
        <a:sysClr val="windowText" lastClr="000000"/>
      </a:dk1>
      <a:lt1>
        <a:sysClr val="window" lastClr="FFFFFF"/>
      </a:lt1>
      <a:dk2>
        <a:srgbClr val="39302A"/>
      </a:dk2>
      <a:lt2>
        <a:srgbClr val="E5DEDB"/>
      </a:lt2>
      <a:accent1>
        <a:srgbClr val="FFCA08"/>
      </a:accent1>
      <a:accent2>
        <a:srgbClr val="E06020"/>
      </a:accent2>
      <a:accent3>
        <a:srgbClr val="6F0710"/>
      </a:accent3>
      <a:accent4>
        <a:srgbClr val="38529C"/>
      </a:accent4>
      <a:accent5>
        <a:srgbClr val="002060"/>
      </a:accent5>
      <a:accent6>
        <a:srgbClr val="00B050"/>
      </a:accent6>
      <a:hlink>
        <a:srgbClr val="FFFF00"/>
      </a:hlink>
      <a:folHlink>
        <a:srgbClr val="FF0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3" id="{EB35FD5B-2F99-4FAD-9B4E-D8721F1E3784}" vid="{D98C0DBE-85CF-4894-B63D-36EC061A5849}"/>
    </a:ext>
  </a:extLst>
</a:theme>
</file>

<file path=ppt/theme/theme2.xml><?xml version="1.0" encoding="utf-8"?>
<a:theme xmlns:a="http://schemas.openxmlformats.org/drawingml/2006/main" name="7_Firm Format - English (US)">
  <a:themeElements>
    <a:clrScheme name="ALMA">
      <a:dk1>
        <a:sysClr val="windowText" lastClr="000000"/>
      </a:dk1>
      <a:lt1>
        <a:sysClr val="window" lastClr="FFFFFF"/>
      </a:lt1>
      <a:dk2>
        <a:srgbClr val="39302A"/>
      </a:dk2>
      <a:lt2>
        <a:srgbClr val="E5DEDB"/>
      </a:lt2>
      <a:accent1>
        <a:srgbClr val="FFCA08"/>
      </a:accent1>
      <a:accent2>
        <a:srgbClr val="E06020"/>
      </a:accent2>
      <a:accent3>
        <a:srgbClr val="6F0710"/>
      </a:accent3>
      <a:accent4>
        <a:srgbClr val="38529C"/>
      </a:accent4>
      <a:accent5>
        <a:srgbClr val="002060"/>
      </a:accent5>
      <a:accent6>
        <a:srgbClr val="00B050"/>
      </a:accent6>
      <a:hlink>
        <a:srgbClr val="FFFF00"/>
      </a:hlink>
      <a:folHlink>
        <a:srgbClr val="FF0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3" id="{EB35FD5B-2F99-4FAD-9B4E-D8721F1E3784}" vid="{D98C0DBE-85CF-4894-B63D-36EC061A5849}"/>
    </a:ext>
  </a:extLst>
</a:theme>
</file>

<file path=ppt/theme/theme3.xml><?xml version="1.0" encoding="utf-8"?>
<a:theme xmlns:a="http://schemas.openxmlformats.org/drawingml/2006/main" name="8_Firm Format - English (US)">
  <a:themeElements>
    <a:clrScheme name="ALMA">
      <a:dk1>
        <a:sysClr val="windowText" lastClr="000000"/>
      </a:dk1>
      <a:lt1>
        <a:sysClr val="window" lastClr="FFFFFF"/>
      </a:lt1>
      <a:dk2>
        <a:srgbClr val="39302A"/>
      </a:dk2>
      <a:lt2>
        <a:srgbClr val="E5DEDB"/>
      </a:lt2>
      <a:accent1>
        <a:srgbClr val="FFCA08"/>
      </a:accent1>
      <a:accent2>
        <a:srgbClr val="E06020"/>
      </a:accent2>
      <a:accent3>
        <a:srgbClr val="6F0710"/>
      </a:accent3>
      <a:accent4>
        <a:srgbClr val="38529C"/>
      </a:accent4>
      <a:accent5>
        <a:srgbClr val="002060"/>
      </a:accent5>
      <a:accent6>
        <a:srgbClr val="00B050"/>
      </a:accent6>
      <a:hlink>
        <a:srgbClr val="FFFF00"/>
      </a:hlink>
      <a:folHlink>
        <a:srgbClr val="FF0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3" id="{EB35FD5B-2F99-4FAD-9B4E-D8721F1E3784}" vid="{D98C0DBE-85CF-4894-B63D-36EC061A5849}"/>
    </a:ext>
  </a:ext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68AF53E5CDA0146A56B17018F0CA5E0" ma:contentTypeVersion="10" ma:contentTypeDescription="Create a new document." ma:contentTypeScope="" ma:versionID="db0e642540bc8d93ef3d50096ca26663">
  <xsd:schema xmlns:xsd="http://www.w3.org/2001/XMLSchema" xmlns:xs="http://www.w3.org/2001/XMLSchema" xmlns:p="http://schemas.microsoft.com/office/2006/metadata/properties" xmlns:ns3="d306f6c7-7047-426c-a9ff-d994d53ba87d" targetNamespace="http://schemas.microsoft.com/office/2006/metadata/properties" ma:root="true" ma:fieldsID="a3b3d65fad21b7974dd45938fe664590" ns3:_="">
    <xsd:import namespace="d306f6c7-7047-426c-a9ff-d994d53ba87d"/>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306f6c7-7047-426c-a9ff-d994d53ba87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Location" ma:index="13" nillable="true" ma:displayNam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83C4A73-6D1A-4E56-A3EA-AB4CFF4F7E3D}">
  <ds:schemaRefs>
    <ds:schemaRef ds:uri="http://purl.org/dc/dcmitype/"/>
    <ds:schemaRef ds:uri="d306f6c7-7047-426c-a9ff-d994d53ba87d"/>
    <ds:schemaRef ds:uri="http://purl.org/dc/elements/1.1/"/>
    <ds:schemaRef ds:uri="http://schemas.openxmlformats.org/package/2006/metadata/core-properties"/>
    <ds:schemaRef ds:uri="http://schemas.microsoft.com/office/infopath/2007/PartnerControls"/>
    <ds:schemaRef ds:uri="http://www.w3.org/XML/1998/namespace"/>
    <ds:schemaRef ds:uri="http://schemas.microsoft.com/office/2006/documentManagement/types"/>
    <ds:schemaRef ds:uri="http://schemas.microsoft.com/office/2006/metadata/properties"/>
    <ds:schemaRef ds:uri="http://purl.org/dc/terms/"/>
  </ds:schemaRefs>
</ds:datastoreItem>
</file>

<file path=customXml/itemProps2.xml><?xml version="1.0" encoding="utf-8"?>
<ds:datastoreItem xmlns:ds="http://schemas.openxmlformats.org/officeDocument/2006/customXml" ds:itemID="{895B7935-E9C7-416F-9674-A549A268C7C5}">
  <ds:schemaRefs>
    <ds:schemaRef ds:uri="http://schemas.microsoft.com/sharepoint/v3/contenttype/forms"/>
  </ds:schemaRefs>
</ds:datastoreItem>
</file>

<file path=customXml/itemProps3.xml><?xml version="1.0" encoding="utf-8"?>
<ds:datastoreItem xmlns:ds="http://schemas.openxmlformats.org/officeDocument/2006/customXml" ds:itemID="{845F7690-3D39-441E-B424-E57B83EF296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306f6c7-7047-426c-a9ff-d994d53ba8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LMA Template</Template>
  <TotalTime>48744</TotalTime>
  <Words>6681</Words>
  <Application>Microsoft Macintosh PowerPoint</Application>
  <PresentationFormat>Custom</PresentationFormat>
  <Paragraphs>766</Paragraphs>
  <Slides>89</Slides>
  <Notes>30</Notes>
  <HiddenSlides>3</HiddenSlides>
  <MMClips>12</MMClips>
  <ScaleCrop>false</ScaleCrop>
  <HeadingPairs>
    <vt:vector size="8" baseType="variant">
      <vt:variant>
        <vt:lpstr>Fonts Used</vt:lpstr>
      </vt:variant>
      <vt:variant>
        <vt:i4>14</vt:i4>
      </vt:variant>
      <vt:variant>
        <vt:lpstr>Theme</vt:lpstr>
      </vt:variant>
      <vt:variant>
        <vt:i4>3</vt:i4>
      </vt:variant>
      <vt:variant>
        <vt:lpstr>Embedded OLE Servers</vt:lpstr>
      </vt:variant>
      <vt:variant>
        <vt:i4>1</vt:i4>
      </vt:variant>
      <vt:variant>
        <vt:lpstr>Slide Titles</vt:lpstr>
      </vt:variant>
      <vt:variant>
        <vt:i4>89</vt:i4>
      </vt:variant>
    </vt:vector>
  </HeadingPairs>
  <TitlesOfParts>
    <vt:vector size="107" baseType="lpstr">
      <vt:lpstr>-apple-system</vt:lpstr>
      <vt:lpstr>Arial</vt:lpstr>
      <vt:lpstr>Arial Narrow</vt:lpstr>
      <vt:lpstr>AtlasGrotesk</vt:lpstr>
      <vt:lpstr>Calibri</vt:lpstr>
      <vt:lpstr>Century Gothic</vt:lpstr>
      <vt:lpstr>d-din</vt:lpstr>
      <vt:lpstr>Gill Sans</vt:lpstr>
      <vt:lpstr>Helvetica</vt:lpstr>
      <vt:lpstr>Lucida Grande</vt:lpstr>
      <vt:lpstr>Roboto</vt:lpstr>
      <vt:lpstr>Tahoma</vt:lpstr>
      <vt:lpstr>Times New Roman</vt:lpstr>
      <vt:lpstr>Wingdings</vt:lpstr>
      <vt:lpstr>6_Firm Format - English (US)</vt:lpstr>
      <vt:lpstr>7_Firm Format - English (US)</vt:lpstr>
      <vt:lpstr>8_Firm Format - English (US)</vt:lpstr>
      <vt:lpstr>think-cell Slide</vt:lpstr>
      <vt:lpstr>Carte de Score de la SRMNIA  </vt:lpstr>
      <vt:lpstr>Objectifs Specifiques </vt:lpstr>
      <vt:lpstr>Matériel de formation pour les Formateurs  </vt:lpstr>
      <vt:lpstr>Liste de contrôle pour le matériel de formation</vt:lpstr>
      <vt:lpstr>Méthodologie:</vt:lpstr>
      <vt:lpstr>Méthodologie:</vt:lpstr>
      <vt:lpstr>Aperçu de l’outil de gestion  carte de score   </vt:lpstr>
      <vt:lpstr>PowerPoint Presentation</vt:lpstr>
      <vt:lpstr>PowerPoint Presentation</vt:lpstr>
      <vt:lpstr>Où les carte de score pays sont utilisées
</vt:lpstr>
      <vt:lpstr>Contexte carte de score SRMNIA du Burundi </vt:lpstr>
      <vt:lpstr>PowerPoint Presentation</vt:lpstr>
      <vt:lpstr>PowerPoint Presentation</vt:lpstr>
      <vt:lpstr>L'outil de gestion carte de score en ligne (plate-forme Web) comprend diverses fonctionnalités de visualisation de données et gestion </vt:lpstr>
      <vt:lpstr>Démonstration: Indicateurs et seuils de couleur  dans la plate-forme Web www.rmncah.org </vt:lpstr>
      <vt:lpstr>Comment analyser la carte de score  </vt:lpstr>
      <vt:lpstr>PowerPoint Presentation</vt:lpstr>
      <vt:lpstr>PowerPoint Presentation</vt:lpstr>
      <vt:lpstr>Examen : Utiliser la carte de score, un processus en trois étapes</vt:lpstr>
      <vt:lpstr>Chaque cellule a trois dimensions…</vt:lpstr>
      <vt:lpstr>Trois analyses aident à identifier et prioriser les régions et les indicateurs qui nécessitent peut-être une intervention</vt:lpstr>
      <vt:lpstr>Visualiser les données au niveau de la région, du district ou de la formation sanitaire </vt:lpstr>
      <vt:lpstr>Méthode de tri</vt:lpstr>
      <vt:lpstr>Analyse de tendance</vt:lpstr>
      <vt:lpstr>Comment utiliser les données de la carte de score pour l’action  </vt:lpstr>
      <vt:lpstr>PowerPoint Presentation</vt:lpstr>
      <vt:lpstr>PowerPoint Presentation</vt:lpstr>
      <vt:lpstr>PowerPoint Presentation</vt:lpstr>
      <vt:lpstr>Une fois qu'un problème a été identifié et que vous en comprenez la cause, générez des éléments d'action spécifiques pour résoudre le problème</vt:lpstr>
      <vt:lpstr>Le suivi d’action appuie le suivi des actions recommandées et la redevabilité.</vt:lpstr>
      <vt:lpstr>PowerPoint Presentation</vt:lpstr>
      <vt:lpstr>  </vt:lpstr>
      <vt:lpstr>PowerPoint Presentation</vt:lpstr>
      <vt:lpstr>Les cartes de score renforcent l’action et la redevabilité</vt:lpstr>
      <vt:lpstr>Comment intégrer les cartes de score dans les mécanismes de redevabilité existants ?</vt:lpstr>
      <vt:lpstr>Avec qui faut-il partager la carte de score ? </vt:lpstr>
      <vt:lpstr>PowerPoint Presentation</vt:lpstr>
      <vt:lpstr>Exemple : Rôles et responsabilités</vt:lpstr>
      <vt:lpstr>Formation plateforme web  carte de score   </vt:lpstr>
      <vt:lpstr>Activez votre compte depuis votre email</vt:lpstr>
      <vt:lpstr>Comment se connecter a la carte de score </vt:lpstr>
      <vt:lpstr>Formation Platforme Web Carte de Score: Partie 1</vt:lpstr>
      <vt:lpstr>PowerPoint Presentation</vt:lpstr>
      <vt:lpstr>PowerPoint Presentation</vt:lpstr>
      <vt:lpstr>Exercise suivi d’action: Entrainement dans le site Demo   </vt:lpstr>
      <vt:lpstr>Création des comptes sous nationaux (administrateurs sous régionaux ajoute les utilisateurs sous regionaux)   </vt:lpstr>
      <vt:lpstr>Formation d'administrateurs Partie 1: Comment ajouter des comptes (passez à 2:00 – 5:00 minutes) </vt:lpstr>
      <vt:lpstr>Pour ajouter un compte, vous devrez collecter les informations suivantes auprès de chaque personne. Vous pouvez télécharger un excel pour collecter les informations nécessaires pour ajouter des comptes</vt:lpstr>
      <vt:lpstr>Formation d'administrateurs Partie 2</vt:lpstr>
      <vt:lpstr>Jour 2</vt:lpstr>
      <vt:lpstr>Partager la carte de score   </vt:lpstr>
      <vt:lpstr>Partager votre carte de score avec les décideurs, membres du personnel de programme, membres de la communauté et les partenaires</vt:lpstr>
      <vt:lpstr>Avantages du partage de la carte de score</vt:lpstr>
      <vt:lpstr>Partager l’analyse de la carte de score</vt:lpstr>
      <vt:lpstr>Exporter depuis la plateforme Web de la carte de score</vt:lpstr>
      <vt:lpstr>Idées de partage de la carte de score</vt:lpstr>
      <vt:lpstr>Utiliser la carte de score pour un engagement de haut niveau   </vt:lpstr>
      <vt:lpstr>Utiliser la carte de score pour un engagement de haut niveau   </vt:lpstr>
      <vt:lpstr>Comment les decideurs utilisent l’outil</vt:lpstr>
      <vt:lpstr>Que peuvent faire les dirigeants ? </vt:lpstr>
      <vt:lpstr>« Feuille d’explication des indicateurs » et outils de plaidoyer </vt:lpstr>
      <vt:lpstr>Que peuvent faire les gestionnaires de la carte de score ? </vt:lpstr>
      <vt:lpstr>Platforme Web: Exercise de compréhension    </vt:lpstr>
      <vt:lpstr>     </vt:lpstr>
      <vt:lpstr>PowerPoint Presentation</vt:lpstr>
      <vt:lpstr>Comment créer une présentation d’analyse et proposée actions   </vt:lpstr>
      <vt:lpstr>PowerPoint Presentation</vt:lpstr>
      <vt:lpstr>PowerPoint Presentation</vt:lpstr>
      <vt:lpstr>EXAMPLE</vt:lpstr>
      <vt:lpstr>PowerPoint Presentation</vt:lpstr>
      <vt:lpstr>PowerPoint Presentation</vt:lpstr>
      <vt:lpstr>PowerPoint Presentation</vt:lpstr>
      <vt:lpstr>PowerPoint Presentation</vt:lpstr>
      <vt:lpstr>PowerPoint Presentation</vt:lpstr>
      <vt:lpstr>PowerPoint Presentation</vt:lpstr>
      <vt:lpstr>Jour 3 </vt:lpstr>
      <vt:lpstr>Continuation: Comment créer une Analyse et proposée actions dans les processus de gestion existantes    </vt:lpstr>
      <vt:lpstr>PowerPoint Presentation</vt:lpstr>
      <vt:lpstr>PowerPoint Presentation</vt:lpstr>
      <vt:lpstr>Présentations de groupe   </vt:lpstr>
      <vt:lpstr>PowerPoint Presentation</vt:lpstr>
      <vt:lpstr>Notre Hub est le portail de référence pour les pays sur les cartes de score
</vt:lpstr>
      <vt:lpstr>Nos cours en ligne sont conçus pour soutenir les pays dans la décentralisation des cartes de score</vt:lpstr>
      <vt:lpstr>Des resources pour vous assister avec vos cartes de score 
</vt:lpstr>
      <vt:lpstr>Quelques liens utiles</vt:lpstr>
      <vt:lpstr>Nous allons maintenant faire une demo du site</vt:lpstr>
      <vt:lpstr>Créer un compte</vt:lpstr>
      <vt:lpstr>Prochaines étapes   </vt:lpstr>
      <vt:lpstr>Prochaines étap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Taylor Platt</dc:creator>
  <cp:lastModifiedBy>Thomas Davies</cp:lastModifiedBy>
  <cp:revision>1720</cp:revision>
  <cp:lastPrinted>2015-07-24T15:06:03Z</cp:lastPrinted>
  <dcterms:created xsi:type="dcterms:W3CDTF">2015-07-21T12:56:57Z</dcterms:created>
  <dcterms:modified xsi:type="dcterms:W3CDTF">2021-06-07T16:25: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docid">
    <vt:lpwstr/>
  </property>
  <property fmtid="{D5CDD505-2E9C-101B-9397-08002B2CF9AE}" pid="7" name="Office2010EditCount">
    <vt:lpwstr>1</vt:lpwstr>
  </property>
  <property fmtid="{D5CDD505-2E9C-101B-9397-08002B2CF9AE}" pid="8" name="Office2003EditCount">
    <vt:lpwstr>0</vt:lpwstr>
  </property>
  <property fmtid="{D5CDD505-2E9C-101B-9397-08002B2CF9AE}" pid="9" name="LastEditedOfficeVersion">
    <vt:lpwstr>Office2010</vt:lpwstr>
  </property>
  <property fmtid="{D5CDD505-2E9C-101B-9397-08002B2CF9AE}" pid="10" name="Office2010WasSaved">
    <vt:lpwstr>1</vt:lpwstr>
  </property>
  <property fmtid="{D5CDD505-2E9C-101B-9397-08002B2CF9AE}" pid="11" name="ContentTypeId">
    <vt:lpwstr>0x010100D68AF53E5CDA0146A56B17018F0CA5E0</vt:lpwstr>
  </property>
</Properties>
</file>